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6.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7.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xml" ContentType="application/vnd.openxmlformats-officedocument.presentationml.tags+xml"/>
  <Override PartName="/ppt/notesSlides/notesSlide2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1.xml" ContentType="application/vnd.openxmlformats-officedocument.presentationml.tags+xml"/>
  <Override PartName="/ppt/notesSlides/notesSlide32.xml" ContentType="application/vnd.openxmlformats-officedocument.presentationml.notesSlide+xml"/>
  <Override PartName="/ppt/tags/tag12.xml" ContentType="application/vnd.openxmlformats-officedocument.presentationml.tags+xml"/>
  <Override PartName="/ppt/notesSlides/notesSlide3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5.xml" ContentType="application/vnd.openxmlformats-officedocument.presentationml.notesSlide+xml"/>
  <Override PartName="/ppt/tags/tag13.xml" ContentType="application/vnd.openxmlformats-officedocument.presentationml.tags+xml"/>
  <Override PartName="/ppt/notesSlides/notesSlide36.xml" ContentType="application/vnd.openxmlformats-officedocument.presentationml.notesSlide+xml"/>
  <Override PartName="/ppt/tags/tag14.xml" ContentType="application/vnd.openxmlformats-officedocument.presentationml.tags+xml"/>
  <Override PartName="/ppt/notesSlides/notesSlide37.xml" ContentType="application/vnd.openxmlformats-officedocument.presentationml.notesSlide+xml"/>
  <Override PartName="/ppt/tags/tag15.xml" ContentType="application/vnd.openxmlformats-officedocument.presentationml.tags+xml"/>
  <Override PartName="/ppt/notesSlides/notesSlide38.xml" ContentType="application/vnd.openxmlformats-officedocument.presentationml.notesSlide+xml"/>
  <Override PartName="/ppt/tags/tag16.xml" ContentType="application/vnd.openxmlformats-officedocument.presentationml.tags+xml"/>
  <Override PartName="/ppt/notesSlides/notesSlide3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02" r:id="rId5"/>
    <p:sldMasterId id="2147483729" r:id="rId6"/>
    <p:sldMasterId id="2147483751" r:id="rId7"/>
    <p:sldMasterId id="2147483762" r:id="rId8"/>
    <p:sldMasterId id="2147483770" r:id="rId9"/>
    <p:sldMasterId id="2147483776" r:id="rId10"/>
    <p:sldMasterId id="2147483820" r:id="rId11"/>
  </p:sldMasterIdLst>
  <p:notesMasterIdLst>
    <p:notesMasterId r:id="rId60"/>
  </p:notesMasterIdLst>
  <p:sldIdLst>
    <p:sldId id="1654" r:id="rId12"/>
    <p:sldId id="9987" r:id="rId13"/>
    <p:sldId id="283" r:id="rId14"/>
    <p:sldId id="10199" r:id="rId15"/>
    <p:sldId id="297" r:id="rId16"/>
    <p:sldId id="300" r:id="rId17"/>
    <p:sldId id="295" r:id="rId18"/>
    <p:sldId id="1547" r:id="rId19"/>
    <p:sldId id="1546" r:id="rId20"/>
    <p:sldId id="293" r:id="rId21"/>
    <p:sldId id="299" r:id="rId22"/>
    <p:sldId id="294" r:id="rId23"/>
    <p:sldId id="296" r:id="rId24"/>
    <p:sldId id="10196" r:id="rId25"/>
    <p:sldId id="10194" r:id="rId26"/>
    <p:sldId id="2076138110" r:id="rId27"/>
    <p:sldId id="2076138085" r:id="rId28"/>
    <p:sldId id="2076138113" r:id="rId29"/>
    <p:sldId id="2076138114" r:id="rId30"/>
    <p:sldId id="2076138140" r:id="rId31"/>
    <p:sldId id="10198" r:id="rId32"/>
    <p:sldId id="10922" r:id="rId33"/>
    <p:sldId id="8609" r:id="rId34"/>
    <p:sldId id="10920" r:id="rId35"/>
    <p:sldId id="8487" r:id="rId36"/>
    <p:sldId id="10921" r:id="rId37"/>
    <p:sldId id="8544" r:id="rId38"/>
    <p:sldId id="9985" r:id="rId39"/>
    <p:sldId id="9848" r:id="rId40"/>
    <p:sldId id="1621" r:id="rId41"/>
    <p:sldId id="4631" r:id="rId42"/>
    <p:sldId id="4632" r:id="rId43"/>
    <p:sldId id="4633" r:id="rId44"/>
    <p:sldId id="4634" r:id="rId45"/>
    <p:sldId id="4637" r:id="rId46"/>
    <p:sldId id="9850" r:id="rId47"/>
    <p:sldId id="9986" r:id="rId48"/>
    <p:sldId id="4684" r:id="rId49"/>
    <p:sldId id="9981" r:id="rId50"/>
    <p:sldId id="9849" r:id="rId51"/>
    <p:sldId id="9980" r:id="rId52"/>
    <p:sldId id="9883" r:id="rId53"/>
    <p:sldId id="9854" r:id="rId54"/>
    <p:sldId id="4692" r:id="rId55"/>
    <p:sldId id="10195" r:id="rId56"/>
    <p:sldId id="1731" r:id="rId57"/>
    <p:sldId id="2076138141" r:id="rId58"/>
    <p:sldId id="10197" r:id="rId5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526DEBB-9CBE-4FED-B795-6A11FD368C09}">
          <p14:sldIdLst>
            <p14:sldId id="1654"/>
            <p14:sldId id="9987"/>
            <p14:sldId id="283"/>
          </p14:sldIdLst>
        </p14:section>
        <p14:section name="ML intro" id="{F4AE1AEA-A4DF-484D-BE9F-84AAE00128EA}">
          <p14:sldIdLst>
            <p14:sldId id="10199"/>
            <p14:sldId id="297"/>
            <p14:sldId id="300"/>
            <p14:sldId id="295"/>
            <p14:sldId id="1547"/>
            <p14:sldId id="1546"/>
            <p14:sldId id="293"/>
            <p14:sldId id="299"/>
            <p14:sldId id="294"/>
            <p14:sldId id="296"/>
          </p14:sldIdLst>
        </p14:section>
        <p14:section name="Platform Intro" id="{05BB9E65-1E9E-4661-B9AC-58FDC09856F0}">
          <p14:sldIdLst>
            <p14:sldId id="10196"/>
            <p14:sldId id="10194"/>
            <p14:sldId id="2076138110"/>
            <p14:sldId id="2076138085"/>
            <p14:sldId id="2076138113"/>
            <p14:sldId id="2076138114"/>
            <p14:sldId id="2076138140"/>
            <p14:sldId id="10198"/>
            <p14:sldId id="10922"/>
            <p14:sldId id="8609"/>
            <p14:sldId id="10920"/>
            <p14:sldId id="8487"/>
            <p14:sldId id="10921"/>
            <p14:sldId id="8544"/>
            <p14:sldId id="9985"/>
            <p14:sldId id="9848"/>
            <p14:sldId id="1621"/>
            <p14:sldId id="4631"/>
            <p14:sldId id="4632"/>
            <p14:sldId id="4633"/>
            <p14:sldId id="4634"/>
            <p14:sldId id="4637"/>
            <p14:sldId id="9850"/>
            <p14:sldId id="9986"/>
            <p14:sldId id="4684"/>
            <p14:sldId id="9981"/>
            <p14:sldId id="9849"/>
            <p14:sldId id="9980"/>
            <p14:sldId id="9883"/>
            <p14:sldId id="9854"/>
            <p14:sldId id="4692"/>
            <p14:sldId id="10195"/>
            <p14:sldId id="1731"/>
            <p14:sldId id="2076138141"/>
            <p14:sldId id="1019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chel Kellam" initials="RK" lastIdx="25" clrIdx="0">
    <p:extLst>
      <p:ext uri="{19B8F6BF-5375-455C-9EA6-DF929625EA0E}">
        <p15:presenceInfo xmlns:p15="http://schemas.microsoft.com/office/powerpoint/2012/main" userId="S::t-rake@microsoft.com::618c9a5b-2076-476b-822c-4ce88f1a625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674579-C345-481C-B499-2951DEED164B}" v="549" dt="2021-06-19T22:38:52.35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36" y="13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commentAuthors" Target="commentAuthors.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microsoft.com/office/2015/10/relationships/revisionInfo" Target="revisionInfo.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lamurugan Balakreshnan" userId="35e9483b-bf32-4d17-a07b-837bc83be0f5" providerId="ADAL" clId="{36674579-C345-481C-B499-2951DEED164B}"/>
    <pc:docChg chg="custSel delSld modSld modSection">
      <pc:chgData name="Balamurugan Balakreshnan" userId="35e9483b-bf32-4d17-a07b-837bc83be0f5" providerId="ADAL" clId="{36674579-C345-481C-B499-2951DEED164B}" dt="2021-06-19T22:39:02.370" v="676" actId="6549"/>
      <pc:docMkLst>
        <pc:docMk/>
      </pc:docMkLst>
      <pc:sldChg chg="modSp mod">
        <pc:chgData name="Balamurugan Balakreshnan" userId="35e9483b-bf32-4d17-a07b-837bc83be0f5" providerId="ADAL" clId="{36674579-C345-481C-B499-2951DEED164B}" dt="2021-06-19T22:21:13.565" v="637" actId="20577"/>
        <pc:sldMkLst>
          <pc:docMk/>
          <pc:sldMk cId="3799496209" sldId="283"/>
        </pc:sldMkLst>
        <pc:spChg chg="mod">
          <ac:chgData name="Balamurugan Balakreshnan" userId="35e9483b-bf32-4d17-a07b-837bc83be0f5" providerId="ADAL" clId="{36674579-C345-481C-B499-2951DEED164B}" dt="2021-06-19T22:21:13.565" v="637" actId="20577"/>
          <ac:spMkLst>
            <pc:docMk/>
            <pc:sldMk cId="3799496209" sldId="283"/>
            <ac:spMk id="16" creationId="{00000000-0000-0000-0000-000000000000}"/>
          </ac:spMkLst>
        </pc:spChg>
      </pc:sldChg>
      <pc:sldChg chg="modSp mod">
        <pc:chgData name="Balamurugan Balakreshnan" userId="35e9483b-bf32-4d17-a07b-837bc83be0f5" providerId="ADAL" clId="{36674579-C345-481C-B499-2951DEED164B}" dt="2021-06-19T21:56:30.583" v="16"/>
        <pc:sldMkLst>
          <pc:docMk/>
          <pc:sldMk cId="1308039210" sldId="1654"/>
        </pc:sldMkLst>
        <pc:spChg chg="mod">
          <ac:chgData name="Balamurugan Balakreshnan" userId="35e9483b-bf32-4d17-a07b-837bc83be0f5" providerId="ADAL" clId="{36674579-C345-481C-B499-2951DEED164B}" dt="2021-06-19T21:55:52.093" v="15" actId="20577"/>
          <ac:spMkLst>
            <pc:docMk/>
            <pc:sldMk cId="1308039210" sldId="1654"/>
            <ac:spMk id="2" creationId="{D73084B9-E37E-4841-ADE3-D1614D06A84A}"/>
          </ac:spMkLst>
        </pc:spChg>
        <pc:spChg chg="mod">
          <ac:chgData name="Balamurugan Balakreshnan" userId="35e9483b-bf32-4d17-a07b-837bc83be0f5" providerId="ADAL" clId="{36674579-C345-481C-B499-2951DEED164B}" dt="2021-06-19T21:53:54.183" v="0" actId="6549"/>
          <ac:spMkLst>
            <pc:docMk/>
            <pc:sldMk cId="1308039210" sldId="1654"/>
            <ac:spMk id="3" creationId="{F4D3D436-64D9-40BB-9875-36170145FC9A}"/>
          </ac:spMkLst>
        </pc:spChg>
        <pc:spChg chg="mod">
          <ac:chgData name="Balamurugan Balakreshnan" userId="35e9483b-bf32-4d17-a07b-837bc83be0f5" providerId="ADAL" clId="{36674579-C345-481C-B499-2951DEED164B}" dt="2021-06-19T21:56:30.583" v="16"/>
          <ac:spMkLst>
            <pc:docMk/>
            <pc:sldMk cId="1308039210" sldId="1654"/>
            <ac:spMk id="4" creationId="{00000000-0000-0000-0000-000000000000}"/>
          </ac:spMkLst>
        </pc:spChg>
      </pc:sldChg>
      <pc:sldChg chg="modSp mod">
        <pc:chgData name="Balamurugan Balakreshnan" userId="35e9483b-bf32-4d17-a07b-837bc83be0f5" providerId="ADAL" clId="{36674579-C345-481C-B499-2951DEED164B}" dt="2021-06-19T22:12:10.162" v="107"/>
        <pc:sldMkLst>
          <pc:docMk/>
          <pc:sldMk cId="3840623738" sldId="1731"/>
        </pc:sldMkLst>
        <pc:spChg chg="mod">
          <ac:chgData name="Balamurugan Balakreshnan" userId="35e9483b-bf32-4d17-a07b-837bc83be0f5" providerId="ADAL" clId="{36674579-C345-481C-B499-2951DEED164B}" dt="2021-06-19T22:12:10.162" v="107"/>
          <ac:spMkLst>
            <pc:docMk/>
            <pc:sldMk cId="3840623738" sldId="1731"/>
            <ac:spMk id="3" creationId="{4FD9F40E-C7A6-4499-9CB0-1171AA2A46F7}"/>
          </ac:spMkLst>
        </pc:spChg>
      </pc:sldChg>
      <pc:sldChg chg="delSp modSp mod">
        <pc:chgData name="Balamurugan Balakreshnan" userId="35e9483b-bf32-4d17-a07b-837bc83be0f5" providerId="ADAL" clId="{36674579-C345-481C-B499-2951DEED164B}" dt="2021-06-19T22:33:18.893" v="670" actId="478"/>
        <pc:sldMkLst>
          <pc:docMk/>
          <pc:sldMk cId="269063075" sldId="9854"/>
        </pc:sldMkLst>
        <pc:spChg chg="mod">
          <ac:chgData name="Balamurugan Balakreshnan" userId="35e9483b-bf32-4d17-a07b-837bc83be0f5" providerId="ADAL" clId="{36674579-C345-481C-B499-2951DEED164B}" dt="2021-06-19T22:32:28.823" v="647" actId="20577"/>
          <ac:spMkLst>
            <pc:docMk/>
            <pc:sldMk cId="269063075" sldId="9854"/>
            <ac:spMk id="3" creationId="{2DFC278F-9265-4575-B100-A6B6B030B805}"/>
          </ac:spMkLst>
        </pc:spChg>
        <pc:spChg chg="mod">
          <ac:chgData name="Balamurugan Balakreshnan" userId="35e9483b-bf32-4d17-a07b-837bc83be0f5" providerId="ADAL" clId="{36674579-C345-481C-B499-2951DEED164B}" dt="2021-06-19T22:33:06.882" v="669" actId="20577"/>
          <ac:spMkLst>
            <pc:docMk/>
            <pc:sldMk cId="269063075" sldId="9854"/>
            <ac:spMk id="4" creationId="{EC4B6311-B763-4926-9A8B-7AE81AAE8640}"/>
          </ac:spMkLst>
        </pc:spChg>
        <pc:spChg chg="del">
          <ac:chgData name="Balamurugan Balakreshnan" userId="35e9483b-bf32-4d17-a07b-837bc83be0f5" providerId="ADAL" clId="{36674579-C345-481C-B499-2951DEED164B}" dt="2021-06-19T22:33:18.893" v="670" actId="478"/>
          <ac:spMkLst>
            <pc:docMk/>
            <pc:sldMk cId="269063075" sldId="9854"/>
            <ac:spMk id="13" creationId="{AC7FF728-A011-4992-A0C5-ACE2D8E73396}"/>
          </ac:spMkLst>
        </pc:spChg>
        <pc:spChg chg="del mod">
          <ac:chgData name="Balamurugan Balakreshnan" userId="35e9483b-bf32-4d17-a07b-837bc83be0f5" providerId="ADAL" clId="{36674579-C345-481C-B499-2951DEED164B}" dt="2021-06-19T22:31:57.213" v="640"/>
          <ac:spMkLst>
            <pc:docMk/>
            <pc:sldMk cId="269063075" sldId="9854"/>
            <ac:spMk id="14" creationId="{E5046DA6-0A81-4F2D-AC1A-BF9D92872C3E}"/>
          </ac:spMkLst>
        </pc:spChg>
      </pc:sldChg>
      <pc:sldChg chg="del">
        <pc:chgData name="Balamurugan Balakreshnan" userId="35e9483b-bf32-4d17-a07b-837bc83be0f5" providerId="ADAL" clId="{36674579-C345-481C-B499-2951DEED164B}" dt="2021-06-19T22:34:04.250" v="671" actId="47"/>
        <pc:sldMkLst>
          <pc:docMk/>
          <pc:sldMk cId="457000768" sldId="9855"/>
        </pc:sldMkLst>
      </pc:sldChg>
      <pc:sldChg chg="del">
        <pc:chgData name="Balamurugan Balakreshnan" userId="35e9483b-bf32-4d17-a07b-837bc83be0f5" providerId="ADAL" clId="{36674579-C345-481C-B499-2951DEED164B}" dt="2021-06-19T22:34:04.250" v="671" actId="47"/>
        <pc:sldMkLst>
          <pc:docMk/>
          <pc:sldMk cId="2558985075" sldId="9856"/>
        </pc:sldMkLst>
      </pc:sldChg>
      <pc:sldChg chg="del">
        <pc:chgData name="Balamurugan Balakreshnan" userId="35e9483b-bf32-4d17-a07b-837bc83be0f5" providerId="ADAL" clId="{36674579-C345-481C-B499-2951DEED164B}" dt="2021-06-19T22:08:46.667" v="61" actId="47"/>
        <pc:sldMkLst>
          <pc:docMk/>
          <pc:sldMk cId="572642319" sldId="9982"/>
        </pc:sldMkLst>
      </pc:sldChg>
      <pc:sldChg chg="del">
        <pc:chgData name="Balamurugan Balakreshnan" userId="35e9483b-bf32-4d17-a07b-837bc83be0f5" providerId="ADAL" clId="{36674579-C345-481C-B499-2951DEED164B}" dt="2021-06-19T22:08:46.667" v="61" actId="47"/>
        <pc:sldMkLst>
          <pc:docMk/>
          <pc:sldMk cId="2389120324" sldId="9984"/>
        </pc:sldMkLst>
      </pc:sldChg>
      <pc:sldChg chg="delSp modSp mod">
        <pc:chgData name="Balamurugan Balakreshnan" userId="35e9483b-bf32-4d17-a07b-837bc83be0f5" providerId="ADAL" clId="{36674579-C345-481C-B499-2951DEED164B}" dt="2021-06-19T22:21:03.595" v="634" actId="20577"/>
        <pc:sldMkLst>
          <pc:docMk/>
          <pc:sldMk cId="2296510394" sldId="10195"/>
        </pc:sldMkLst>
        <pc:spChg chg="mod">
          <ac:chgData name="Balamurugan Balakreshnan" userId="35e9483b-bf32-4d17-a07b-837bc83be0f5" providerId="ADAL" clId="{36674579-C345-481C-B499-2951DEED164B}" dt="2021-06-19T22:21:03.595" v="634" actId="20577"/>
          <ac:spMkLst>
            <pc:docMk/>
            <pc:sldMk cId="2296510394" sldId="10195"/>
            <ac:spMk id="2" creationId="{6A28D201-DE7F-495C-8627-12EC5D0ED883}"/>
          </ac:spMkLst>
        </pc:spChg>
        <pc:spChg chg="del">
          <ac:chgData name="Balamurugan Balakreshnan" userId="35e9483b-bf32-4d17-a07b-837bc83be0f5" providerId="ADAL" clId="{36674579-C345-481C-B499-2951DEED164B}" dt="2021-06-19T22:08:37.826" v="60" actId="478"/>
          <ac:spMkLst>
            <pc:docMk/>
            <pc:sldMk cId="2296510394" sldId="10195"/>
            <ac:spMk id="13" creationId="{95360AB5-46AD-442A-851D-5DC01747D007}"/>
          </ac:spMkLst>
        </pc:spChg>
        <pc:picChg chg="del">
          <ac:chgData name="Balamurugan Balakreshnan" userId="35e9483b-bf32-4d17-a07b-837bc83be0f5" providerId="ADAL" clId="{36674579-C345-481C-B499-2951DEED164B}" dt="2021-06-19T22:08:24.443" v="52" actId="478"/>
          <ac:picMkLst>
            <pc:docMk/>
            <pc:sldMk cId="2296510394" sldId="10195"/>
            <ac:picMk id="5" creationId="{506EEFFE-516F-4F8D-B094-99714397DD74}"/>
          </ac:picMkLst>
        </pc:picChg>
        <pc:picChg chg="del">
          <ac:chgData name="Balamurugan Balakreshnan" userId="35e9483b-bf32-4d17-a07b-837bc83be0f5" providerId="ADAL" clId="{36674579-C345-481C-B499-2951DEED164B}" dt="2021-06-19T22:08:32.690" v="58" actId="478"/>
          <ac:picMkLst>
            <pc:docMk/>
            <pc:sldMk cId="2296510394" sldId="10195"/>
            <ac:picMk id="14" creationId="{51FC8331-372F-47D4-AA43-6F60F4E4EB7F}"/>
          </ac:picMkLst>
        </pc:picChg>
        <pc:cxnChg chg="del">
          <ac:chgData name="Balamurugan Balakreshnan" userId="35e9483b-bf32-4d17-a07b-837bc83be0f5" providerId="ADAL" clId="{36674579-C345-481C-B499-2951DEED164B}" dt="2021-06-19T22:08:35.171" v="59" actId="478"/>
          <ac:cxnSpMkLst>
            <pc:docMk/>
            <pc:sldMk cId="2296510394" sldId="10195"/>
            <ac:cxnSpMk id="9" creationId="{7E88AA7B-724C-4377-B23B-589B6E193065}"/>
          </ac:cxnSpMkLst>
        </pc:cxnChg>
      </pc:sldChg>
      <pc:sldChg chg="addSp delSp del">
        <pc:chgData name="Balamurugan Balakreshnan" userId="35e9483b-bf32-4d17-a07b-837bc83be0f5" providerId="ADAL" clId="{36674579-C345-481C-B499-2951DEED164B}" dt="2021-06-19T22:19:16.884" v="609" actId="2696"/>
        <pc:sldMkLst>
          <pc:docMk/>
          <pc:sldMk cId="3158038454" sldId="10923"/>
        </pc:sldMkLst>
        <pc:picChg chg="add del">
          <ac:chgData name="Balamurugan Balakreshnan" userId="35e9483b-bf32-4d17-a07b-837bc83be0f5" providerId="ADAL" clId="{36674579-C345-481C-B499-2951DEED164B}" dt="2021-06-19T22:19:13.514" v="608" actId="21"/>
          <ac:picMkLst>
            <pc:docMk/>
            <pc:sldMk cId="3158038454" sldId="10923"/>
            <ac:picMk id="1027" creationId="{1FD0E04E-4CA3-4489-89D4-AAB772053C70}"/>
          </ac:picMkLst>
        </pc:picChg>
      </pc:sldChg>
      <pc:sldChg chg="modSp mod">
        <pc:chgData name="Balamurugan Balakreshnan" userId="35e9483b-bf32-4d17-a07b-837bc83be0f5" providerId="ADAL" clId="{36674579-C345-481C-B499-2951DEED164B}" dt="2021-06-19T22:39:02.370" v="676" actId="6549"/>
        <pc:sldMkLst>
          <pc:docMk/>
          <pc:sldMk cId="718056039" sldId="2076138141"/>
        </pc:sldMkLst>
        <pc:spChg chg="mod">
          <ac:chgData name="Balamurugan Balakreshnan" userId="35e9483b-bf32-4d17-a07b-837bc83be0f5" providerId="ADAL" clId="{36674579-C345-481C-B499-2951DEED164B}" dt="2021-06-19T22:39:02.370" v="676" actId="6549"/>
          <ac:spMkLst>
            <pc:docMk/>
            <pc:sldMk cId="718056039" sldId="2076138141"/>
            <ac:spMk id="2" creationId="{CFEF197D-1CF6-49B0-8189-8E16E9C2FFDE}"/>
          </ac:spMkLst>
        </pc:spChg>
        <pc:spChg chg="mod">
          <ac:chgData name="Balamurugan Balakreshnan" userId="35e9483b-bf32-4d17-a07b-837bc83be0f5" providerId="ADAL" clId="{36674579-C345-481C-B499-2951DEED164B}" dt="2021-06-19T22:38:38.126" v="674"/>
          <ac:spMkLst>
            <pc:docMk/>
            <pc:sldMk cId="718056039" sldId="2076138141"/>
            <ac:spMk id="3" creationId="{4FD9F40E-C7A6-4499-9CB0-1171AA2A46F7}"/>
          </ac:spMkLst>
        </pc:spChg>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177.svg"/><Relationship Id="rId3" Type="http://schemas.openxmlformats.org/officeDocument/2006/relationships/image" Target="../media/image172.png"/><Relationship Id="rId7" Type="http://schemas.openxmlformats.org/officeDocument/2006/relationships/image" Target="../media/image176.png"/><Relationship Id="rId2" Type="http://schemas.openxmlformats.org/officeDocument/2006/relationships/image" Target="../media/image171.svg"/><Relationship Id="rId1" Type="http://schemas.openxmlformats.org/officeDocument/2006/relationships/image" Target="../media/image170.png"/><Relationship Id="rId6" Type="http://schemas.openxmlformats.org/officeDocument/2006/relationships/image" Target="../media/image175.svg"/><Relationship Id="rId5" Type="http://schemas.openxmlformats.org/officeDocument/2006/relationships/image" Target="../media/image174.png"/><Relationship Id="rId10" Type="http://schemas.openxmlformats.org/officeDocument/2006/relationships/image" Target="../media/image179.svg"/><Relationship Id="rId4" Type="http://schemas.openxmlformats.org/officeDocument/2006/relationships/image" Target="../media/image173.svg"/><Relationship Id="rId9" Type="http://schemas.openxmlformats.org/officeDocument/2006/relationships/image" Target="../media/image178.png"/></Relationships>
</file>

<file path=ppt/diagrams/_rels/drawing1.xml.rels><?xml version="1.0" encoding="UTF-8" standalone="yes"?>
<Relationships xmlns="http://schemas.openxmlformats.org/package/2006/relationships"><Relationship Id="rId8" Type="http://schemas.openxmlformats.org/officeDocument/2006/relationships/image" Target="../media/image177.svg"/><Relationship Id="rId3" Type="http://schemas.openxmlformats.org/officeDocument/2006/relationships/image" Target="../media/image172.png"/><Relationship Id="rId7" Type="http://schemas.openxmlformats.org/officeDocument/2006/relationships/image" Target="../media/image176.png"/><Relationship Id="rId2" Type="http://schemas.openxmlformats.org/officeDocument/2006/relationships/image" Target="../media/image171.svg"/><Relationship Id="rId1" Type="http://schemas.openxmlformats.org/officeDocument/2006/relationships/image" Target="../media/image170.png"/><Relationship Id="rId6" Type="http://schemas.openxmlformats.org/officeDocument/2006/relationships/image" Target="../media/image175.svg"/><Relationship Id="rId5" Type="http://schemas.openxmlformats.org/officeDocument/2006/relationships/image" Target="../media/image174.png"/><Relationship Id="rId10" Type="http://schemas.openxmlformats.org/officeDocument/2006/relationships/image" Target="../media/image179.svg"/><Relationship Id="rId4" Type="http://schemas.openxmlformats.org/officeDocument/2006/relationships/image" Target="../media/image173.svg"/><Relationship Id="rId9" Type="http://schemas.openxmlformats.org/officeDocument/2006/relationships/image" Target="../media/image178.pn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51B11DF-80E3-4D4E-A060-D2E96DA93EBA}"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946AC9AA-265D-419D-BB6A-AF215F709CA0}">
      <dgm:prSet/>
      <dgm:spPr/>
      <dgm:t>
        <a:bodyPr/>
        <a:lstStyle/>
        <a:p>
          <a:pPr>
            <a:lnSpc>
              <a:spcPct val="100000"/>
            </a:lnSpc>
          </a:pPr>
          <a:r>
            <a:rPr lang="en-US"/>
            <a:t>Class imbalance</a:t>
          </a:r>
        </a:p>
      </dgm:t>
    </dgm:pt>
    <dgm:pt modelId="{16B319CC-272C-4B4F-95E5-1DE15FCAB461}" type="parTrans" cxnId="{BE6798C1-0DEB-4384-84D7-FEF1A7419CB7}">
      <dgm:prSet/>
      <dgm:spPr/>
      <dgm:t>
        <a:bodyPr/>
        <a:lstStyle/>
        <a:p>
          <a:endParaRPr lang="en-US"/>
        </a:p>
      </dgm:t>
    </dgm:pt>
    <dgm:pt modelId="{CDDAFE63-D38C-4FD7-BA68-8D29C24C8938}" type="sibTrans" cxnId="{BE6798C1-0DEB-4384-84D7-FEF1A7419CB7}">
      <dgm:prSet/>
      <dgm:spPr/>
      <dgm:t>
        <a:bodyPr/>
        <a:lstStyle/>
        <a:p>
          <a:pPr>
            <a:lnSpc>
              <a:spcPct val="100000"/>
            </a:lnSpc>
          </a:pPr>
          <a:endParaRPr lang="en-US"/>
        </a:p>
      </dgm:t>
    </dgm:pt>
    <dgm:pt modelId="{42D4F5E4-BFB8-428A-B395-7806B40844C1}">
      <dgm:prSet/>
      <dgm:spPr/>
      <dgm:t>
        <a:bodyPr/>
        <a:lstStyle/>
        <a:p>
          <a:pPr>
            <a:lnSpc>
              <a:spcPct val="100000"/>
            </a:lnSpc>
          </a:pPr>
          <a:r>
            <a:rPr lang="en-US"/>
            <a:t>Train-Test split, CV, rolling CV</a:t>
          </a:r>
        </a:p>
      </dgm:t>
    </dgm:pt>
    <dgm:pt modelId="{AA93D5FD-C08B-46AB-B64E-0C06A1904815}" type="parTrans" cxnId="{A57E39CB-BFB3-431B-BA69-577B196F3FDA}">
      <dgm:prSet/>
      <dgm:spPr/>
      <dgm:t>
        <a:bodyPr/>
        <a:lstStyle/>
        <a:p>
          <a:endParaRPr lang="en-US"/>
        </a:p>
      </dgm:t>
    </dgm:pt>
    <dgm:pt modelId="{C58F27AE-1EA1-402B-9464-E7BB599B1F9A}" type="sibTrans" cxnId="{A57E39CB-BFB3-431B-BA69-577B196F3FDA}">
      <dgm:prSet/>
      <dgm:spPr/>
      <dgm:t>
        <a:bodyPr/>
        <a:lstStyle/>
        <a:p>
          <a:pPr>
            <a:lnSpc>
              <a:spcPct val="100000"/>
            </a:lnSpc>
          </a:pPr>
          <a:endParaRPr lang="en-US"/>
        </a:p>
      </dgm:t>
    </dgm:pt>
    <dgm:pt modelId="{68BF649F-05B4-49D6-870F-26647FAF71FC}">
      <dgm:prSet/>
      <dgm:spPr/>
      <dgm:t>
        <a:bodyPr/>
        <a:lstStyle/>
        <a:p>
          <a:pPr>
            <a:lnSpc>
              <a:spcPct val="100000"/>
            </a:lnSpc>
          </a:pPr>
          <a:r>
            <a:rPr lang="en-US"/>
            <a:t>Missing value imputation</a:t>
          </a:r>
        </a:p>
      </dgm:t>
    </dgm:pt>
    <dgm:pt modelId="{C8FB6144-249D-41FD-B82F-78657F6E3EAA}" type="parTrans" cxnId="{2D181AF8-C1F7-44F7-B897-F556D859169E}">
      <dgm:prSet/>
      <dgm:spPr/>
      <dgm:t>
        <a:bodyPr/>
        <a:lstStyle/>
        <a:p>
          <a:endParaRPr lang="en-US"/>
        </a:p>
      </dgm:t>
    </dgm:pt>
    <dgm:pt modelId="{268A06C1-49FE-410A-8191-1D81E1C02DFD}" type="sibTrans" cxnId="{2D181AF8-C1F7-44F7-B897-F556D859169E}">
      <dgm:prSet/>
      <dgm:spPr/>
      <dgm:t>
        <a:bodyPr/>
        <a:lstStyle/>
        <a:p>
          <a:pPr>
            <a:lnSpc>
              <a:spcPct val="100000"/>
            </a:lnSpc>
          </a:pPr>
          <a:endParaRPr lang="en-US"/>
        </a:p>
      </dgm:t>
    </dgm:pt>
    <dgm:pt modelId="{423306BE-9A8E-443A-B0EA-6A1F59ACB138}">
      <dgm:prSet/>
      <dgm:spPr/>
      <dgm:t>
        <a:bodyPr/>
        <a:lstStyle/>
        <a:p>
          <a:pPr>
            <a:lnSpc>
              <a:spcPct val="100000"/>
            </a:lnSpc>
          </a:pPr>
          <a:r>
            <a:rPr lang="en-US"/>
            <a:t>Detect high cardinality features</a:t>
          </a:r>
        </a:p>
      </dgm:t>
    </dgm:pt>
    <dgm:pt modelId="{1D814DF7-C064-46F3-8D02-0100565F55DC}" type="parTrans" cxnId="{C0B37371-0831-4D45-83D3-3F60B2F3BAE3}">
      <dgm:prSet/>
      <dgm:spPr/>
      <dgm:t>
        <a:bodyPr/>
        <a:lstStyle/>
        <a:p>
          <a:endParaRPr lang="en-US"/>
        </a:p>
      </dgm:t>
    </dgm:pt>
    <dgm:pt modelId="{CF3D0D00-CC88-40B6-8EDE-030A8AF44368}" type="sibTrans" cxnId="{C0B37371-0831-4D45-83D3-3F60B2F3BAE3}">
      <dgm:prSet/>
      <dgm:spPr/>
      <dgm:t>
        <a:bodyPr/>
        <a:lstStyle/>
        <a:p>
          <a:pPr>
            <a:lnSpc>
              <a:spcPct val="100000"/>
            </a:lnSpc>
          </a:pPr>
          <a:endParaRPr lang="en-US"/>
        </a:p>
      </dgm:t>
    </dgm:pt>
    <dgm:pt modelId="{6841A3EF-1E53-4007-A218-BCC7B2B35D2C}">
      <dgm:prSet/>
      <dgm:spPr/>
      <dgm:t>
        <a:bodyPr/>
        <a:lstStyle/>
        <a:p>
          <a:pPr>
            <a:lnSpc>
              <a:spcPct val="100000"/>
            </a:lnSpc>
          </a:pPr>
          <a:r>
            <a:rPr lang="en-US"/>
            <a:t>Detect leaky features</a:t>
          </a:r>
        </a:p>
      </dgm:t>
    </dgm:pt>
    <dgm:pt modelId="{BFF67FB5-EC0E-464A-AD04-9349947ACF26}" type="parTrans" cxnId="{151EEC16-1E85-4696-8559-D48F358F9208}">
      <dgm:prSet/>
      <dgm:spPr/>
      <dgm:t>
        <a:bodyPr/>
        <a:lstStyle/>
        <a:p>
          <a:endParaRPr lang="en-US"/>
        </a:p>
      </dgm:t>
    </dgm:pt>
    <dgm:pt modelId="{C4402BEA-6648-4302-9BD9-C126B6D98A77}" type="sibTrans" cxnId="{151EEC16-1E85-4696-8559-D48F358F9208}">
      <dgm:prSet/>
      <dgm:spPr/>
      <dgm:t>
        <a:bodyPr/>
        <a:lstStyle/>
        <a:p>
          <a:pPr>
            <a:lnSpc>
              <a:spcPct val="100000"/>
            </a:lnSpc>
          </a:pPr>
          <a:endParaRPr lang="en-US"/>
        </a:p>
      </dgm:t>
    </dgm:pt>
    <dgm:pt modelId="{1E4BFFF3-6CF0-4119-A4FF-DBEDF3D04FE6}">
      <dgm:prSet/>
      <dgm:spPr/>
      <dgm:t>
        <a:bodyPr/>
        <a:lstStyle/>
        <a:p>
          <a:pPr>
            <a:lnSpc>
              <a:spcPct val="100000"/>
            </a:lnSpc>
          </a:pPr>
          <a:r>
            <a:rPr lang="en-US"/>
            <a:t>Detect overfitting</a:t>
          </a:r>
        </a:p>
      </dgm:t>
    </dgm:pt>
    <dgm:pt modelId="{A29E39FF-7EA1-4EB0-AA96-78C2D5B31D20}" type="parTrans" cxnId="{7126EDFF-90BD-4184-BB7A-8F19FB8E17D2}">
      <dgm:prSet/>
      <dgm:spPr/>
      <dgm:t>
        <a:bodyPr/>
        <a:lstStyle/>
        <a:p>
          <a:endParaRPr lang="en-US"/>
        </a:p>
      </dgm:t>
    </dgm:pt>
    <dgm:pt modelId="{ABA34292-9DD9-4E36-BE25-99B0105DD223}" type="sibTrans" cxnId="{7126EDFF-90BD-4184-BB7A-8F19FB8E17D2}">
      <dgm:prSet/>
      <dgm:spPr/>
      <dgm:t>
        <a:bodyPr/>
        <a:lstStyle/>
        <a:p>
          <a:endParaRPr lang="en-US"/>
        </a:p>
      </dgm:t>
    </dgm:pt>
    <dgm:pt modelId="{3AE2B115-4947-4174-96BA-671BBFCEDABE}" type="pres">
      <dgm:prSet presAssocID="{A51B11DF-80E3-4D4E-A060-D2E96DA93EBA}" presName="root" presStyleCnt="0">
        <dgm:presLayoutVars>
          <dgm:dir/>
          <dgm:resizeHandles val="exact"/>
        </dgm:presLayoutVars>
      </dgm:prSet>
      <dgm:spPr/>
    </dgm:pt>
    <dgm:pt modelId="{501696A6-899F-4D65-A6C9-E9B9AE9DE202}" type="pres">
      <dgm:prSet presAssocID="{946AC9AA-265D-419D-BB6A-AF215F709CA0}" presName="compNode" presStyleCnt="0"/>
      <dgm:spPr/>
    </dgm:pt>
    <dgm:pt modelId="{2F795EA0-218B-4CF1-9A39-49027B5DB2E9}" type="pres">
      <dgm:prSet presAssocID="{946AC9AA-265D-419D-BB6A-AF215F709CA0}" presName="bgRect" presStyleLbl="bgShp" presStyleIdx="0" presStyleCnt="6" custLinFactNeighborX="-18450" custLinFactNeighborY="-72"/>
      <dgm:spPr/>
    </dgm:pt>
    <dgm:pt modelId="{19297A8B-7BDF-45A8-941B-7AEA6DF28470}" type="pres">
      <dgm:prSet presAssocID="{946AC9AA-265D-419D-BB6A-AF215F709CA0}"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cales of Justice"/>
        </a:ext>
      </dgm:extLst>
    </dgm:pt>
    <dgm:pt modelId="{B2DC6C1A-F864-4731-9511-DCD9DFF59073}" type="pres">
      <dgm:prSet presAssocID="{946AC9AA-265D-419D-BB6A-AF215F709CA0}" presName="spaceRect" presStyleCnt="0"/>
      <dgm:spPr/>
    </dgm:pt>
    <dgm:pt modelId="{9AFA0DBB-06B1-4DDB-9A8F-408E38AF25A0}" type="pres">
      <dgm:prSet presAssocID="{946AC9AA-265D-419D-BB6A-AF215F709CA0}" presName="parTx" presStyleLbl="revTx" presStyleIdx="0" presStyleCnt="6">
        <dgm:presLayoutVars>
          <dgm:chMax val="0"/>
          <dgm:chPref val="0"/>
        </dgm:presLayoutVars>
      </dgm:prSet>
      <dgm:spPr/>
    </dgm:pt>
    <dgm:pt modelId="{060B63B8-0CFC-48C5-A33A-1FC7AD867832}" type="pres">
      <dgm:prSet presAssocID="{CDDAFE63-D38C-4FD7-BA68-8D29C24C8938}" presName="sibTrans" presStyleCnt="0"/>
      <dgm:spPr/>
    </dgm:pt>
    <dgm:pt modelId="{F80302B4-2A48-4140-8810-3FD93B8566EC}" type="pres">
      <dgm:prSet presAssocID="{42D4F5E4-BFB8-428A-B395-7806B40844C1}" presName="compNode" presStyleCnt="0"/>
      <dgm:spPr/>
    </dgm:pt>
    <dgm:pt modelId="{87D85A8B-6EC7-4D3D-868C-0439A640B9B5}" type="pres">
      <dgm:prSet presAssocID="{42D4F5E4-BFB8-428A-B395-7806B40844C1}" presName="bgRect" presStyleLbl="bgShp" presStyleIdx="1" presStyleCnt="6"/>
      <dgm:spPr/>
    </dgm:pt>
    <dgm:pt modelId="{1B142369-F856-4841-8819-F8FCEF38E033}" type="pres">
      <dgm:prSet presAssocID="{42D4F5E4-BFB8-428A-B395-7806B40844C1}"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ocument"/>
        </a:ext>
      </dgm:extLst>
    </dgm:pt>
    <dgm:pt modelId="{67707BA5-3C8A-4118-B342-4642DD7AC0FA}" type="pres">
      <dgm:prSet presAssocID="{42D4F5E4-BFB8-428A-B395-7806B40844C1}" presName="spaceRect" presStyleCnt="0"/>
      <dgm:spPr/>
    </dgm:pt>
    <dgm:pt modelId="{07637968-07C6-40EE-BDAD-D29DD96BFE4E}" type="pres">
      <dgm:prSet presAssocID="{42D4F5E4-BFB8-428A-B395-7806B40844C1}" presName="parTx" presStyleLbl="revTx" presStyleIdx="1" presStyleCnt="6">
        <dgm:presLayoutVars>
          <dgm:chMax val="0"/>
          <dgm:chPref val="0"/>
        </dgm:presLayoutVars>
      </dgm:prSet>
      <dgm:spPr/>
    </dgm:pt>
    <dgm:pt modelId="{7AA416F1-7D3E-4FF8-8A4D-E831617F38F0}" type="pres">
      <dgm:prSet presAssocID="{C58F27AE-1EA1-402B-9464-E7BB599B1F9A}" presName="sibTrans" presStyleCnt="0"/>
      <dgm:spPr/>
    </dgm:pt>
    <dgm:pt modelId="{A22314BC-AA96-4281-A4B5-6BF6CC639EA1}" type="pres">
      <dgm:prSet presAssocID="{68BF649F-05B4-49D6-870F-26647FAF71FC}" presName="compNode" presStyleCnt="0"/>
      <dgm:spPr/>
    </dgm:pt>
    <dgm:pt modelId="{6BAF67E6-564F-4328-9925-60D8A810583F}" type="pres">
      <dgm:prSet presAssocID="{68BF649F-05B4-49D6-870F-26647FAF71FC}" presName="bgRect" presStyleLbl="bgShp" presStyleIdx="2" presStyleCnt="6"/>
      <dgm:spPr/>
    </dgm:pt>
    <dgm:pt modelId="{06AEEA26-5738-4F5E-9A69-33E66589519E}" type="pres">
      <dgm:prSet presAssocID="{68BF649F-05B4-49D6-870F-26647FAF71FC}"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Warning"/>
        </a:ext>
      </dgm:extLst>
    </dgm:pt>
    <dgm:pt modelId="{2ACF5267-ECC6-4344-82DE-743528CFEFCD}" type="pres">
      <dgm:prSet presAssocID="{68BF649F-05B4-49D6-870F-26647FAF71FC}" presName="spaceRect" presStyleCnt="0"/>
      <dgm:spPr/>
    </dgm:pt>
    <dgm:pt modelId="{25FFF0D8-D90C-483B-BDD7-74D5EA4C6B2E}" type="pres">
      <dgm:prSet presAssocID="{68BF649F-05B4-49D6-870F-26647FAF71FC}" presName="parTx" presStyleLbl="revTx" presStyleIdx="2" presStyleCnt="6">
        <dgm:presLayoutVars>
          <dgm:chMax val="0"/>
          <dgm:chPref val="0"/>
        </dgm:presLayoutVars>
      </dgm:prSet>
      <dgm:spPr/>
    </dgm:pt>
    <dgm:pt modelId="{039DF86C-B89D-4FDC-9D7C-0ED641F9C9FC}" type="pres">
      <dgm:prSet presAssocID="{268A06C1-49FE-410A-8191-1D81E1C02DFD}" presName="sibTrans" presStyleCnt="0"/>
      <dgm:spPr/>
    </dgm:pt>
    <dgm:pt modelId="{999AB269-7483-488C-90DB-EBAE26C7D73A}" type="pres">
      <dgm:prSet presAssocID="{423306BE-9A8E-443A-B0EA-6A1F59ACB138}" presName="compNode" presStyleCnt="0"/>
      <dgm:spPr/>
    </dgm:pt>
    <dgm:pt modelId="{68D37306-058A-4CF1-9DE7-C1831EF3413B}" type="pres">
      <dgm:prSet presAssocID="{423306BE-9A8E-443A-B0EA-6A1F59ACB138}" presName="bgRect" presStyleLbl="bgShp" presStyleIdx="3" presStyleCnt="6"/>
      <dgm:spPr/>
    </dgm:pt>
    <dgm:pt modelId="{5710B09F-002B-4142-8357-3E74FBDECDAA}" type="pres">
      <dgm:prSet presAssocID="{423306BE-9A8E-443A-B0EA-6A1F59ACB138}"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Magnifying glass"/>
        </a:ext>
      </dgm:extLst>
    </dgm:pt>
    <dgm:pt modelId="{A26F4645-4704-47C3-B903-A2125FFDD755}" type="pres">
      <dgm:prSet presAssocID="{423306BE-9A8E-443A-B0EA-6A1F59ACB138}" presName="spaceRect" presStyleCnt="0"/>
      <dgm:spPr/>
    </dgm:pt>
    <dgm:pt modelId="{39387686-D39A-4BC9-94A3-371E7EAD243A}" type="pres">
      <dgm:prSet presAssocID="{423306BE-9A8E-443A-B0EA-6A1F59ACB138}" presName="parTx" presStyleLbl="revTx" presStyleIdx="3" presStyleCnt="6">
        <dgm:presLayoutVars>
          <dgm:chMax val="0"/>
          <dgm:chPref val="0"/>
        </dgm:presLayoutVars>
      </dgm:prSet>
      <dgm:spPr/>
    </dgm:pt>
    <dgm:pt modelId="{F661418D-06C1-4CE6-B8E8-D40DA908BC5E}" type="pres">
      <dgm:prSet presAssocID="{CF3D0D00-CC88-40B6-8EDE-030A8AF44368}" presName="sibTrans" presStyleCnt="0"/>
      <dgm:spPr/>
    </dgm:pt>
    <dgm:pt modelId="{94AAB8F8-A438-4CAE-BA1A-A99C25DD1373}" type="pres">
      <dgm:prSet presAssocID="{6841A3EF-1E53-4007-A218-BCC7B2B35D2C}" presName="compNode" presStyleCnt="0"/>
      <dgm:spPr/>
    </dgm:pt>
    <dgm:pt modelId="{CAFE8EE4-6F44-42E9-A997-C5738103BBCD}" type="pres">
      <dgm:prSet presAssocID="{6841A3EF-1E53-4007-A218-BCC7B2B35D2C}" presName="bgRect" presStyleLbl="bgShp" presStyleIdx="4" presStyleCnt="6"/>
      <dgm:spPr/>
    </dgm:pt>
    <dgm:pt modelId="{3CAC0D1E-45FE-4F12-A128-2C926F9254BD}" type="pres">
      <dgm:prSet presAssocID="{6841A3EF-1E53-4007-A218-BCC7B2B35D2C}" presName="iconRect" presStyleLbl="node1" presStyleIdx="4" presStyleCnt="6"/>
      <dgm:spPr>
        <a:pattFill prst="plaid">
          <a:fgClr>
            <a:schemeClr val="tx1"/>
          </a:fgClr>
          <a:bgClr>
            <a:schemeClr val="bg1"/>
          </a:bgClr>
        </a:pattFill>
        <a:ln>
          <a:noFill/>
        </a:ln>
      </dgm:spPr>
      <dgm:extLst>
        <a:ext uri="{E40237B7-FDA0-4F09-8148-C483321AD2D9}">
          <dgm14:cNvPr xmlns:dgm14="http://schemas.microsoft.com/office/drawing/2010/diagram" id="0" name="" descr="Lighthouse scene"/>
        </a:ext>
      </dgm:extLst>
    </dgm:pt>
    <dgm:pt modelId="{2D4B560B-8940-49DA-B101-F6B52BD586EE}" type="pres">
      <dgm:prSet presAssocID="{6841A3EF-1E53-4007-A218-BCC7B2B35D2C}" presName="spaceRect" presStyleCnt="0"/>
      <dgm:spPr/>
    </dgm:pt>
    <dgm:pt modelId="{1E6EA4B3-9E62-42DA-839C-3A9E4C281F34}" type="pres">
      <dgm:prSet presAssocID="{6841A3EF-1E53-4007-A218-BCC7B2B35D2C}" presName="parTx" presStyleLbl="revTx" presStyleIdx="4" presStyleCnt="6">
        <dgm:presLayoutVars>
          <dgm:chMax val="0"/>
          <dgm:chPref val="0"/>
        </dgm:presLayoutVars>
      </dgm:prSet>
      <dgm:spPr/>
    </dgm:pt>
    <dgm:pt modelId="{062C8773-37DD-4EF7-BF51-65AF7D58DCF5}" type="pres">
      <dgm:prSet presAssocID="{C4402BEA-6648-4302-9BD9-C126B6D98A77}" presName="sibTrans" presStyleCnt="0"/>
      <dgm:spPr/>
    </dgm:pt>
    <dgm:pt modelId="{29691886-158C-4493-B2B4-3D2E0741EFA1}" type="pres">
      <dgm:prSet presAssocID="{1E4BFFF3-6CF0-4119-A4FF-DBEDF3D04FE6}" presName="compNode" presStyleCnt="0"/>
      <dgm:spPr/>
    </dgm:pt>
    <dgm:pt modelId="{73EAB004-D391-4DE0-A036-BD66028EC11C}" type="pres">
      <dgm:prSet presAssocID="{1E4BFFF3-6CF0-4119-A4FF-DBEDF3D04FE6}" presName="bgRect" presStyleLbl="bgShp" presStyleIdx="5" presStyleCnt="6"/>
      <dgm:spPr/>
    </dgm:pt>
    <dgm:pt modelId="{BF490196-316B-4D2F-A662-64BD6C1C6B9D}" type="pres">
      <dgm:prSet presAssocID="{1E4BFFF3-6CF0-4119-A4FF-DBEDF3D04FE6}" presName="iconRect" presStyleLbl="node1" presStyleIdx="5"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Security Camera"/>
        </a:ext>
      </dgm:extLst>
    </dgm:pt>
    <dgm:pt modelId="{8C5919DD-BACA-4D1B-89F7-A4265B298639}" type="pres">
      <dgm:prSet presAssocID="{1E4BFFF3-6CF0-4119-A4FF-DBEDF3D04FE6}" presName="spaceRect" presStyleCnt="0"/>
      <dgm:spPr/>
    </dgm:pt>
    <dgm:pt modelId="{1B223338-3C2E-40CD-AF08-B1D5EBB3B9F1}" type="pres">
      <dgm:prSet presAssocID="{1E4BFFF3-6CF0-4119-A4FF-DBEDF3D04FE6}" presName="parTx" presStyleLbl="revTx" presStyleIdx="5" presStyleCnt="6">
        <dgm:presLayoutVars>
          <dgm:chMax val="0"/>
          <dgm:chPref val="0"/>
        </dgm:presLayoutVars>
      </dgm:prSet>
      <dgm:spPr/>
    </dgm:pt>
  </dgm:ptLst>
  <dgm:cxnLst>
    <dgm:cxn modelId="{509E6108-8051-4204-808E-95474FF1C45F}" type="presOf" srcId="{6841A3EF-1E53-4007-A218-BCC7B2B35D2C}" destId="{1E6EA4B3-9E62-42DA-839C-3A9E4C281F34}" srcOrd="0" destOrd="0" presId="urn:microsoft.com/office/officeart/2018/2/layout/IconVerticalSolidList"/>
    <dgm:cxn modelId="{151EEC16-1E85-4696-8559-D48F358F9208}" srcId="{A51B11DF-80E3-4D4E-A060-D2E96DA93EBA}" destId="{6841A3EF-1E53-4007-A218-BCC7B2B35D2C}" srcOrd="4" destOrd="0" parTransId="{BFF67FB5-EC0E-464A-AD04-9349947ACF26}" sibTransId="{C4402BEA-6648-4302-9BD9-C126B6D98A77}"/>
    <dgm:cxn modelId="{F5168218-4301-4218-B929-10F72171B530}" type="presOf" srcId="{42D4F5E4-BFB8-428A-B395-7806B40844C1}" destId="{07637968-07C6-40EE-BDAD-D29DD96BFE4E}" srcOrd="0" destOrd="0" presId="urn:microsoft.com/office/officeart/2018/2/layout/IconVerticalSolidList"/>
    <dgm:cxn modelId="{6BB84A1B-371C-4164-9C8C-248415C5528A}" type="presOf" srcId="{1E4BFFF3-6CF0-4119-A4FF-DBEDF3D04FE6}" destId="{1B223338-3C2E-40CD-AF08-B1D5EBB3B9F1}" srcOrd="0" destOrd="0" presId="urn:microsoft.com/office/officeart/2018/2/layout/IconVerticalSolidList"/>
    <dgm:cxn modelId="{EAAFA42C-D9F6-47A5-AF57-23A0ADABC3EF}" type="presOf" srcId="{68BF649F-05B4-49D6-870F-26647FAF71FC}" destId="{25FFF0D8-D90C-483B-BDD7-74D5EA4C6B2E}" srcOrd="0" destOrd="0" presId="urn:microsoft.com/office/officeart/2018/2/layout/IconVerticalSolidList"/>
    <dgm:cxn modelId="{FD83ED70-2FF6-493E-8972-E53C4BB0A1AF}" type="presOf" srcId="{423306BE-9A8E-443A-B0EA-6A1F59ACB138}" destId="{39387686-D39A-4BC9-94A3-371E7EAD243A}" srcOrd="0" destOrd="0" presId="urn:microsoft.com/office/officeart/2018/2/layout/IconVerticalSolidList"/>
    <dgm:cxn modelId="{C0B37371-0831-4D45-83D3-3F60B2F3BAE3}" srcId="{A51B11DF-80E3-4D4E-A060-D2E96DA93EBA}" destId="{423306BE-9A8E-443A-B0EA-6A1F59ACB138}" srcOrd="3" destOrd="0" parTransId="{1D814DF7-C064-46F3-8D02-0100565F55DC}" sibTransId="{CF3D0D00-CC88-40B6-8EDE-030A8AF44368}"/>
    <dgm:cxn modelId="{15443384-E747-4F70-B01E-7BA2D17ED223}" type="presOf" srcId="{A51B11DF-80E3-4D4E-A060-D2E96DA93EBA}" destId="{3AE2B115-4947-4174-96BA-671BBFCEDABE}" srcOrd="0" destOrd="0" presId="urn:microsoft.com/office/officeart/2018/2/layout/IconVerticalSolidList"/>
    <dgm:cxn modelId="{BE6798C1-0DEB-4384-84D7-FEF1A7419CB7}" srcId="{A51B11DF-80E3-4D4E-A060-D2E96DA93EBA}" destId="{946AC9AA-265D-419D-BB6A-AF215F709CA0}" srcOrd="0" destOrd="0" parTransId="{16B319CC-272C-4B4F-95E5-1DE15FCAB461}" sibTransId="{CDDAFE63-D38C-4FD7-BA68-8D29C24C8938}"/>
    <dgm:cxn modelId="{A57E39CB-BFB3-431B-BA69-577B196F3FDA}" srcId="{A51B11DF-80E3-4D4E-A060-D2E96DA93EBA}" destId="{42D4F5E4-BFB8-428A-B395-7806B40844C1}" srcOrd="1" destOrd="0" parTransId="{AA93D5FD-C08B-46AB-B64E-0C06A1904815}" sibTransId="{C58F27AE-1EA1-402B-9464-E7BB599B1F9A}"/>
    <dgm:cxn modelId="{2D181AF8-C1F7-44F7-B897-F556D859169E}" srcId="{A51B11DF-80E3-4D4E-A060-D2E96DA93EBA}" destId="{68BF649F-05B4-49D6-870F-26647FAF71FC}" srcOrd="2" destOrd="0" parTransId="{C8FB6144-249D-41FD-B82F-78657F6E3EAA}" sibTransId="{268A06C1-49FE-410A-8191-1D81E1C02DFD}"/>
    <dgm:cxn modelId="{223CBAFA-81C3-4EBE-AEE4-C6C6006132BD}" type="presOf" srcId="{946AC9AA-265D-419D-BB6A-AF215F709CA0}" destId="{9AFA0DBB-06B1-4DDB-9A8F-408E38AF25A0}" srcOrd="0" destOrd="0" presId="urn:microsoft.com/office/officeart/2018/2/layout/IconVerticalSolidList"/>
    <dgm:cxn modelId="{7126EDFF-90BD-4184-BB7A-8F19FB8E17D2}" srcId="{A51B11DF-80E3-4D4E-A060-D2E96DA93EBA}" destId="{1E4BFFF3-6CF0-4119-A4FF-DBEDF3D04FE6}" srcOrd="5" destOrd="0" parTransId="{A29E39FF-7EA1-4EB0-AA96-78C2D5B31D20}" sibTransId="{ABA34292-9DD9-4E36-BE25-99B0105DD223}"/>
    <dgm:cxn modelId="{6C74B2FD-531D-4675-B181-A311F364DBDB}" type="presParOf" srcId="{3AE2B115-4947-4174-96BA-671BBFCEDABE}" destId="{501696A6-899F-4D65-A6C9-E9B9AE9DE202}" srcOrd="0" destOrd="0" presId="urn:microsoft.com/office/officeart/2018/2/layout/IconVerticalSolidList"/>
    <dgm:cxn modelId="{4C759332-70E4-4747-8072-FCECC736549F}" type="presParOf" srcId="{501696A6-899F-4D65-A6C9-E9B9AE9DE202}" destId="{2F795EA0-218B-4CF1-9A39-49027B5DB2E9}" srcOrd="0" destOrd="0" presId="urn:microsoft.com/office/officeart/2018/2/layout/IconVerticalSolidList"/>
    <dgm:cxn modelId="{A66880CE-76D4-4513-81FF-E6AF39E2FF8B}" type="presParOf" srcId="{501696A6-899F-4D65-A6C9-E9B9AE9DE202}" destId="{19297A8B-7BDF-45A8-941B-7AEA6DF28470}" srcOrd="1" destOrd="0" presId="urn:microsoft.com/office/officeart/2018/2/layout/IconVerticalSolidList"/>
    <dgm:cxn modelId="{F943CFBC-80A6-435F-942E-385517B97715}" type="presParOf" srcId="{501696A6-899F-4D65-A6C9-E9B9AE9DE202}" destId="{B2DC6C1A-F864-4731-9511-DCD9DFF59073}" srcOrd="2" destOrd="0" presId="urn:microsoft.com/office/officeart/2018/2/layout/IconVerticalSolidList"/>
    <dgm:cxn modelId="{B9462B5C-9F76-4F74-AD29-30D15BA07D0E}" type="presParOf" srcId="{501696A6-899F-4D65-A6C9-E9B9AE9DE202}" destId="{9AFA0DBB-06B1-4DDB-9A8F-408E38AF25A0}" srcOrd="3" destOrd="0" presId="urn:microsoft.com/office/officeart/2018/2/layout/IconVerticalSolidList"/>
    <dgm:cxn modelId="{5C6CFAD0-F87B-4F75-A7B4-B3BE4FAAD2AC}" type="presParOf" srcId="{3AE2B115-4947-4174-96BA-671BBFCEDABE}" destId="{060B63B8-0CFC-48C5-A33A-1FC7AD867832}" srcOrd="1" destOrd="0" presId="urn:microsoft.com/office/officeart/2018/2/layout/IconVerticalSolidList"/>
    <dgm:cxn modelId="{FD05648D-A652-4DA8-8B22-365C0151E2D2}" type="presParOf" srcId="{3AE2B115-4947-4174-96BA-671BBFCEDABE}" destId="{F80302B4-2A48-4140-8810-3FD93B8566EC}" srcOrd="2" destOrd="0" presId="urn:microsoft.com/office/officeart/2018/2/layout/IconVerticalSolidList"/>
    <dgm:cxn modelId="{CD986F2C-2DED-40D8-9CDF-F3438AF0D69F}" type="presParOf" srcId="{F80302B4-2A48-4140-8810-3FD93B8566EC}" destId="{87D85A8B-6EC7-4D3D-868C-0439A640B9B5}" srcOrd="0" destOrd="0" presId="urn:microsoft.com/office/officeart/2018/2/layout/IconVerticalSolidList"/>
    <dgm:cxn modelId="{CB1D773E-A4A0-485B-A4AB-DBAEBB7F24AA}" type="presParOf" srcId="{F80302B4-2A48-4140-8810-3FD93B8566EC}" destId="{1B142369-F856-4841-8819-F8FCEF38E033}" srcOrd="1" destOrd="0" presId="urn:microsoft.com/office/officeart/2018/2/layout/IconVerticalSolidList"/>
    <dgm:cxn modelId="{6894AAF6-ABCD-4F3A-A435-3680EE2A5DE7}" type="presParOf" srcId="{F80302B4-2A48-4140-8810-3FD93B8566EC}" destId="{67707BA5-3C8A-4118-B342-4642DD7AC0FA}" srcOrd="2" destOrd="0" presId="urn:microsoft.com/office/officeart/2018/2/layout/IconVerticalSolidList"/>
    <dgm:cxn modelId="{F232D7EB-010D-40BC-9CEC-C26E77489F19}" type="presParOf" srcId="{F80302B4-2A48-4140-8810-3FD93B8566EC}" destId="{07637968-07C6-40EE-BDAD-D29DD96BFE4E}" srcOrd="3" destOrd="0" presId="urn:microsoft.com/office/officeart/2018/2/layout/IconVerticalSolidList"/>
    <dgm:cxn modelId="{D926E34C-47C7-4C22-8BD8-BA241B995FB9}" type="presParOf" srcId="{3AE2B115-4947-4174-96BA-671BBFCEDABE}" destId="{7AA416F1-7D3E-4FF8-8A4D-E831617F38F0}" srcOrd="3" destOrd="0" presId="urn:microsoft.com/office/officeart/2018/2/layout/IconVerticalSolidList"/>
    <dgm:cxn modelId="{E0A70756-D5DF-4187-A594-FB8D34A1A470}" type="presParOf" srcId="{3AE2B115-4947-4174-96BA-671BBFCEDABE}" destId="{A22314BC-AA96-4281-A4B5-6BF6CC639EA1}" srcOrd="4" destOrd="0" presId="urn:microsoft.com/office/officeart/2018/2/layout/IconVerticalSolidList"/>
    <dgm:cxn modelId="{6B851B83-58C9-494A-857B-4E6FD9F59D40}" type="presParOf" srcId="{A22314BC-AA96-4281-A4B5-6BF6CC639EA1}" destId="{6BAF67E6-564F-4328-9925-60D8A810583F}" srcOrd="0" destOrd="0" presId="urn:microsoft.com/office/officeart/2018/2/layout/IconVerticalSolidList"/>
    <dgm:cxn modelId="{FD4A8F90-1FF8-41AB-8769-89AF058059EE}" type="presParOf" srcId="{A22314BC-AA96-4281-A4B5-6BF6CC639EA1}" destId="{06AEEA26-5738-4F5E-9A69-33E66589519E}" srcOrd="1" destOrd="0" presId="urn:microsoft.com/office/officeart/2018/2/layout/IconVerticalSolidList"/>
    <dgm:cxn modelId="{BEC70AB4-EB8C-47E9-8542-9FEFC00D690C}" type="presParOf" srcId="{A22314BC-AA96-4281-A4B5-6BF6CC639EA1}" destId="{2ACF5267-ECC6-4344-82DE-743528CFEFCD}" srcOrd="2" destOrd="0" presId="urn:microsoft.com/office/officeart/2018/2/layout/IconVerticalSolidList"/>
    <dgm:cxn modelId="{200A9482-B420-4383-AFF5-C73195E01E62}" type="presParOf" srcId="{A22314BC-AA96-4281-A4B5-6BF6CC639EA1}" destId="{25FFF0D8-D90C-483B-BDD7-74D5EA4C6B2E}" srcOrd="3" destOrd="0" presId="urn:microsoft.com/office/officeart/2018/2/layout/IconVerticalSolidList"/>
    <dgm:cxn modelId="{0107E22A-CD0D-4FCE-B3E3-9AF09E3B39DC}" type="presParOf" srcId="{3AE2B115-4947-4174-96BA-671BBFCEDABE}" destId="{039DF86C-B89D-4FDC-9D7C-0ED641F9C9FC}" srcOrd="5" destOrd="0" presId="urn:microsoft.com/office/officeart/2018/2/layout/IconVerticalSolidList"/>
    <dgm:cxn modelId="{D129D856-2A0A-4B65-9F54-156C61027B29}" type="presParOf" srcId="{3AE2B115-4947-4174-96BA-671BBFCEDABE}" destId="{999AB269-7483-488C-90DB-EBAE26C7D73A}" srcOrd="6" destOrd="0" presId="urn:microsoft.com/office/officeart/2018/2/layout/IconVerticalSolidList"/>
    <dgm:cxn modelId="{3EA88B8A-2253-481B-9092-04552A17F706}" type="presParOf" srcId="{999AB269-7483-488C-90DB-EBAE26C7D73A}" destId="{68D37306-058A-4CF1-9DE7-C1831EF3413B}" srcOrd="0" destOrd="0" presId="urn:microsoft.com/office/officeart/2018/2/layout/IconVerticalSolidList"/>
    <dgm:cxn modelId="{92C702EC-8E10-4571-A0C1-4834A4F40E1D}" type="presParOf" srcId="{999AB269-7483-488C-90DB-EBAE26C7D73A}" destId="{5710B09F-002B-4142-8357-3E74FBDECDAA}" srcOrd="1" destOrd="0" presId="urn:microsoft.com/office/officeart/2018/2/layout/IconVerticalSolidList"/>
    <dgm:cxn modelId="{4F4871A3-6C02-46A4-9359-2F3655CDFED0}" type="presParOf" srcId="{999AB269-7483-488C-90DB-EBAE26C7D73A}" destId="{A26F4645-4704-47C3-B903-A2125FFDD755}" srcOrd="2" destOrd="0" presId="urn:microsoft.com/office/officeart/2018/2/layout/IconVerticalSolidList"/>
    <dgm:cxn modelId="{E3AA4574-1BB7-4087-B4AE-437F9A85CB96}" type="presParOf" srcId="{999AB269-7483-488C-90DB-EBAE26C7D73A}" destId="{39387686-D39A-4BC9-94A3-371E7EAD243A}" srcOrd="3" destOrd="0" presId="urn:microsoft.com/office/officeart/2018/2/layout/IconVerticalSolidList"/>
    <dgm:cxn modelId="{1BA6EC79-AA5D-436E-B6B4-0FA51D084D45}" type="presParOf" srcId="{3AE2B115-4947-4174-96BA-671BBFCEDABE}" destId="{F661418D-06C1-4CE6-B8E8-D40DA908BC5E}" srcOrd="7" destOrd="0" presId="urn:microsoft.com/office/officeart/2018/2/layout/IconVerticalSolidList"/>
    <dgm:cxn modelId="{E5624171-129D-4045-9878-055E9C6CD4BE}" type="presParOf" srcId="{3AE2B115-4947-4174-96BA-671BBFCEDABE}" destId="{94AAB8F8-A438-4CAE-BA1A-A99C25DD1373}" srcOrd="8" destOrd="0" presId="urn:microsoft.com/office/officeart/2018/2/layout/IconVerticalSolidList"/>
    <dgm:cxn modelId="{A3C21328-61BF-4772-9EEB-9CAC22405FFA}" type="presParOf" srcId="{94AAB8F8-A438-4CAE-BA1A-A99C25DD1373}" destId="{CAFE8EE4-6F44-42E9-A997-C5738103BBCD}" srcOrd="0" destOrd="0" presId="urn:microsoft.com/office/officeart/2018/2/layout/IconVerticalSolidList"/>
    <dgm:cxn modelId="{34148643-F1A5-4940-A012-1A8A3768A046}" type="presParOf" srcId="{94AAB8F8-A438-4CAE-BA1A-A99C25DD1373}" destId="{3CAC0D1E-45FE-4F12-A128-2C926F9254BD}" srcOrd="1" destOrd="0" presId="urn:microsoft.com/office/officeart/2018/2/layout/IconVerticalSolidList"/>
    <dgm:cxn modelId="{1B33548B-3355-4986-9E2B-BB020BCB9B14}" type="presParOf" srcId="{94AAB8F8-A438-4CAE-BA1A-A99C25DD1373}" destId="{2D4B560B-8940-49DA-B101-F6B52BD586EE}" srcOrd="2" destOrd="0" presId="urn:microsoft.com/office/officeart/2018/2/layout/IconVerticalSolidList"/>
    <dgm:cxn modelId="{2F48491A-644A-482E-831E-2C4B551D1DAD}" type="presParOf" srcId="{94AAB8F8-A438-4CAE-BA1A-A99C25DD1373}" destId="{1E6EA4B3-9E62-42DA-839C-3A9E4C281F34}" srcOrd="3" destOrd="0" presId="urn:microsoft.com/office/officeart/2018/2/layout/IconVerticalSolidList"/>
    <dgm:cxn modelId="{122D02A6-52FA-4834-9588-AC8ADE238906}" type="presParOf" srcId="{3AE2B115-4947-4174-96BA-671BBFCEDABE}" destId="{062C8773-37DD-4EF7-BF51-65AF7D58DCF5}" srcOrd="9" destOrd="0" presId="urn:microsoft.com/office/officeart/2018/2/layout/IconVerticalSolidList"/>
    <dgm:cxn modelId="{DF6F13F3-17BC-4CB6-A6C5-96233E5525A8}" type="presParOf" srcId="{3AE2B115-4947-4174-96BA-671BBFCEDABE}" destId="{29691886-158C-4493-B2B4-3D2E0741EFA1}" srcOrd="10" destOrd="0" presId="urn:microsoft.com/office/officeart/2018/2/layout/IconVerticalSolidList"/>
    <dgm:cxn modelId="{4AA7D9A5-C3BF-427D-A269-57B26AE2CDD0}" type="presParOf" srcId="{29691886-158C-4493-B2B4-3D2E0741EFA1}" destId="{73EAB004-D391-4DE0-A036-BD66028EC11C}" srcOrd="0" destOrd="0" presId="urn:microsoft.com/office/officeart/2018/2/layout/IconVerticalSolidList"/>
    <dgm:cxn modelId="{1DB95F03-CBC5-4407-94A0-1F9A13E3B836}" type="presParOf" srcId="{29691886-158C-4493-B2B4-3D2E0741EFA1}" destId="{BF490196-316B-4D2F-A662-64BD6C1C6B9D}" srcOrd="1" destOrd="0" presId="urn:microsoft.com/office/officeart/2018/2/layout/IconVerticalSolidList"/>
    <dgm:cxn modelId="{0D80B401-A3C9-4C0C-BFD0-450C640EBFB0}" type="presParOf" srcId="{29691886-158C-4493-B2B4-3D2E0741EFA1}" destId="{8C5919DD-BACA-4D1B-89F7-A4265B298639}" srcOrd="2" destOrd="0" presId="urn:microsoft.com/office/officeart/2018/2/layout/IconVerticalSolidList"/>
    <dgm:cxn modelId="{2C0BE914-2463-4AEB-8E3D-7496D132AEB3}" type="presParOf" srcId="{29691886-158C-4493-B2B4-3D2E0741EFA1}" destId="{1B223338-3C2E-40CD-AF08-B1D5EBB3B9F1}"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9A497BE-A519-4E11-AF3C-90CBC670988C}" type="doc">
      <dgm:prSet loTypeId="urn:microsoft.com/office/officeart/2008/layout/RadialCluster" loCatId="cycle" qsTypeId="urn:microsoft.com/office/officeart/2005/8/quickstyle/simple1" qsCatId="simple" csTypeId="urn:microsoft.com/office/officeart/2005/8/colors/accent0_3" csCatId="mainScheme" phldr="1"/>
      <dgm:spPr/>
      <dgm:t>
        <a:bodyPr/>
        <a:lstStyle/>
        <a:p>
          <a:endParaRPr lang="en-US"/>
        </a:p>
      </dgm:t>
    </dgm:pt>
    <dgm:pt modelId="{75966DEE-68E0-4A53-9947-04A6CD4262CC}">
      <dgm:prSet phldrT="[Text]"/>
      <dgm:spPr/>
      <dgm:t>
        <a:bodyPr/>
        <a:lstStyle/>
        <a:p>
          <a:r>
            <a:rPr lang="en-US" dirty="0"/>
            <a:t>Automated Machine Learning</a:t>
          </a:r>
        </a:p>
      </dgm:t>
    </dgm:pt>
    <dgm:pt modelId="{AB32E849-C8F8-4B86-A41F-727462B48A1C}" type="parTrans" cxnId="{8F7ABEB7-3458-42BB-908B-FA41978F08D0}">
      <dgm:prSet/>
      <dgm:spPr/>
      <dgm:t>
        <a:bodyPr/>
        <a:lstStyle/>
        <a:p>
          <a:endParaRPr lang="en-US"/>
        </a:p>
      </dgm:t>
    </dgm:pt>
    <dgm:pt modelId="{7C8532E0-D99E-4F44-98A8-2BBB2B07FE99}" type="sibTrans" cxnId="{8F7ABEB7-3458-42BB-908B-FA41978F08D0}">
      <dgm:prSet/>
      <dgm:spPr/>
      <dgm:t>
        <a:bodyPr/>
        <a:lstStyle/>
        <a:p>
          <a:endParaRPr lang="en-US"/>
        </a:p>
      </dgm:t>
    </dgm:pt>
    <dgm:pt modelId="{AE851093-BC46-47D9-9C5A-3E482022E2F0}">
      <dgm:prSet phldrT="[Text]" custT="1"/>
      <dgm:spPr>
        <a:solidFill>
          <a:srgbClr val="0078D3">
            <a:hueOff val="0"/>
            <a:satOff val="0"/>
            <a:lumOff val="0"/>
            <a:alphaOff val="0"/>
          </a:srgbClr>
        </a:solidFill>
        <a:ln w="10795" cap="flat" cmpd="sng" algn="ctr">
          <a:solidFill>
            <a:srgbClr val="FFFFFF">
              <a:hueOff val="0"/>
              <a:satOff val="0"/>
              <a:lumOff val="0"/>
              <a:alphaOff val="0"/>
            </a:srgbClr>
          </a:solidFill>
          <a:prstDash val="solid"/>
        </a:ln>
        <a:effectLst/>
      </dgm:spPr>
      <dgm:t>
        <a:bodyPr spcFirstLastPara="0" vert="horz" wrap="square" lIns="91440" tIns="91440" rIns="91440" bIns="91440" numCol="1" spcCol="1270" anchor="ctr" anchorCtr="0"/>
        <a:lstStyle/>
        <a:p>
          <a:pPr marL="0" lvl="0" indent="0" algn="ctr" defTabSz="1600200">
            <a:lnSpc>
              <a:spcPct val="90000"/>
            </a:lnSpc>
            <a:spcBef>
              <a:spcPct val="0"/>
            </a:spcBef>
            <a:spcAft>
              <a:spcPct val="35000"/>
            </a:spcAft>
            <a:buNone/>
          </a:pPr>
          <a:r>
            <a:rPr lang="en-US" sz="1200" kern="1200" dirty="0"/>
            <a:t>Data Scientist</a:t>
          </a:r>
          <a:endParaRPr lang="en-US" sz="1200" kern="1200" dirty="0">
            <a:solidFill>
              <a:srgbClr val="FFFFFF"/>
            </a:solidFill>
            <a:latin typeface="Segoe UI"/>
            <a:ea typeface="+mn-ea"/>
            <a:cs typeface="+mn-cs"/>
          </a:endParaRPr>
        </a:p>
      </dgm:t>
    </dgm:pt>
    <dgm:pt modelId="{1378D661-EA29-4781-9CA4-BFCF59271FA1}" type="parTrans" cxnId="{CD660658-BD04-4D70-A6F8-AC3E8C19D3DF}">
      <dgm:prSet/>
      <dgm:spPr>
        <a:ln w="38100">
          <a:solidFill>
            <a:schemeClr val="tx2"/>
          </a:solidFill>
        </a:ln>
      </dgm:spPr>
      <dgm:t>
        <a:bodyPr/>
        <a:lstStyle/>
        <a:p>
          <a:endParaRPr lang="en-US"/>
        </a:p>
      </dgm:t>
    </dgm:pt>
    <dgm:pt modelId="{CD0C4307-D9B9-490F-8B76-BE692B3190B4}" type="sibTrans" cxnId="{CD660658-BD04-4D70-A6F8-AC3E8C19D3DF}">
      <dgm:prSet/>
      <dgm:spPr/>
      <dgm:t>
        <a:bodyPr/>
        <a:lstStyle/>
        <a:p>
          <a:endParaRPr lang="en-US"/>
        </a:p>
      </dgm:t>
    </dgm:pt>
    <dgm:pt modelId="{E3CE342F-D925-47B3-A6ED-52454309C72E}">
      <dgm:prSet phldrT="[Text]"/>
      <dgm:spPr/>
      <dgm:t>
        <a:bodyPr/>
        <a:lstStyle/>
        <a:p>
          <a:r>
            <a:rPr lang="en-US" dirty="0"/>
            <a:t>Data Engineer</a:t>
          </a:r>
        </a:p>
      </dgm:t>
    </dgm:pt>
    <dgm:pt modelId="{CA53D736-F51A-4692-8616-EB5B24256389}" type="parTrans" cxnId="{E6DCC7E4-8EAA-4FB3-BA41-6EC63BE3BE04}">
      <dgm:prSet/>
      <dgm:spPr>
        <a:noFill/>
        <a:ln w="38100" cap="flat" cmpd="sng" algn="ctr">
          <a:solidFill>
            <a:schemeClr val="tx2"/>
          </a:solidFill>
          <a:prstDash val="solid"/>
        </a:ln>
        <a:effectLst/>
      </dgm:spPr>
      <dgm:t>
        <a:bodyPr/>
        <a:lstStyle/>
        <a:p>
          <a:endParaRPr lang="en-US"/>
        </a:p>
      </dgm:t>
    </dgm:pt>
    <dgm:pt modelId="{26C5B0E6-328F-425D-81AF-D4BAE547F354}" type="sibTrans" cxnId="{E6DCC7E4-8EAA-4FB3-BA41-6EC63BE3BE04}">
      <dgm:prSet/>
      <dgm:spPr/>
      <dgm:t>
        <a:bodyPr/>
        <a:lstStyle/>
        <a:p>
          <a:endParaRPr lang="en-US"/>
        </a:p>
      </dgm:t>
    </dgm:pt>
    <dgm:pt modelId="{DEE074B8-EBE3-4CE6-B41A-0B5909E05F2A}">
      <dgm:prSet phldrT="[Text]"/>
      <dgm:spPr/>
      <dgm:t>
        <a:bodyPr/>
        <a:lstStyle/>
        <a:p>
          <a:r>
            <a:rPr lang="en-US" dirty="0"/>
            <a:t>Developer</a:t>
          </a:r>
        </a:p>
      </dgm:t>
    </dgm:pt>
    <dgm:pt modelId="{155F4F62-8BA3-4298-AD5E-1CCC74CE8AAB}" type="parTrans" cxnId="{D2A98D18-E8F3-46BC-9635-FFA288FFD2BA}">
      <dgm:prSet/>
      <dgm:spPr>
        <a:ln w="38100">
          <a:solidFill>
            <a:schemeClr val="tx2"/>
          </a:solidFill>
        </a:ln>
      </dgm:spPr>
      <dgm:t>
        <a:bodyPr/>
        <a:lstStyle/>
        <a:p>
          <a:endParaRPr lang="en-US"/>
        </a:p>
      </dgm:t>
    </dgm:pt>
    <dgm:pt modelId="{DBCAE7DF-2A69-4827-9EA6-9FCEAD947A83}" type="sibTrans" cxnId="{D2A98D18-E8F3-46BC-9635-FFA288FFD2BA}">
      <dgm:prSet/>
      <dgm:spPr/>
      <dgm:t>
        <a:bodyPr/>
        <a:lstStyle/>
        <a:p>
          <a:endParaRPr lang="en-US"/>
        </a:p>
      </dgm:t>
    </dgm:pt>
    <dgm:pt modelId="{886BDB69-255E-47A7-9F44-43017B90E82E}">
      <dgm:prSet phldrT="[Text]" custT="1"/>
      <dgm:spPr>
        <a:solidFill>
          <a:srgbClr val="0078D3">
            <a:hueOff val="0"/>
            <a:satOff val="0"/>
            <a:lumOff val="0"/>
            <a:alphaOff val="0"/>
          </a:srgbClr>
        </a:solidFill>
        <a:ln w="10795" cap="flat" cmpd="sng" algn="ctr">
          <a:solidFill>
            <a:srgbClr val="FFFFFF">
              <a:hueOff val="0"/>
              <a:satOff val="0"/>
              <a:lumOff val="0"/>
              <a:alphaOff val="0"/>
            </a:srgbClr>
          </a:solidFill>
          <a:prstDash val="solid"/>
        </a:ln>
        <a:effectLst/>
      </dgm:spPr>
      <dgm:t>
        <a:bodyPr spcFirstLastPara="0" vert="horz" wrap="square" lIns="91440" tIns="91440" rIns="91440" bIns="91440" numCol="1" spcCol="1270" anchor="ctr" anchorCtr="0"/>
        <a:lstStyle/>
        <a:p>
          <a:pPr marL="0" lvl="0" indent="0" algn="ctr" defTabSz="1600200">
            <a:lnSpc>
              <a:spcPct val="90000"/>
            </a:lnSpc>
            <a:spcBef>
              <a:spcPct val="0"/>
            </a:spcBef>
            <a:spcAft>
              <a:spcPct val="35000"/>
            </a:spcAft>
            <a:buNone/>
          </a:pPr>
          <a:r>
            <a:rPr lang="en-US" sz="1400" kern="1200" dirty="0">
              <a:solidFill>
                <a:srgbClr val="FFFFFF"/>
              </a:solidFill>
              <a:latin typeface="Segoe UI"/>
              <a:ea typeface="+mn-ea"/>
              <a:cs typeface="+mn-cs"/>
            </a:rPr>
            <a:t>Data Analyst</a:t>
          </a:r>
        </a:p>
      </dgm:t>
    </dgm:pt>
    <dgm:pt modelId="{63A40B51-CD5A-4A49-BBAF-D56F6F5DC18F}" type="parTrans" cxnId="{09B2FED5-D554-465C-83D7-0A8B921F0724}">
      <dgm:prSet/>
      <dgm:spPr>
        <a:ln w="38100">
          <a:solidFill>
            <a:schemeClr val="tx2"/>
          </a:solidFill>
        </a:ln>
      </dgm:spPr>
      <dgm:t>
        <a:bodyPr/>
        <a:lstStyle/>
        <a:p>
          <a:endParaRPr lang="en-US"/>
        </a:p>
      </dgm:t>
    </dgm:pt>
    <dgm:pt modelId="{F00CEE15-C7E7-40BD-B85A-9DA57752C7DB}" type="sibTrans" cxnId="{09B2FED5-D554-465C-83D7-0A8B921F0724}">
      <dgm:prSet/>
      <dgm:spPr/>
      <dgm:t>
        <a:bodyPr/>
        <a:lstStyle/>
        <a:p>
          <a:endParaRPr lang="en-US"/>
        </a:p>
      </dgm:t>
    </dgm:pt>
    <dgm:pt modelId="{4B106BF5-6CC4-4EAA-8DF5-1F37AF1C21D5}">
      <dgm:prSet phldrT="[Text]"/>
      <dgm:spPr/>
      <dgm:t>
        <a:bodyPr/>
        <a:lstStyle/>
        <a:p>
          <a:r>
            <a:rPr lang="en-US" dirty="0"/>
            <a:t>Citizen Data Scientist</a:t>
          </a:r>
        </a:p>
      </dgm:t>
    </dgm:pt>
    <dgm:pt modelId="{3DAF893B-7FEA-46B0-9CC7-3AB122890499}" type="parTrans" cxnId="{436739EA-07FB-4827-81A6-C9B05D3A1EEF}">
      <dgm:prSet/>
      <dgm:spPr>
        <a:ln w="38100">
          <a:solidFill>
            <a:schemeClr val="tx2"/>
          </a:solidFill>
        </a:ln>
      </dgm:spPr>
      <dgm:t>
        <a:bodyPr/>
        <a:lstStyle/>
        <a:p>
          <a:endParaRPr lang="en-US"/>
        </a:p>
      </dgm:t>
    </dgm:pt>
    <dgm:pt modelId="{E68EB646-C95D-4EF4-B19B-F1F27F6E8B3C}" type="sibTrans" cxnId="{436739EA-07FB-4827-81A6-C9B05D3A1EEF}">
      <dgm:prSet/>
      <dgm:spPr/>
      <dgm:t>
        <a:bodyPr/>
        <a:lstStyle/>
        <a:p>
          <a:endParaRPr lang="en-US"/>
        </a:p>
      </dgm:t>
    </dgm:pt>
    <dgm:pt modelId="{3773200B-BBEB-4433-B9CB-F60753625E0D}" type="pres">
      <dgm:prSet presAssocID="{D9A497BE-A519-4E11-AF3C-90CBC670988C}" presName="Name0" presStyleCnt="0">
        <dgm:presLayoutVars>
          <dgm:chMax val="1"/>
          <dgm:chPref val="1"/>
          <dgm:dir/>
          <dgm:animOne val="branch"/>
          <dgm:animLvl val="lvl"/>
        </dgm:presLayoutVars>
      </dgm:prSet>
      <dgm:spPr/>
    </dgm:pt>
    <dgm:pt modelId="{F90191ED-3865-43EA-9AE8-EBC68D5E20F7}" type="pres">
      <dgm:prSet presAssocID="{75966DEE-68E0-4A53-9947-04A6CD4262CC}" presName="singleCycle" presStyleCnt="0"/>
      <dgm:spPr/>
    </dgm:pt>
    <dgm:pt modelId="{2E84FF10-E862-4FDA-9FB0-CA7D42350DF5}" type="pres">
      <dgm:prSet presAssocID="{75966DEE-68E0-4A53-9947-04A6CD4262CC}" presName="singleCenter" presStyleLbl="node1" presStyleIdx="0" presStyleCnt="6">
        <dgm:presLayoutVars>
          <dgm:chMax val="7"/>
          <dgm:chPref val="7"/>
        </dgm:presLayoutVars>
      </dgm:prSet>
      <dgm:spPr>
        <a:prstGeom prst="ellipse">
          <a:avLst/>
        </a:prstGeom>
      </dgm:spPr>
    </dgm:pt>
    <dgm:pt modelId="{90F85B81-957C-42C4-8567-4B60B670C5F1}" type="pres">
      <dgm:prSet presAssocID="{1378D661-EA29-4781-9CA4-BFCF59271FA1}" presName="Name56" presStyleLbl="parChTrans1D2" presStyleIdx="0" presStyleCnt="5"/>
      <dgm:spPr/>
    </dgm:pt>
    <dgm:pt modelId="{465511E7-CC42-490F-B486-63908F239FCB}" type="pres">
      <dgm:prSet presAssocID="{AE851093-BC46-47D9-9C5A-3E482022E2F0}" presName="text0" presStyleLbl="node1" presStyleIdx="1" presStyleCnt="6">
        <dgm:presLayoutVars>
          <dgm:bulletEnabled val="1"/>
        </dgm:presLayoutVars>
      </dgm:prSet>
      <dgm:spPr>
        <a:xfrm>
          <a:off x="5683473" y="1678897"/>
          <a:ext cx="1089152" cy="1089152"/>
        </a:xfrm>
        <a:prstGeom prst="ellipse">
          <a:avLst/>
        </a:prstGeom>
      </dgm:spPr>
    </dgm:pt>
    <dgm:pt modelId="{D77F9AAC-E462-497C-A0D4-5DBFE7337417}" type="pres">
      <dgm:prSet presAssocID="{3DAF893B-7FEA-46B0-9CC7-3AB122890499}" presName="Name56" presStyleLbl="parChTrans1D2" presStyleIdx="1" presStyleCnt="5"/>
      <dgm:spPr/>
    </dgm:pt>
    <dgm:pt modelId="{9B3C67EF-26C2-40FC-9F2C-17C54B81FBB6}" type="pres">
      <dgm:prSet presAssocID="{4B106BF5-6CC4-4EAA-8DF5-1F37AF1C21D5}" presName="text0" presStyleLbl="node1" presStyleIdx="2" presStyleCnt="6">
        <dgm:presLayoutVars>
          <dgm:bulletEnabled val="1"/>
        </dgm:presLayoutVars>
      </dgm:prSet>
      <dgm:spPr>
        <a:prstGeom prst="ellipse">
          <a:avLst/>
        </a:prstGeom>
      </dgm:spPr>
    </dgm:pt>
    <dgm:pt modelId="{80B34E43-4052-470B-AC2B-52114739C2B6}" type="pres">
      <dgm:prSet presAssocID="{63A40B51-CD5A-4A49-BBAF-D56F6F5DC18F}" presName="Name56" presStyleLbl="parChTrans1D2" presStyleIdx="2" presStyleCnt="5"/>
      <dgm:spPr/>
    </dgm:pt>
    <dgm:pt modelId="{EF01DA88-30C0-4461-A5A3-A59249921398}" type="pres">
      <dgm:prSet presAssocID="{886BDB69-255E-47A7-9F44-43017B90E82E}" presName="text0" presStyleLbl="node1" presStyleIdx="3" presStyleCnt="6">
        <dgm:presLayoutVars>
          <dgm:bulletEnabled val="1"/>
        </dgm:presLayoutVars>
      </dgm:prSet>
      <dgm:spPr>
        <a:prstGeom prst="ellipse">
          <a:avLst/>
        </a:prstGeom>
      </dgm:spPr>
    </dgm:pt>
    <dgm:pt modelId="{A33D5E17-7252-41B5-BFA5-3BC2EDCB36B9}" type="pres">
      <dgm:prSet presAssocID="{CA53D736-F51A-4692-8616-EB5B24256389}" presName="Name56" presStyleLbl="parChTrans1D2" presStyleIdx="3" presStyleCnt="5"/>
      <dgm:spPr>
        <a:xfrm rot="3240000">
          <a:off x="4531362" y="3981153"/>
          <a:ext cx="597607" cy="0"/>
        </a:xfrm>
        <a:custGeom>
          <a:avLst/>
          <a:gdLst/>
          <a:ahLst/>
          <a:cxnLst/>
          <a:rect l="0" t="0" r="0" b="0"/>
          <a:pathLst>
            <a:path>
              <a:moveTo>
                <a:pt x="0" y="0"/>
              </a:moveTo>
              <a:lnTo>
                <a:pt x="597607" y="0"/>
              </a:lnTo>
            </a:path>
          </a:pathLst>
        </a:custGeom>
      </dgm:spPr>
    </dgm:pt>
    <dgm:pt modelId="{399CA342-0066-46C4-8024-1022CC3F3441}" type="pres">
      <dgm:prSet presAssocID="{E3CE342F-D925-47B3-A6ED-52454309C72E}" presName="text0" presStyleLbl="node1" presStyleIdx="4" presStyleCnt="6">
        <dgm:presLayoutVars>
          <dgm:bulletEnabled val="1"/>
        </dgm:presLayoutVars>
      </dgm:prSet>
      <dgm:spPr>
        <a:prstGeom prst="ellipse">
          <a:avLst/>
        </a:prstGeom>
      </dgm:spPr>
    </dgm:pt>
    <dgm:pt modelId="{28381721-7E2A-4AEA-9252-F3758A41353C}" type="pres">
      <dgm:prSet presAssocID="{155F4F62-8BA3-4298-AD5E-1CCC74CE8AAB}" presName="Name56" presStyleLbl="parChTrans1D2" presStyleIdx="4" presStyleCnt="5"/>
      <dgm:spPr/>
    </dgm:pt>
    <dgm:pt modelId="{5AF5F4BE-67A0-4F42-B876-AA883068AAC0}" type="pres">
      <dgm:prSet presAssocID="{DEE074B8-EBE3-4CE6-B41A-0B5909E05F2A}" presName="text0" presStyleLbl="node1" presStyleIdx="5" presStyleCnt="6">
        <dgm:presLayoutVars>
          <dgm:bulletEnabled val="1"/>
        </dgm:presLayoutVars>
      </dgm:prSet>
      <dgm:spPr>
        <a:prstGeom prst="ellipse">
          <a:avLst/>
        </a:prstGeom>
      </dgm:spPr>
    </dgm:pt>
  </dgm:ptLst>
  <dgm:cxnLst>
    <dgm:cxn modelId="{26844C11-80DF-4A95-AC70-806169DAD6F4}" type="presOf" srcId="{63A40B51-CD5A-4A49-BBAF-D56F6F5DC18F}" destId="{80B34E43-4052-470B-AC2B-52114739C2B6}" srcOrd="0" destOrd="0" presId="urn:microsoft.com/office/officeart/2008/layout/RadialCluster"/>
    <dgm:cxn modelId="{4C83F416-F17E-4E32-9DE3-16C72A177BD2}" type="presOf" srcId="{3DAF893B-7FEA-46B0-9CC7-3AB122890499}" destId="{D77F9AAC-E462-497C-A0D4-5DBFE7337417}" srcOrd="0" destOrd="0" presId="urn:microsoft.com/office/officeart/2008/layout/RadialCluster"/>
    <dgm:cxn modelId="{D2A98D18-E8F3-46BC-9635-FFA288FFD2BA}" srcId="{75966DEE-68E0-4A53-9947-04A6CD4262CC}" destId="{DEE074B8-EBE3-4CE6-B41A-0B5909E05F2A}" srcOrd="4" destOrd="0" parTransId="{155F4F62-8BA3-4298-AD5E-1CCC74CE8AAB}" sibTransId="{DBCAE7DF-2A69-4827-9EA6-9FCEAD947A83}"/>
    <dgm:cxn modelId="{ABC70C1A-3A8F-4FD8-AE48-47D3FBC4240A}" type="presOf" srcId="{886BDB69-255E-47A7-9F44-43017B90E82E}" destId="{EF01DA88-30C0-4461-A5A3-A59249921398}" srcOrd="0" destOrd="0" presId="urn:microsoft.com/office/officeart/2008/layout/RadialCluster"/>
    <dgm:cxn modelId="{5979E233-DCC7-43F4-9483-B21FE5F9261E}" type="presOf" srcId="{AE851093-BC46-47D9-9C5A-3E482022E2F0}" destId="{465511E7-CC42-490F-B486-63908F239FCB}" srcOrd="0" destOrd="0" presId="urn:microsoft.com/office/officeart/2008/layout/RadialCluster"/>
    <dgm:cxn modelId="{EB80C65C-439F-4166-BF67-92C0D60A2190}" type="presOf" srcId="{CA53D736-F51A-4692-8616-EB5B24256389}" destId="{A33D5E17-7252-41B5-BFA5-3BC2EDCB36B9}" srcOrd="0" destOrd="0" presId="urn:microsoft.com/office/officeart/2008/layout/RadialCluster"/>
    <dgm:cxn modelId="{D7CB3C53-FD46-4371-98C1-F7B95E343A8F}" type="presOf" srcId="{DEE074B8-EBE3-4CE6-B41A-0B5909E05F2A}" destId="{5AF5F4BE-67A0-4F42-B876-AA883068AAC0}" srcOrd="0" destOrd="0" presId="urn:microsoft.com/office/officeart/2008/layout/RadialCluster"/>
    <dgm:cxn modelId="{CD660658-BD04-4D70-A6F8-AC3E8C19D3DF}" srcId="{75966DEE-68E0-4A53-9947-04A6CD4262CC}" destId="{AE851093-BC46-47D9-9C5A-3E482022E2F0}" srcOrd="0" destOrd="0" parTransId="{1378D661-EA29-4781-9CA4-BFCF59271FA1}" sibTransId="{CD0C4307-D9B9-490F-8B76-BE692B3190B4}"/>
    <dgm:cxn modelId="{782CAE85-DB34-4FE8-B5B6-10685BAABDD2}" type="presOf" srcId="{4B106BF5-6CC4-4EAA-8DF5-1F37AF1C21D5}" destId="{9B3C67EF-26C2-40FC-9F2C-17C54B81FBB6}" srcOrd="0" destOrd="0" presId="urn:microsoft.com/office/officeart/2008/layout/RadialCluster"/>
    <dgm:cxn modelId="{69552898-8487-4E33-9F13-CCA30A2302E2}" type="presOf" srcId="{75966DEE-68E0-4A53-9947-04A6CD4262CC}" destId="{2E84FF10-E862-4FDA-9FB0-CA7D42350DF5}" srcOrd="0" destOrd="0" presId="urn:microsoft.com/office/officeart/2008/layout/RadialCluster"/>
    <dgm:cxn modelId="{72BB6EA1-BB1C-404A-AB07-3B26067337DC}" type="presOf" srcId="{155F4F62-8BA3-4298-AD5E-1CCC74CE8AAB}" destId="{28381721-7E2A-4AEA-9252-F3758A41353C}" srcOrd="0" destOrd="0" presId="urn:microsoft.com/office/officeart/2008/layout/RadialCluster"/>
    <dgm:cxn modelId="{8F7ABEB7-3458-42BB-908B-FA41978F08D0}" srcId="{D9A497BE-A519-4E11-AF3C-90CBC670988C}" destId="{75966DEE-68E0-4A53-9947-04A6CD4262CC}" srcOrd="0" destOrd="0" parTransId="{AB32E849-C8F8-4B86-A41F-727462B48A1C}" sibTransId="{7C8532E0-D99E-4F44-98A8-2BBB2B07FE99}"/>
    <dgm:cxn modelId="{2193E2C2-203A-47F0-93AA-CEDAE4E6321E}" type="presOf" srcId="{E3CE342F-D925-47B3-A6ED-52454309C72E}" destId="{399CA342-0066-46C4-8024-1022CC3F3441}" srcOrd="0" destOrd="0" presId="urn:microsoft.com/office/officeart/2008/layout/RadialCluster"/>
    <dgm:cxn modelId="{09B2FED5-D554-465C-83D7-0A8B921F0724}" srcId="{75966DEE-68E0-4A53-9947-04A6CD4262CC}" destId="{886BDB69-255E-47A7-9F44-43017B90E82E}" srcOrd="2" destOrd="0" parTransId="{63A40B51-CD5A-4A49-BBAF-D56F6F5DC18F}" sibTransId="{F00CEE15-C7E7-40BD-B85A-9DA57752C7DB}"/>
    <dgm:cxn modelId="{8B1CA3DF-19DE-498D-8D0A-3593C7AB673B}" type="presOf" srcId="{D9A497BE-A519-4E11-AF3C-90CBC670988C}" destId="{3773200B-BBEB-4433-B9CB-F60753625E0D}" srcOrd="0" destOrd="0" presId="urn:microsoft.com/office/officeart/2008/layout/RadialCluster"/>
    <dgm:cxn modelId="{E6DCC7E4-8EAA-4FB3-BA41-6EC63BE3BE04}" srcId="{75966DEE-68E0-4A53-9947-04A6CD4262CC}" destId="{E3CE342F-D925-47B3-A6ED-52454309C72E}" srcOrd="3" destOrd="0" parTransId="{CA53D736-F51A-4692-8616-EB5B24256389}" sibTransId="{26C5B0E6-328F-425D-81AF-D4BAE547F354}"/>
    <dgm:cxn modelId="{436739EA-07FB-4827-81A6-C9B05D3A1EEF}" srcId="{75966DEE-68E0-4A53-9947-04A6CD4262CC}" destId="{4B106BF5-6CC4-4EAA-8DF5-1F37AF1C21D5}" srcOrd="1" destOrd="0" parTransId="{3DAF893B-7FEA-46B0-9CC7-3AB122890499}" sibTransId="{E68EB646-C95D-4EF4-B19B-F1F27F6E8B3C}"/>
    <dgm:cxn modelId="{7AE44BEE-34C2-4A03-9513-A5DE4E72B69B}" type="presOf" srcId="{1378D661-EA29-4781-9CA4-BFCF59271FA1}" destId="{90F85B81-957C-42C4-8567-4B60B670C5F1}" srcOrd="0" destOrd="0" presId="urn:microsoft.com/office/officeart/2008/layout/RadialCluster"/>
    <dgm:cxn modelId="{A33ADF19-8D34-4A21-A370-6C8E7B054112}" type="presParOf" srcId="{3773200B-BBEB-4433-B9CB-F60753625E0D}" destId="{F90191ED-3865-43EA-9AE8-EBC68D5E20F7}" srcOrd="0" destOrd="0" presId="urn:microsoft.com/office/officeart/2008/layout/RadialCluster"/>
    <dgm:cxn modelId="{78D0B6EB-F746-4C1D-8C6B-F24C3DBF9576}" type="presParOf" srcId="{F90191ED-3865-43EA-9AE8-EBC68D5E20F7}" destId="{2E84FF10-E862-4FDA-9FB0-CA7D42350DF5}" srcOrd="0" destOrd="0" presId="urn:microsoft.com/office/officeart/2008/layout/RadialCluster"/>
    <dgm:cxn modelId="{7DD45164-9DA8-4913-8DE6-08D6BF023336}" type="presParOf" srcId="{F90191ED-3865-43EA-9AE8-EBC68D5E20F7}" destId="{90F85B81-957C-42C4-8567-4B60B670C5F1}" srcOrd="1" destOrd="0" presId="urn:microsoft.com/office/officeart/2008/layout/RadialCluster"/>
    <dgm:cxn modelId="{45CF93E6-5216-4BDB-A7AA-1E480C0D93CD}" type="presParOf" srcId="{F90191ED-3865-43EA-9AE8-EBC68D5E20F7}" destId="{465511E7-CC42-490F-B486-63908F239FCB}" srcOrd="2" destOrd="0" presId="urn:microsoft.com/office/officeart/2008/layout/RadialCluster"/>
    <dgm:cxn modelId="{C34A1FDE-C293-4A64-B6AC-CD2EEF5CF923}" type="presParOf" srcId="{F90191ED-3865-43EA-9AE8-EBC68D5E20F7}" destId="{D77F9AAC-E462-497C-A0D4-5DBFE7337417}" srcOrd="3" destOrd="0" presId="urn:microsoft.com/office/officeart/2008/layout/RadialCluster"/>
    <dgm:cxn modelId="{20F8D5C1-9F8A-481C-AE7A-60D6A6441B5A}" type="presParOf" srcId="{F90191ED-3865-43EA-9AE8-EBC68D5E20F7}" destId="{9B3C67EF-26C2-40FC-9F2C-17C54B81FBB6}" srcOrd="4" destOrd="0" presId="urn:microsoft.com/office/officeart/2008/layout/RadialCluster"/>
    <dgm:cxn modelId="{891FF437-FA88-437D-9463-74EC2EA5E3AD}" type="presParOf" srcId="{F90191ED-3865-43EA-9AE8-EBC68D5E20F7}" destId="{80B34E43-4052-470B-AC2B-52114739C2B6}" srcOrd="5" destOrd="0" presId="urn:microsoft.com/office/officeart/2008/layout/RadialCluster"/>
    <dgm:cxn modelId="{BA986A21-ABBA-402E-8056-8D4FAA08C697}" type="presParOf" srcId="{F90191ED-3865-43EA-9AE8-EBC68D5E20F7}" destId="{EF01DA88-30C0-4461-A5A3-A59249921398}" srcOrd="6" destOrd="0" presId="urn:microsoft.com/office/officeart/2008/layout/RadialCluster"/>
    <dgm:cxn modelId="{1746AD97-97D1-45C4-9989-C99808BCD906}" type="presParOf" srcId="{F90191ED-3865-43EA-9AE8-EBC68D5E20F7}" destId="{A33D5E17-7252-41B5-BFA5-3BC2EDCB36B9}" srcOrd="7" destOrd="0" presId="urn:microsoft.com/office/officeart/2008/layout/RadialCluster"/>
    <dgm:cxn modelId="{C26FE8C9-AF3E-4C49-912B-53629642539C}" type="presParOf" srcId="{F90191ED-3865-43EA-9AE8-EBC68D5E20F7}" destId="{399CA342-0066-46C4-8024-1022CC3F3441}" srcOrd="8" destOrd="0" presId="urn:microsoft.com/office/officeart/2008/layout/RadialCluster"/>
    <dgm:cxn modelId="{2541AA30-D12B-45C9-AE81-44C43C49AB11}" type="presParOf" srcId="{F90191ED-3865-43EA-9AE8-EBC68D5E20F7}" destId="{28381721-7E2A-4AEA-9252-F3758A41353C}" srcOrd="9" destOrd="0" presId="urn:microsoft.com/office/officeart/2008/layout/RadialCluster"/>
    <dgm:cxn modelId="{3681F16B-F748-42BF-9205-4E0410F4DC3B}" type="presParOf" srcId="{F90191ED-3865-43EA-9AE8-EBC68D5E20F7}" destId="{5AF5F4BE-67A0-4F42-B876-AA883068AAC0}" srcOrd="10" destOrd="0" presId="urn:microsoft.com/office/officeart/2008/layout/RadialCluster"/>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795EA0-218B-4CF1-9A39-49027B5DB2E9}">
      <dsp:nvSpPr>
        <dsp:cNvPr id="0" name=""/>
        <dsp:cNvSpPr/>
      </dsp:nvSpPr>
      <dsp:spPr>
        <a:xfrm>
          <a:off x="0" y="1319"/>
          <a:ext cx="6513603" cy="81125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9297A8B-7BDF-45A8-941B-7AEA6DF28470}">
      <dsp:nvSpPr>
        <dsp:cNvPr id="0" name=""/>
        <dsp:cNvSpPr/>
      </dsp:nvSpPr>
      <dsp:spPr>
        <a:xfrm>
          <a:off x="245405" y="184436"/>
          <a:ext cx="446191" cy="44619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AFA0DBB-06B1-4DDB-9A8F-408E38AF25A0}">
      <dsp:nvSpPr>
        <dsp:cNvPr id="0" name=""/>
        <dsp:cNvSpPr/>
      </dsp:nvSpPr>
      <dsp:spPr>
        <a:xfrm>
          <a:off x="937002" y="1903"/>
          <a:ext cx="5576601" cy="811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858" tIns="85858" rIns="85858" bIns="85858" numCol="1" spcCol="1270" anchor="ctr" anchorCtr="0">
          <a:noAutofit/>
        </a:bodyPr>
        <a:lstStyle/>
        <a:p>
          <a:pPr marL="0" lvl="0" indent="0" algn="l" defTabSz="844550">
            <a:lnSpc>
              <a:spcPct val="100000"/>
            </a:lnSpc>
            <a:spcBef>
              <a:spcPct val="0"/>
            </a:spcBef>
            <a:spcAft>
              <a:spcPct val="35000"/>
            </a:spcAft>
            <a:buNone/>
          </a:pPr>
          <a:r>
            <a:rPr lang="en-US" sz="1900" kern="1200"/>
            <a:t>Class imbalance</a:t>
          </a:r>
        </a:p>
      </dsp:txBody>
      <dsp:txXfrm>
        <a:off x="937002" y="1903"/>
        <a:ext cx="5576601" cy="811257"/>
      </dsp:txXfrm>
    </dsp:sp>
    <dsp:sp modelId="{87D85A8B-6EC7-4D3D-868C-0439A640B9B5}">
      <dsp:nvSpPr>
        <dsp:cNvPr id="0" name=""/>
        <dsp:cNvSpPr/>
      </dsp:nvSpPr>
      <dsp:spPr>
        <a:xfrm>
          <a:off x="0" y="1015975"/>
          <a:ext cx="6513603" cy="81125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B142369-F856-4841-8819-F8FCEF38E033}">
      <dsp:nvSpPr>
        <dsp:cNvPr id="0" name=""/>
        <dsp:cNvSpPr/>
      </dsp:nvSpPr>
      <dsp:spPr>
        <a:xfrm>
          <a:off x="245405" y="1198508"/>
          <a:ext cx="446191" cy="44619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37968-07C6-40EE-BDAD-D29DD96BFE4E}">
      <dsp:nvSpPr>
        <dsp:cNvPr id="0" name=""/>
        <dsp:cNvSpPr/>
      </dsp:nvSpPr>
      <dsp:spPr>
        <a:xfrm>
          <a:off x="937002" y="1015975"/>
          <a:ext cx="5576601" cy="811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858" tIns="85858" rIns="85858" bIns="85858" numCol="1" spcCol="1270" anchor="ctr" anchorCtr="0">
          <a:noAutofit/>
        </a:bodyPr>
        <a:lstStyle/>
        <a:p>
          <a:pPr marL="0" lvl="0" indent="0" algn="l" defTabSz="844550">
            <a:lnSpc>
              <a:spcPct val="100000"/>
            </a:lnSpc>
            <a:spcBef>
              <a:spcPct val="0"/>
            </a:spcBef>
            <a:spcAft>
              <a:spcPct val="35000"/>
            </a:spcAft>
            <a:buNone/>
          </a:pPr>
          <a:r>
            <a:rPr lang="en-US" sz="1900" kern="1200"/>
            <a:t>Train-Test split, CV, rolling CV</a:t>
          </a:r>
        </a:p>
      </dsp:txBody>
      <dsp:txXfrm>
        <a:off x="937002" y="1015975"/>
        <a:ext cx="5576601" cy="811257"/>
      </dsp:txXfrm>
    </dsp:sp>
    <dsp:sp modelId="{6BAF67E6-564F-4328-9925-60D8A810583F}">
      <dsp:nvSpPr>
        <dsp:cNvPr id="0" name=""/>
        <dsp:cNvSpPr/>
      </dsp:nvSpPr>
      <dsp:spPr>
        <a:xfrm>
          <a:off x="0" y="2030048"/>
          <a:ext cx="6513603" cy="81125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6AEEA26-5738-4F5E-9A69-33E66589519E}">
      <dsp:nvSpPr>
        <dsp:cNvPr id="0" name=""/>
        <dsp:cNvSpPr/>
      </dsp:nvSpPr>
      <dsp:spPr>
        <a:xfrm>
          <a:off x="245405" y="2212581"/>
          <a:ext cx="446191" cy="44619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5FFF0D8-D90C-483B-BDD7-74D5EA4C6B2E}">
      <dsp:nvSpPr>
        <dsp:cNvPr id="0" name=""/>
        <dsp:cNvSpPr/>
      </dsp:nvSpPr>
      <dsp:spPr>
        <a:xfrm>
          <a:off x="937002" y="2030048"/>
          <a:ext cx="5576601" cy="811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858" tIns="85858" rIns="85858" bIns="85858" numCol="1" spcCol="1270" anchor="ctr" anchorCtr="0">
          <a:noAutofit/>
        </a:bodyPr>
        <a:lstStyle/>
        <a:p>
          <a:pPr marL="0" lvl="0" indent="0" algn="l" defTabSz="844550">
            <a:lnSpc>
              <a:spcPct val="100000"/>
            </a:lnSpc>
            <a:spcBef>
              <a:spcPct val="0"/>
            </a:spcBef>
            <a:spcAft>
              <a:spcPct val="35000"/>
            </a:spcAft>
            <a:buNone/>
          </a:pPr>
          <a:r>
            <a:rPr lang="en-US" sz="1900" kern="1200"/>
            <a:t>Missing value imputation</a:t>
          </a:r>
        </a:p>
      </dsp:txBody>
      <dsp:txXfrm>
        <a:off x="937002" y="2030048"/>
        <a:ext cx="5576601" cy="811257"/>
      </dsp:txXfrm>
    </dsp:sp>
    <dsp:sp modelId="{68D37306-058A-4CF1-9DE7-C1831EF3413B}">
      <dsp:nvSpPr>
        <dsp:cNvPr id="0" name=""/>
        <dsp:cNvSpPr/>
      </dsp:nvSpPr>
      <dsp:spPr>
        <a:xfrm>
          <a:off x="0" y="3044120"/>
          <a:ext cx="6513603" cy="81125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710B09F-002B-4142-8357-3E74FBDECDAA}">
      <dsp:nvSpPr>
        <dsp:cNvPr id="0" name=""/>
        <dsp:cNvSpPr/>
      </dsp:nvSpPr>
      <dsp:spPr>
        <a:xfrm>
          <a:off x="245405" y="3226653"/>
          <a:ext cx="446191" cy="44619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9387686-D39A-4BC9-94A3-371E7EAD243A}">
      <dsp:nvSpPr>
        <dsp:cNvPr id="0" name=""/>
        <dsp:cNvSpPr/>
      </dsp:nvSpPr>
      <dsp:spPr>
        <a:xfrm>
          <a:off x="937002" y="3044120"/>
          <a:ext cx="5576601" cy="811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858" tIns="85858" rIns="85858" bIns="85858" numCol="1" spcCol="1270" anchor="ctr" anchorCtr="0">
          <a:noAutofit/>
        </a:bodyPr>
        <a:lstStyle/>
        <a:p>
          <a:pPr marL="0" lvl="0" indent="0" algn="l" defTabSz="844550">
            <a:lnSpc>
              <a:spcPct val="100000"/>
            </a:lnSpc>
            <a:spcBef>
              <a:spcPct val="0"/>
            </a:spcBef>
            <a:spcAft>
              <a:spcPct val="35000"/>
            </a:spcAft>
            <a:buNone/>
          </a:pPr>
          <a:r>
            <a:rPr lang="en-US" sz="1900" kern="1200"/>
            <a:t>Detect high cardinality features</a:t>
          </a:r>
        </a:p>
      </dsp:txBody>
      <dsp:txXfrm>
        <a:off x="937002" y="3044120"/>
        <a:ext cx="5576601" cy="811257"/>
      </dsp:txXfrm>
    </dsp:sp>
    <dsp:sp modelId="{CAFE8EE4-6F44-42E9-A997-C5738103BBCD}">
      <dsp:nvSpPr>
        <dsp:cNvPr id="0" name=""/>
        <dsp:cNvSpPr/>
      </dsp:nvSpPr>
      <dsp:spPr>
        <a:xfrm>
          <a:off x="0" y="4058192"/>
          <a:ext cx="6513603" cy="81125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CAC0D1E-45FE-4F12-A128-2C926F9254BD}">
      <dsp:nvSpPr>
        <dsp:cNvPr id="0" name=""/>
        <dsp:cNvSpPr/>
      </dsp:nvSpPr>
      <dsp:spPr>
        <a:xfrm>
          <a:off x="245405" y="4240725"/>
          <a:ext cx="446191" cy="446191"/>
        </a:xfrm>
        <a:prstGeom prst="rect">
          <a:avLst/>
        </a:prstGeom>
        <a:pattFill prst="plaid">
          <a:fgClr>
            <a:schemeClr val="tx1"/>
          </a:fgClr>
          <a:bgClr>
            <a:schemeClr val="bg1"/>
          </a:bgClr>
        </a:patt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E6EA4B3-9E62-42DA-839C-3A9E4C281F34}">
      <dsp:nvSpPr>
        <dsp:cNvPr id="0" name=""/>
        <dsp:cNvSpPr/>
      </dsp:nvSpPr>
      <dsp:spPr>
        <a:xfrm>
          <a:off x="937002" y="4058192"/>
          <a:ext cx="5576601" cy="811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858" tIns="85858" rIns="85858" bIns="85858" numCol="1" spcCol="1270" anchor="ctr" anchorCtr="0">
          <a:noAutofit/>
        </a:bodyPr>
        <a:lstStyle/>
        <a:p>
          <a:pPr marL="0" lvl="0" indent="0" algn="l" defTabSz="844550">
            <a:lnSpc>
              <a:spcPct val="100000"/>
            </a:lnSpc>
            <a:spcBef>
              <a:spcPct val="0"/>
            </a:spcBef>
            <a:spcAft>
              <a:spcPct val="35000"/>
            </a:spcAft>
            <a:buNone/>
          </a:pPr>
          <a:r>
            <a:rPr lang="en-US" sz="1900" kern="1200"/>
            <a:t>Detect leaky features</a:t>
          </a:r>
        </a:p>
      </dsp:txBody>
      <dsp:txXfrm>
        <a:off x="937002" y="4058192"/>
        <a:ext cx="5576601" cy="811257"/>
      </dsp:txXfrm>
    </dsp:sp>
    <dsp:sp modelId="{73EAB004-D391-4DE0-A036-BD66028EC11C}">
      <dsp:nvSpPr>
        <dsp:cNvPr id="0" name=""/>
        <dsp:cNvSpPr/>
      </dsp:nvSpPr>
      <dsp:spPr>
        <a:xfrm>
          <a:off x="0" y="5072264"/>
          <a:ext cx="6513603" cy="81125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F490196-316B-4D2F-A662-64BD6C1C6B9D}">
      <dsp:nvSpPr>
        <dsp:cNvPr id="0" name=""/>
        <dsp:cNvSpPr/>
      </dsp:nvSpPr>
      <dsp:spPr>
        <a:xfrm>
          <a:off x="245405" y="5254797"/>
          <a:ext cx="446191" cy="446191"/>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B223338-3C2E-40CD-AF08-B1D5EBB3B9F1}">
      <dsp:nvSpPr>
        <dsp:cNvPr id="0" name=""/>
        <dsp:cNvSpPr/>
      </dsp:nvSpPr>
      <dsp:spPr>
        <a:xfrm>
          <a:off x="937002" y="5072264"/>
          <a:ext cx="5576601" cy="811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858" tIns="85858" rIns="85858" bIns="85858" numCol="1" spcCol="1270" anchor="ctr" anchorCtr="0">
          <a:noAutofit/>
        </a:bodyPr>
        <a:lstStyle/>
        <a:p>
          <a:pPr marL="0" lvl="0" indent="0" algn="l" defTabSz="844550">
            <a:lnSpc>
              <a:spcPct val="100000"/>
            </a:lnSpc>
            <a:spcBef>
              <a:spcPct val="0"/>
            </a:spcBef>
            <a:spcAft>
              <a:spcPct val="35000"/>
            </a:spcAft>
            <a:buNone/>
          </a:pPr>
          <a:r>
            <a:rPr lang="en-US" sz="1900" kern="1200"/>
            <a:t>Detect overfitting</a:t>
          </a:r>
        </a:p>
      </dsp:txBody>
      <dsp:txXfrm>
        <a:off x="937002" y="5072264"/>
        <a:ext cx="5576601" cy="81125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84FF10-E862-4FDA-9FB0-CA7D42350DF5}">
      <dsp:nvSpPr>
        <dsp:cNvPr id="0" name=""/>
        <dsp:cNvSpPr/>
      </dsp:nvSpPr>
      <dsp:spPr>
        <a:xfrm>
          <a:off x="3251199" y="2113816"/>
          <a:ext cx="1625600" cy="1625600"/>
        </a:xfrm>
        <a:prstGeom prst="ellipse">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40640" rIns="40640" bIns="40640" numCol="1" spcCol="1270" anchor="ctr" anchorCtr="0">
          <a:noAutofit/>
        </a:bodyPr>
        <a:lstStyle/>
        <a:p>
          <a:pPr marL="0" lvl="0" indent="0" algn="ctr" defTabSz="711200">
            <a:lnSpc>
              <a:spcPct val="90000"/>
            </a:lnSpc>
            <a:spcBef>
              <a:spcPct val="0"/>
            </a:spcBef>
            <a:spcAft>
              <a:spcPct val="35000"/>
            </a:spcAft>
            <a:buNone/>
          </a:pPr>
          <a:r>
            <a:rPr lang="en-US" sz="1600" kern="1200" dirty="0"/>
            <a:t>Automated Machine Learning</a:t>
          </a:r>
        </a:p>
      </dsp:txBody>
      <dsp:txXfrm>
        <a:off x="3489263" y="2351880"/>
        <a:ext cx="1149472" cy="1149472"/>
      </dsp:txXfrm>
    </dsp:sp>
    <dsp:sp modelId="{90F85B81-957C-42C4-8567-4B60B670C5F1}">
      <dsp:nvSpPr>
        <dsp:cNvPr id="0" name=""/>
        <dsp:cNvSpPr/>
      </dsp:nvSpPr>
      <dsp:spPr>
        <a:xfrm rot="16200000">
          <a:off x="3604979" y="1654796"/>
          <a:ext cx="918040" cy="0"/>
        </a:xfrm>
        <a:custGeom>
          <a:avLst/>
          <a:gdLst/>
          <a:ahLst/>
          <a:cxnLst/>
          <a:rect l="0" t="0" r="0" b="0"/>
          <a:pathLst>
            <a:path>
              <a:moveTo>
                <a:pt x="0" y="0"/>
              </a:moveTo>
              <a:lnTo>
                <a:pt x="918040" y="0"/>
              </a:lnTo>
            </a:path>
          </a:pathLst>
        </a:custGeom>
        <a:noFill/>
        <a:ln w="38100" cap="flat" cmpd="sng" algn="ctr">
          <a:solidFill>
            <a:schemeClr val="tx2"/>
          </a:solidFill>
          <a:prstDash val="solid"/>
        </a:ln>
        <a:effectLst/>
      </dsp:spPr>
      <dsp:style>
        <a:lnRef idx="2">
          <a:scrgbClr r="0" g="0" b="0"/>
        </a:lnRef>
        <a:fillRef idx="0">
          <a:scrgbClr r="0" g="0" b="0"/>
        </a:fillRef>
        <a:effectRef idx="0">
          <a:scrgbClr r="0" g="0" b="0"/>
        </a:effectRef>
        <a:fontRef idx="minor"/>
      </dsp:style>
    </dsp:sp>
    <dsp:sp modelId="{465511E7-CC42-490F-B486-63908F239FCB}">
      <dsp:nvSpPr>
        <dsp:cNvPr id="0" name=""/>
        <dsp:cNvSpPr/>
      </dsp:nvSpPr>
      <dsp:spPr>
        <a:xfrm>
          <a:off x="3519423" y="106623"/>
          <a:ext cx="1089152" cy="1089152"/>
        </a:xfrm>
        <a:prstGeom prst="ellipse">
          <a:avLst/>
        </a:prstGeom>
        <a:solidFill>
          <a:srgbClr val="0078D3">
            <a:hueOff val="0"/>
            <a:satOff val="0"/>
            <a:lumOff val="0"/>
            <a:alphaOff val="0"/>
          </a:srgbClr>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600200">
            <a:lnSpc>
              <a:spcPct val="90000"/>
            </a:lnSpc>
            <a:spcBef>
              <a:spcPct val="0"/>
            </a:spcBef>
            <a:spcAft>
              <a:spcPct val="35000"/>
            </a:spcAft>
            <a:buNone/>
          </a:pPr>
          <a:r>
            <a:rPr lang="en-US" sz="1200" kern="1200" dirty="0"/>
            <a:t>Data Scientist</a:t>
          </a:r>
          <a:endParaRPr lang="en-US" sz="1200" kern="1200" dirty="0">
            <a:solidFill>
              <a:srgbClr val="FFFFFF"/>
            </a:solidFill>
            <a:latin typeface="Segoe UI"/>
            <a:ea typeface="+mn-ea"/>
            <a:cs typeface="+mn-cs"/>
          </a:endParaRPr>
        </a:p>
      </dsp:txBody>
      <dsp:txXfrm>
        <a:off x="3678926" y="266126"/>
        <a:ext cx="770146" cy="770146"/>
      </dsp:txXfrm>
    </dsp:sp>
    <dsp:sp modelId="{D77F9AAC-E462-497C-A0D4-5DBFE7337417}">
      <dsp:nvSpPr>
        <dsp:cNvPr id="0" name=""/>
        <dsp:cNvSpPr/>
      </dsp:nvSpPr>
      <dsp:spPr>
        <a:xfrm rot="20520000">
          <a:off x="4856043" y="2531469"/>
          <a:ext cx="848187" cy="0"/>
        </a:xfrm>
        <a:custGeom>
          <a:avLst/>
          <a:gdLst/>
          <a:ahLst/>
          <a:cxnLst/>
          <a:rect l="0" t="0" r="0" b="0"/>
          <a:pathLst>
            <a:path>
              <a:moveTo>
                <a:pt x="0" y="0"/>
              </a:moveTo>
              <a:lnTo>
                <a:pt x="848187" y="0"/>
              </a:lnTo>
            </a:path>
          </a:pathLst>
        </a:custGeom>
        <a:noFill/>
        <a:ln w="38100" cap="flat" cmpd="sng" algn="ctr">
          <a:solidFill>
            <a:schemeClr val="tx2"/>
          </a:solidFill>
          <a:prstDash val="solid"/>
        </a:ln>
        <a:effectLst/>
      </dsp:spPr>
      <dsp:style>
        <a:lnRef idx="2">
          <a:scrgbClr r="0" g="0" b="0"/>
        </a:lnRef>
        <a:fillRef idx="0">
          <a:scrgbClr r="0" g="0" b="0"/>
        </a:fillRef>
        <a:effectRef idx="0">
          <a:scrgbClr r="0" g="0" b="0"/>
        </a:effectRef>
        <a:fontRef idx="minor"/>
      </dsp:style>
    </dsp:sp>
    <dsp:sp modelId="{9B3C67EF-26C2-40FC-9F2C-17C54B81FBB6}">
      <dsp:nvSpPr>
        <dsp:cNvPr id="0" name=""/>
        <dsp:cNvSpPr/>
      </dsp:nvSpPr>
      <dsp:spPr>
        <a:xfrm>
          <a:off x="5683473" y="1678897"/>
          <a:ext cx="1089152" cy="1089152"/>
        </a:xfrm>
        <a:prstGeom prst="ellipse">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622300">
            <a:lnSpc>
              <a:spcPct val="90000"/>
            </a:lnSpc>
            <a:spcBef>
              <a:spcPct val="0"/>
            </a:spcBef>
            <a:spcAft>
              <a:spcPct val="35000"/>
            </a:spcAft>
            <a:buNone/>
          </a:pPr>
          <a:r>
            <a:rPr lang="en-US" sz="1400" kern="1200" dirty="0"/>
            <a:t>Citizen Data Scientist</a:t>
          </a:r>
        </a:p>
      </dsp:txBody>
      <dsp:txXfrm>
        <a:off x="5842976" y="1838400"/>
        <a:ext cx="770146" cy="770146"/>
      </dsp:txXfrm>
    </dsp:sp>
    <dsp:sp modelId="{80B34E43-4052-470B-AC2B-52114739C2B6}">
      <dsp:nvSpPr>
        <dsp:cNvPr id="0" name=""/>
        <dsp:cNvSpPr/>
      </dsp:nvSpPr>
      <dsp:spPr>
        <a:xfrm rot="3240000">
          <a:off x="4531362" y="3981153"/>
          <a:ext cx="597607" cy="0"/>
        </a:xfrm>
        <a:custGeom>
          <a:avLst/>
          <a:gdLst/>
          <a:ahLst/>
          <a:cxnLst/>
          <a:rect l="0" t="0" r="0" b="0"/>
          <a:pathLst>
            <a:path>
              <a:moveTo>
                <a:pt x="0" y="0"/>
              </a:moveTo>
              <a:lnTo>
                <a:pt x="597607" y="0"/>
              </a:lnTo>
            </a:path>
          </a:pathLst>
        </a:custGeom>
        <a:noFill/>
        <a:ln w="38100" cap="flat" cmpd="sng" algn="ctr">
          <a:solidFill>
            <a:schemeClr val="tx2"/>
          </a:solidFill>
          <a:prstDash val="solid"/>
        </a:ln>
        <a:effectLst/>
      </dsp:spPr>
      <dsp:style>
        <a:lnRef idx="2">
          <a:scrgbClr r="0" g="0" b="0"/>
        </a:lnRef>
        <a:fillRef idx="0">
          <a:scrgbClr r="0" g="0" b="0"/>
        </a:fillRef>
        <a:effectRef idx="0">
          <a:scrgbClr r="0" g="0" b="0"/>
        </a:effectRef>
        <a:fontRef idx="minor"/>
      </dsp:style>
    </dsp:sp>
    <dsp:sp modelId="{EF01DA88-30C0-4461-A5A3-A59249921398}">
      <dsp:nvSpPr>
        <dsp:cNvPr id="0" name=""/>
        <dsp:cNvSpPr/>
      </dsp:nvSpPr>
      <dsp:spPr>
        <a:xfrm>
          <a:off x="4856880" y="4222891"/>
          <a:ext cx="1089152" cy="1089152"/>
        </a:xfrm>
        <a:prstGeom prst="ellipse">
          <a:avLst/>
        </a:prstGeom>
        <a:solidFill>
          <a:srgbClr val="0078D3">
            <a:hueOff val="0"/>
            <a:satOff val="0"/>
            <a:lumOff val="0"/>
            <a:alphaOff val="0"/>
          </a:srgbClr>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600200">
            <a:lnSpc>
              <a:spcPct val="90000"/>
            </a:lnSpc>
            <a:spcBef>
              <a:spcPct val="0"/>
            </a:spcBef>
            <a:spcAft>
              <a:spcPct val="35000"/>
            </a:spcAft>
            <a:buNone/>
          </a:pPr>
          <a:r>
            <a:rPr lang="en-US" sz="1400" kern="1200" dirty="0">
              <a:solidFill>
                <a:srgbClr val="FFFFFF"/>
              </a:solidFill>
              <a:latin typeface="Segoe UI"/>
              <a:ea typeface="+mn-ea"/>
              <a:cs typeface="+mn-cs"/>
            </a:rPr>
            <a:t>Data Analyst</a:t>
          </a:r>
        </a:p>
      </dsp:txBody>
      <dsp:txXfrm>
        <a:off x="5016383" y="4382394"/>
        <a:ext cx="770146" cy="770146"/>
      </dsp:txXfrm>
    </dsp:sp>
    <dsp:sp modelId="{A33D5E17-7252-41B5-BFA5-3BC2EDCB36B9}">
      <dsp:nvSpPr>
        <dsp:cNvPr id="0" name=""/>
        <dsp:cNvSpPr/>
      </dsp:nvSpPr>
      <dsp:spPr>
        <a:xfrm rot="7560000">
          <a:off x="2999029" y="3981153"/>
          <a:ext cx="597607" cy="0"/>
        </a:xfrm>
        <a:custGeom>
          <a:avLst/>
          <a:gdLst/>
          <a:ahLst/>
          <a:cxnLst/>
          <a:rect l="0" t="0" r="0" b="0"/>
          <a:pathLst>
            <a:path>
              <a:moveTo>
                <a:pt x="0" y="0"/>
              </a:moveTo>
              <a:lnTo>
                <a:pt x="597607" y="0"/>
              </a:lnTo>
            </a:path>
          </a:pathLst>
        </a:custGeom>
        <a:noFill/>
        <a:ln w="38100" cap="flat" cmpd="sng" algn="ctr">
          <a:solidFill>
            <a:schemeClr val="tx2"/>
          </a:solidFill>
          <a:prstDash val="solid"/>
        </a:ln>
        <a:effectLst/>
      </dsp:spPr>
      <dsp:style>
        <a:lnRef idx="2">
          <a:scrgbClr r="0" g="0" b="0"/>
        </a:lnRef>
        <a:fillRef idx="0">
          <a:scrgbClr r="0" g="0" b="0"/>
        </a:fillRef>
        <a:effectRef idx="0">
          <a:scrgbClr r="0" g="0" b="0"/>
        </a:effectRef>
        <a:fontRef idx="minor"/>
      </dsp:style>
    </dsp:sp>
    <dsp:sp modelId="{399CA342-0066-46C4-8024-1022CC3F3441}">
      <dsp:nvSpPr>
        <dsp:cNvPr id="0" name=""/>
        <dsp:cNvSpPr/>
      </dsp:nvSpPr>
      <dsp:spPr>
        <a:xfrm>
          <a:off x="2181967" y="4222891"/>
          <a:ext cx="1089152" cy="1089152"/>
        </a:xfrm>
        <a:prstGeom prst="ellipse">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622300">
            <a:lnSpc>
              <a:spcPct val="90000"/>
            </a:lnSpc>
            <a:spcBef>
              <a:spcPct val="0"/>
            </a:spcBef>
            <a:spcAft>
              <a:spcPct val="35000"/>
            </a:spcAft>
            <a:buNone/>
          </a:pPr>
          <a:r>
            <a:rPr lang="en-US" sz="1400" kern="1200" dirty="0"/>
            <a:t>Data Engineer</a:t>
          </a:r>
        </a:p>
      </dsp:txBody>
      <dsp:txXfrm>
        <a:off x="2341470" y="4382394"/>
        <a:ext cx="770146" cy="770146"/>
      </dsp:txXfrm>
    </dsp:sp>
    <dsp:sp modelId="{28381721-7E2A-4AEA-9252-F3758A41353C}">
      <dsp:nvSpPr>
        <dsp:cNvPr id="0" name=""/>
        <dsp:cNvSpPr/>
      </dsp:nvSpPr>
      <dsp:spPr>
        <a:xfrm rot="11880000">
          <a:off x="2423769" y="2531469"/>
          <a:ext cx="848187" cy="0"/>
        </a:xfrm>
        <a:custGeom>
          <a:avLst/>
          <a:gdLst/>
          <a:ahLst/>
          <a:cxnLst/>
          <a:rect l="0" t="0" r="0" b="0"/>
          <a:pathLst>
            <a:path>
              <a:moveTo>
                <a:pt x="0" y="0"/>
              </a:moveTo>
              <a:lnTo>
                <a:pt x="848187" y="0"/>
              </a:lnTo>
            </a:path>
          </a:pathLst>
        </a:custGeom>
        <a:noFill/>
        <a:ln w="38100" cap="flat" cmpd="sng" algn="ctr">
          <a:solidFill>
            <a:schemeClr val="tx2"/>
          </a:solidFill>
          <a:prstDash val="solid"/>
        </a:ln>
        <a:effectLst/>
      </dsp:spPr>
      <dsp:style>
        <a:lnRef idx="2">
          <a:scrgbClr r="0" g="0" b="0"/>
        </a:lnRef>
        <a:fillRef idx="0">
          <a:scrgbClr r="0" g="0" b="0"/>
        </a:fillRef>
        <a:effectRef idx="0">
          <a:scrgbClr r="0" g="0" b="0"/>
        </a:effectRef>
        <a:fontRef idx="minor"/>
      </dsp:style>
    </dsp:sp>
    <dsp:sp modelId="{5AF5F4BE-67A0-4F42-B876-AA883068AAC0}">
      <dsp:nvSpPr>
        <dsp:cNvPr id="0" name=""/>
        <dsp:cNvSpPr/>
      </dsp:nvSpPr>
      <dsp:spPr>
        <a:xfrm>
          <a:off x="1355373" y="1678897"/>
          <a:ext cx="1089152" cy="1089152"/>
        </a:xfrm>
        <a:prstGeom prst="ellipse">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533400">
            <a:lnSpc>
              <a:spcPct val="90000"/>
            </a:lnSpc>
            <a:spcBef>
              <a:spcPct val="0"/>
            </a:spcBef>
            <a:spcAft>
              <a:spcPct val="35000"/>
            </a:spcAft>
            <a:buNone/>
          </a:pPr>
          <a:r>
            <a:rPr lang="en-US" sz="1200" kern="1200" dirty="0"/>
            <a:t>Developer</a:t>
          </a:r>
        </a:p>
      </dsp:txBody>
      <dsp:txXfrm>
        <a:off x="1514876" y="1838400"/>
        <a:ext cx="770146" cy="770146"/>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D296C5-6611-4B1E-901F-5DA5E1B4AE74}" type="datetimeFigureOut">
              <a:rPr lang="en-US" smtClean="0"/>
              <a:t>6/1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05A8AB0-C555-45F4-8761-F7526B715936}" type="slidenum">
              <a:rPr lang="en-US" smtClean="0"/>
              <a:t>‹#›</a:t>
            </a:fld>
            <a:endParaRPr lang="en-US"/>
          </a:p>
        </p:txBody>
      </p:sp>
    </p:spTree>
    <p:extLst>
      <p:ext uri="{BB962C8B-B14F-4D97-AF65-F5344CB8AC3E}">
        <p14:creationId xmlns:p14="http://schemas.microsoft.com/office/powerpoint/2010/main" val="24173795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msdn.microsoft.com/library/dn905974.aspx"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azuremlsimpleds.azurewebsites.net/simpleds/"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48507" rtl="0" eaLnBrk="1" fontAlgn="auto" latinLnBrk="0" hangingPunct="1">
              <a:lnSpc>
                <a:spcPct val="100000"/>
              </a:lnSpc>
              <a:spcBef>
                <a:spcPts val="0"/>
              </a:spcBef>
              <a:spcAft>
                <a:spcPts val="0"/>
              </a:spcAft>
              <a:buClrTx/>
              <a:buSzTx/>
              <a:buFontTx/>
              <a:buNone/>
              <a:tabLst/>
              <a:defRPr/>
            </a:pPr>
            <a:fld id="{D25430C9-2443-4FD6-9162-F44D32FAF97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850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64018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64590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11703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99998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9/2021 4: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80946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9/2021 4: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70095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So What is Azure AI?</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zure AI is a set of AI services that are built upon Azure and deeply integrated with Azure’s Data, App Development, Compute services and tools.</a:t>
            </a:r>
          </a:p>
          <a:p>
            <a:pPr lvl="0"/>
            <a:endParaRPr lang="en-US" sz="1200" b="1" u="sng"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ith Azure Machine Learning, we provide developers data scientists and developers to build, train and deploy model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ML is the only cloud ML service that enables developers of all skill levels to build ML models – from a code first experience, to drag &amp; drop, to automated machine learning where developers are not required to have any ML knowledge. No matter how models are built, they are stored and managed in a central registr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ML also provides advanced MLOPs capabilities with built-in integration with Azure DevOps. This enables developers to achieve model reproducibility, model validation, model deployment and model retraining capabilitie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Finally, AML is built on an open source foundation. </a:t>
            </a:r>
            <a:r>
              <a:rPr lang="en-US" sz="1200" kern="1200" dirty="0">
                <a:solidFill>
                  <a:schemeClr val="tx1"/>
                </a:solidFill>
                <a:effectLst/>
                <a:latin typeface="Segoe UI" panose="020B0502040204020203" pitchFamily="34" charset="0"/>
                <a:ea typeface="+mn-ea"/>
                <a:cs typeface="+mn-cs"/>
              </a:rPr>
              <a:t>Developers can choose the Python tool and process of their choice and even get started on their laptops. They have the freedom to use </a:t>
            </a:r>
            <a:r>
              <a:rPr lang="en-US" sz="1200" kern="1200" dirty="0" err="1">
                <a:solidFill>
                  <a:schemeClr val="tx1"/>
                </a:solidFill>
                <a:effectLst/>
                <a:latin typeface="Segoe UI" panose="020B0502040204020203" pitchFamily="34" charset="0"/>
                <a:ea typeface="+mn-ea"/>
                <a:cs typeface="+mn-cs"/>
              </a:rPr>
              <a:t>Mlflow</a:t>
            </a:r>
            <a:r>
              <a:rPr lang="en-US" sz="1200" kern="1200" dirty="0">
                <a:solidFill>
                  <a:schemeClr val="tx1"/>
                </a:solidFill>
                <a:effectLst/>
                <a:latin typeface="Segoe UI" panose="020B0502040204020203" pitchFamily="34" charset="0"/>
                <a:ea typeface="+mn-ea"/>
                <a:cs typeface="+mn-cs"/>
              </a:rPr>
              <a:t> if they’d like and take advantage of the ONNX Runtime to optimize inferencing on multiple HW targets.</a:t>
            </a:r>
          </a:p>
          <a:p>
            <a:pPr marL="171450" lvl="0" indent="-171450">
              <a:buFont typeface="Arial" panose="020B0604020202020204" pitchFamily="34" charset="0"/>
              <a:buChar char="•"/>
            </a:pP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kern="1200" dirty="0">
                <a:solidFill>
                  <a:schemeClr val="tx1"/>
                </a:solidFill>
                <a:effectLst/>
                <a:latin typeface="+mn-lt"/>
                <a:ea typeface="+mn-ea"/>
                <a:cs typeface="+mn-cs"/>
              </a:rPr>
              <a:t>Customizable Vision, Speech, Language &amp; Decision Models:</a:t>
            </a: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Built with Azure Machine Learning, we also offer developers the most comprehensive set of domain-specific pre-trained models – 30 across Vision, Speech, Language and Decision making – which are all based on our breakthrough research. Not only does Azure AI have the most number of pre-trained models, we are the only ones that can enable deployment anywhere – on-premises, on the edge and even other clouds through the use of containers. </a:t>
            </a: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b="1" u="sng" kern="1200" dirty="0">
                <a:solidFill>
                  <a:schemeClr val="tx1"/>
                </a:solidFill>
                <a:effectLst/>
                <a:latin typeface="Segoe UI" panose="020B0502040204020203" pitchFamily="34" charset="0"/>
                <a:ea typeface="+mn-ea"/>
                <a:cs typeface="+mn-cs"/>
              </a:rPr>
              <a:t>Scenario Specific Services</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Finally, we offer AI applications specific services for professional developers.</a:t>
            </a: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prstClr val="white"/>
                </a:solidFill>
                <a:effectLst/>
                <a:latin typeface="Segoe UI"/>
                <a:ea typeface="+mn-ea"/>
                <a:cs typeface="+mn-cs"/>
              </a:rPr>
              <a:t>Azure Bot Service is built on Azure Bot Framework, the most popular open source based bot framework.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UI" panose="020B0502040204020203" pitchFamily="34" charset="0"/>
                <a:ea typeface="+mn-ea"/>
                <a:cs typeface="+mn-cs"/>
              </a:rPr>
              <a:t>This includes Azure Search is the only </a:t>
            </a:r>
            <a:r>
              <a:rPr lang="en-US" sz="1200" dirty="0">
                <a:solidFill>
                  <a:prstClr val="white"/>
                </a:solidFill>
                <a:latin typeface="Segoe UI"/>
              </a:rPr>
              <a:t>cloud app search service with built-in AI capabilities. This facilitates the creation of knowledge mining ap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white"/>
                </a:solidFill>
                <a:latin typeface="Segoe UI"/>
              </a:rPr>
              <a:t>Form recognizer has been designed to work on specific types of documents – forms. It extracts key value pairs from forms, thereby automating data entry tasks. Form recognizer is used by leading RPA providers as part of their solu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white"/>
                </a:solidFill>
                <a:latin typeface="Segoe UI"/>
              </a:rPr>
              <a:t>Finally, we have Video Indexer. Video Indexer that is used to extract in-depth metadata from video and audio conten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prstClr val="white"/>
              </a:solidFill>
              <a:effectLst/>
              <a:latin typeface="Segoe UI"/>
              <a:ea typeface="+mn-ea"/>
              <a:cs typeface="+mn-cs"/>
            </a:endParaRPr>
          </a:p>
          <a:p>
            <a:endParaRPr lang="en-US" sz="1200" b="0" i="0" u="none" strike="noStrike" kern="1200" dirty="0">
              <a:solidFill>
                <a:schemeClr val="tx1"/>
              </a:solidFill>
              <a:effectLst/>
              <a:latin typeface="+mn-lt"/>
              <a:ea typeface="+mn-ea"/>
              <a:cs typeface="+mn-cs"/>
            </a:endParaRPr>
          </a:p>
          <a:p>
            <a:endParaRPr lang="en-US" sz="1200" b="0" i="0" u="none" strike="noStrike" kern="1200" dirty="0">
              <a:solidFill>
                <a:schemeClr val="tx1"/>
              </a:solidFill>
              <a:effectLst/>
              <a:latin typeface="+mn-lt"/>
              <a:ea typeface="+mn-ea"/>
              <a:cs typeface="+mn-cs"/>
            </a:endParaRPr>
          </a:p>
          <a:p>
            <a:endParaRPr lang="en-US" sz="1200" b="0" i="0" u="none" strike="noStrike"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4F33-6B66-41CF-BE59-AF14614133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38285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8E5EB8-4F40-45D0-9EBF-D9AF86ACC60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83009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2623E8-2F5C-425F-BBB7-C855E9F5E9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18780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2623E8-2F5C-425F-BBB7-C855E9F5E9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67909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2623E8-2F5C-425F-BBB7-C855E9F5E9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42129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48507" rtl="0" eaLnBrk="1" fontAlgn="auto" latinLnBrk="0" hangingPunct="1">
              <a:lnSpc>
                <a:spcPct val="100000"/>
              </a:lnSpc>
              <a:spcBef>
                <a:spcPts val="0"/>
              </a:spcBef>
              <a:spcAft>
                <a:spcPts val="0"/>
              </a:spcAft>
              <a:buClrTx/>
              <a:buSzTx/>
              <a:buFontTx/>
              <a:buNone/>
              <a:tabLst/>
              <a:defRPr/>
            </a:pPr>
            <a:fld id="{D25430C9-2443-4FD6-9162-F44D32FAF97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850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09745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
        <p:cNvGrpSpPr/>
        <p:nvPr/>
      </p:nvGrpSpPr>
      <p:grpSpPr>
        <a:xfrm>
          <a:off x="0" y="0"/>
          <a:ext cx="0" cy="0"/>
          <a:chOff x="0" y="0"/>
          <a:chExt cx="0" cy="0"/>
        </a:xfrm>
      </p:grpSpPr>
      <p:sp>
        <p:nvSpPr>
          <p:cNvPr id="93" name="Google Shape;93;g45ddbdda59_2_2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4" name="Google Shape;94;g45ddbdda59_2_2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7 minutes</a:t>
            </a:r>
            <a:endParaRPr dirty="0"/>
          </a:p>
        </p:txBody>
      </p:sp>
    </p:spTree>
    <p:extLst>
      <p:ext uri="{BB962C8B-B14F-4D97-AF65-F5344CB8AC3E}">
        <p14:creationId xmlns:p14="http://schemas.microsoft.com/office/powerpoint/2010/main" val="32065813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p:cNvGrpSpPr/>
        <p:nvPr/>
      </p:nvGrpSpPr>
      <p:grpSpPr>
        <a:xfrm>
          <a:off x="0" y="0"/>
          <a:ext cx="0" cy="0"/>
          <a:chOff x="0" y="0"/>
          <a:chExt cx="0" cy="0"/>
        </a:xfrm>
      </p:grpSpPr>
      <p:sp>
        <p:nvSpPr>
          <p:cNvPr id="118" name="Google Shape;118;g45ddbdda59_2_22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9" name="Google Shape;119;g45ddbdda59_2_22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7 – 8 minutes</a:t>
            </a:r>
            <a:endParaRPr dirty="0"/>
          </a:p>
        </p:txBody>
      </p:sp>
    </p:spTree>
    <p:extLst>
      <p:ext uri="{BB962C8B-B14F-4D97-AF65-F5344CB8AC3E}">
        <p14:creationId xmlns:p14="http://schemas.microsoft.com/office/powerpoint/2010/main" val="27667172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
        <p:cNvGrpSpPr/>
        <p:nvPr/>
      </p:nvGrpSpPr>
      <p:grpSpPr>
        <a:xfrm>
          <a:off x="0" y="0"/>
          <a:ext cx="0" cy="0"/>
          <a:chOff x="0" y="0"/>
          <a:chExt cx="0" cy="0"/>
        </a:xfrm>
      </p:grpSpPr>
      <p:sp>
        <p:nvSpPr>
          <p:cNvPr id="125" name="Google Shape;125;g45ddbdda59_2_22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6" name="Google Shape;126;g45ddbdda59_2_223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8-10 minutes</a:t>
            </a:r>
            <a:endParaRPr dirty="0"/>
          </a:p>
        </p:txBody>
      </p:sp>
    </p:spTree>
    <p:extLst>
      <p:ext uri="{BB962C8B-B14F-4D97-AF65-F5344CB8AC3E}">
        <p14:creationId xmlns:p14="http://schemas.microsoft.com/office/powerpoint/2010/main" val="25105562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C470E0-F101-4710-A121-DF6D0F7F257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0E9D033B-D8C5-408B-BCE4-F0CC17F9459E}"/>
              </a:ext>
            </a:extLst>
          </p:cNvPr>
          <p:cNvSpPr>
            <a:spLocks noGrp="1"/>
          </p:cNvSpPr>
          <p:nvPr>
            <p:ph type="body" idx="1"/>
          </p:nvPr>
        </p:nvSpPr>
        <p:spPr/>
        <p:txBody>
          <a:bodyPr/>
          <a:lstStyle/>
          <a:p>
            <a:pPr marL="158750" indent="0">
              <a:buNone/>
            </a:pPr>
            <a:r>
              <a:rPr lang="en-US" dirty="0"/>
              <a:t>15m-17m </a:t>
            </a:r>
          </a:p>
        </p:txBody>
      </p:sp>
    </p:spTree>
    <p:extLst>
      <p:ext uri="{BB962C8B-B14F-4D97-AF65-F5344CB8AC3E}">
        <p14:creationId xmlns:p14="http://schemas.microsoft.com/office/powerpoint/2010/main" val="26250278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40"/>
        <p:cNvGrpSpPr/>
        <p:nvPr/>
      </p:nvGrpSpPr>
      <p:grpSpPr>
        <a:xfrm>
          <a:off x="0" y="0"/>
          <a:ext cx="0" cy="0"/>
          <a:chOff x="0" y="0"/>
          <a:chExt cx="0" cy="0"/>
        </a:xfrm>
      </p:grpSpPr>
      <p:sp>
        <p:nvSpPr>
          <p:cNvPr id="4641" name="Google Shape;4641;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642" name="Google Shape;4642;p6: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None/>
            </a:pPr>
            <a:r>
              <a:rPr lang="en-US" sz="882" kern="1200" dirty="0">
                <a:solidFill>
                  <a:schemeClr val="tx1"/>
                </a:solidFill>
                <a:effectLst/>
                <a:latin typeface="Segoe UI Light" pitchFamily="34" charset="0"/>
                <a:ea typeface="+mn-ea"/>
                <a:cs typeface="+mn-cs"/>
              </a:rPr>
              <a:t>Azure has a lot of machine learning abilities, Azure machine learning service is a platform to facilitate the entire machine learning workflow under one roof, while keeping the solution as flexible and customizable as possible.</a:t>
            </a:r>
            <a:endParaRPr dirty="0"/>
          </a:p>
        </p:txBody>
      </p:sp>
      <p:sp>
        <p:nvSpPr>
          <p:cNvPr id="4643" name="Google Shape;4643;p6:notes"/>
          <p:cNvSpPr txBox="1">
            <a:spLocks noGrp="1"/>
          </p:cNvSpPr>
          <p:nvPr>
            <p:ph type="hdr" idx="3"/>
          </p:nvPr>
        </p:nvSpPr>
        <p:spPr>
          <a:xfrm>
            <a:off x="0" y="0"/>
            <a:ext cx="2971800" cy="4572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Quattrocento Sans"/>
              <a:buNone/>
              <a:tabLst/>
              <a:defRPr/>
            </a:pPr>
            <a:r>
              <a:rPr kumimoji="0" lang="en-US" sz="18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Microsoft Envision 2016</a:t>
            </a:r>
            <a:endParaRPr kumimoji="0" sz="1200" b="0" i="0" u="none" strike="noStrike" kern="0" cap="none" spc="0" normalizeH="0" baseline="0" noProof="0">
              <a:ln>
                <a:noFill/>
              </a:ln>
              <a:solidFill>
                <a:srgbClr val="000000"/>
              </a:solidFill>
              <a:effectLst/>
              <a:uLnTx/>
              <a:uFillTx/>
              <a:latin typeface="Quattrocento Sans"/>
              <a:ea typeface="+mn-ea"/>
              <a:cs typeface="+mn-cs"/>
              <a:sym typeface="Quattrocento Sans"/>
            </a:endParaRPr>
          </a:p>
        </p:txBody>
      </p:sp>
      <p:sp>
        <p:nvSpPr>
          <p:cNvPr id="4644" name="Google Shape;4644;p6:notes"/>
          <p:cNvSpPr txBox="1">
            <a:spLocks noGrp="1"/>
          </p:cNvSpPr>
          <p:nvPr>
            <p:ph type="ftr" idx="11"/>
          </p:nvPr>
        </p:nvSpPr>
        <p:spPr>
          <a:xfrm>
            <a:off x="0" y="8686800"/>
            <a:ext cx="5920740" cy="355964"/>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400"/>
              <a:buFont typeface="Quattrocento Sans"/>
              <a:buNone/>
              <a:tabLst/>
              <a:defRPr/>
            </a:pPr>
            <a:r>
              <a:rPr kumimoji="0" lang="en-US" sz="4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 2016 Microsoft Corporation. All rights reserved. MICROSOFT MAKES NO WARRANTIES, EXPRESS, IMPLIED OR STATUTORY, AS TO THE INFORMATION IN THIS PRESENTATION.</a:t>
            </a:r>
            <a:endParaRPr kumimoji="0" sz="12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4645" name="Google Shape;4645;p6:notes"/>
          <p:cNvSpPr txBox="1">
            <a:spLocks noGrp="1"/>
          </p:cNvSpPr>
          <p:nvPr>
            <p:ph type="dt" idx="10"/>
          </p:nvPr>
        </p:nvSpPr>
        <p:spPr>
          <a:xfrm>
            <a:off x="3884613" y="0"/>
            <a:ext cx="2971800" cy="4572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800"/>
              <a:buFont typeface="Quattrocento Sans"/>
              <a:buNone/>
              <a:tabLst/>
              <a:defRPr/>
            </a:pPr>
            <a:r>
              <a:rPr kumimoji="0" lang="en-US" sz="18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1/10/2019 10:05 PM</a:t>
            </a:r>
            <a:endParaRPr kumimoji="0" sz="18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4646" name="Google Shape;4646;p6:notes"/>
          <p:cNvSpPr txBox="1">
            <a:spLocks noGrp="1"/>
          </p:cNvSpPr>
          <p:nvPr>
            <p:ph type="sldNum" idx="12"/>
          </p:nvPr>
        </p:nvSpPr>
        <p:spPr>
          <a:xfrm>
            <a:off x="5909309" y="8685213"/>
            <a:ext cx="947103"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800"/>
              <a:buFont typeface="Quattrocento Sans"/>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pPr marL="0" marR="0" lvl="0" indent="0" algn="r" defTabSz="914400" rtl="0" eaLnBrk="1" fontAlgn="auto" latinLnBrk="0" hangingPunct="1">
                <a:lnSpc>
                  <a:spcPct val="100000"/>
                </a:lnSpc>
                <a:spcBef>
                  <a:spcPts val="0"/>
                </a:spcBef>
                <a:spcAft>
                  <a:spcPts val="0"/>
                </a:spcAft>
                <a:buClr>
                  <a:srgbClr val="000000"/>
                </a:buClr>
                <a:buSzPts val="1800"/>
                <a:buFont typeface="Quattrocento Sans"/>
                <a:buNone/>
                <a:tabLst/>
                <a:defRPr/>
              </a:pPr>
              <a:t>28</a:t>
            </a:fld>
            <a:endParaRPr kumimoji="0" sz="18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Once you have your data source and format defined. You need to consider how you want the experiment to split your train, test and validation data. Automated ML supports three type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K-fold</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Monte Carlo or repeated random sub-sampling</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Manual or custom splits.</a:t>
            </a:r>
          </a:p>
          <a:p>
            <a:r>
              <a:rPr lang="en-US" sz="1200" b="1" kern="1200">
                <a:solidFill>
                  <a:schemeClr val="tx1"/>
                </a:solidFill>
                <a:effectLst/>
                <a:latin typeface="+mn-lt"/>
                <a:ea typeface="+mn-ea"/>
                <a:cs typeface="+mn-cs"/>
              </a:rPr>
              <a:t>K-Fold</a:t>
            </a:r>
          </a:p>
          <a:p>
            <a:r>
              <a:rPr lang="en-US" sz="1200" kern="1200">
                <a:solidFill>
                  <a:schemeClr val="tx1"/>
                </a:solidFill>
                <a:effectLst/>
                <a:latin typeface="+mn-lt"/>
                <a:ea typeface="+mn-ea"/>
                <a:cs typeface="+mn-cs"/>
              </a:rPr>
              <a:t>For k-fold use </a:t>
            </a:r>
            <a:r>
              <a:rPr lang="en-US" sz="1200" kern="1200" err="1">
                <a:solidFill>
                  <a:schemeClr val="tx1"/>
                </a:solidFill>
                <a:effectLst/>
                <a:latin typeface="+mn-lt"/>
                <a:ea typeface="+mn-ea"/>
                <a:cs typeface="+mn-cs"/>
              </a:rPr>
              <a:t>n_cross_validations</a:t>
            </a:r>
            <a:r>
              <a:rPr lang="en-US" sz="1200" kern="1200">
                <a:solidFill>
                  <a:schemeClr val="tx1"/>
                </a:solidFill>
                <a:effectLst/>
                <a:latin typeface="+mn-lt"/>
                <a:ea typeface="+mn-ea"/>
                <a:cs typeface="+mn-cs"/>
              </a:rPr>
              <a:t> setting to specify the number of cross validations. The training data set will be randomly split into </a:t>
            </a:r>
            <a:r>
              <a:rPr lang="en-US" sz="1200" kern="1200" err="1">
                <a:solidFill>
                  <a:schemeClr val="tx1"/>
                </a:solidFill>
                <a:effectLst/>
                <a:latin typeface="+mn-lt"/>
                <a:ea typeface="+mn-ea"/>
                <a:cs typeface="+mn-cs"/>
              </a:rPr>
              <a:t>n_cross_validations</a:t>
            </a:r>
            <a:r>
              <a:rPr lang="en-US" sz="1200" kern="1200">
                <a:solidFill>
                  <a:schemeClr val="tx1"/>
                </a:solidFill>
                <a:effectLst/>
                <a:latin typeface="+mn-lt"/>
                <a:ea typeface="+mn-ea"/>
                <a:cs typeface="+mn-cs"/>
              </a:rPr>
              <a:t> folds of equal size. During each cross-validation round, one of the folds will be used for validation of the model trained on the remaining folds. This process repeats for </a:t>
            </a:r>
            <a:r>
              <a:rPr lang="en-US" sz="1200" kern="1200" err="1">
                <a:solidFill>
                  <a:schemeClr val="tx1"/>
                </a:solidFill>
                <a:effectLst/>
                <a:latin typeface="+mn-lt"/>
                <a:ea typeface="+mn-ea"/>
                <a:cs typeface="+mn-cs"/>
              </a:rPr>
              <a:t>n_cross_validations</a:t>
            </a:r>
            <a:r>
              <a:rPr lang="en-US" sz="1200" kern="1200">
                <a:solidFill>
                  <a:schemeClr val="tx1"/>
                </a:solidFill>
                <a:effectLst/>
                <a:latin typeface="+mn-lt"/>
                <a:ea typeface="+mn-ea"/>
                <a:cs typeface="+mn-cs"/>
              </a:rPr>
              <a:t> rounds until each fold is used once as validation set. The average scores across all </a:t>
            </a:r>
            <a:r>
              <a:rPr lang="en-US" sz="1200" kern="1200" err="1">
                <a:solidFill>
                  <a:schemeClr val="tx1"/>
                </a:solidFill>
                <a:effectLst/>
                <a:latin typeface="+mn-lt"/>
                <a:ea typeface="+mn-ea"/>
                <a:cs typeface="+mn-cs"/>
              </a:rPr>
              <a:t>n_cross_validations</a:t>
            </a:r>
            <a:r>
              <a:rPr lang="en-US" sz="1200" kern="1200">
                <a:solidFill>
                  <a:schemeClr val="tx1"/>
                </a:solidFill>
                <a:effectLst/>
                <a:latin typeface="+mn-lt"/>
                <a:ea typeface="+mn-ea"/>
                <a:cs typeface="+mn-cs"/>
              </a:rPr>
              <a:t> rounds will be reported, and the corresponding model will be retrained on the whole training data set.</a:t>
            </a:r>
          </a:p>
          <a:p>
            <a:r>
              <a:rPr lang="en-US" sz="1200" b="1" kern="1200">
                <a:solidFill>
                  <a:schemeClr val="tx1"/>
                </a:solidFill>
                <a:effectLst/>
                <a:latin typeface="+mn-lt"/>
                <a:ea typeface="+mn-ea"/>
                <a:cs typeface="+mn-cs"/>
              </a:rPr>
              <a:t>Monte Carlo</a:t>
            </a:r>
          </a:p>
          <a:p>
            <a:r>
              <a:rPr lang="en-US" sz="1200" kern="1200">
                <a:solidFill>
                  <a:schemeClr val="tx1"/>
                </a:solidFill>
                <a:effectLst/>
                <a:latin typeface="+mn-lt"/>
                <a:ea typeface="+mn-ea"/>
                <a:cs typeface="+mn-cs"/>
              </a:rPr>
              <a:t>Use </a:t>
            </a:r>
            <a:r>
              <a:rPr lang="en-US" sz="1200" kern="1200" err="1">
                <a:solidFill>
                  <a:schemeClr val="tx1"/>
                </a:solidFill>
                <a:effectLst/>
                <a:latin typeface="+mn-lt"/>
                <a:ea typeface="+mn-ea"/>
                <a:cs typeface="+mn-cs"/>
              </a:rPr>
              <a:t>validation_size</a:t>
            </a:r>
            <a:r>
              <a:rPr lang="en-US" sz="1200" kern="1200">
                <a:solidFill>
                  <a:schemeClr val="tx1"/>
                </a:solidFill>
                <a:effectLst/>
                <a:latin typeface="+mn-lt"/>
                <a:ea typeface="+mn-ea"/>
                <a:cs typeface="+mn-cs"/>
              </a:rPr>
              <a:t> to specify the percentage of the training dataset that should be used for validation, and use </a:t>
            </a:r>
            <a:r>
              <a:rPr lang="en-US" sz="1200" kern="1200" err="1">
                <a:solidFill>
                  <a:schemeClr val="tx1"/>
                </a:solidFill>
                <a:effectLst/>
                <a:latin typeface="+mn-lt"/>
                <a:ea typeface="+mn-ea"/>
                <a:cs typeface="+mn-cs"/>
              </a:rPr>
              <a:t>n_cross_validations</a:t>
            </a:r>
            <a:r>
              <a:rPr lang="en-US" sz="1200" kern="1200">
                <a:solidFill>
                  <a:schemeClr val="tx1"/>
                </a:solidFill>
                <a:effectLst/>
                <a:latin typeface="+mn-lt"/>
                <a:ea typeface="+mn-ea"/>
                <a:cs typeface="+mn-cs"/>
              </a:rPr>
              <a:t> to specify the number of cross validations. During each cross validation round, a subset of size </a:t>
            </a:r>
            <a:r>
              <a:rPr lang="en-US" sz="1200" kern="1200" err="1">
                <a:solidFill>
                  <a:schemeClr val="tx1"/>
                </a:solidFill>
                <a:effectLst/>
                <a:latin typeface="+mn-lt"/>
                <a:ea typeface="+mn-ea"/>
                <a:cs typeface="+mn-cs"/>
              </a:rPr>
              <a:t>validation_size</a:t>
            </a:r>
            <a:r>
              <a:rPr lang="en-US" sz="1200" kern="1200">
                <a:solidFill>
                  <a:schemeClr val="tx1"/>
                </a:solidFill>
                <a:effectLst/>
                <a:latin typeface="+mn-lt"/>
                <a:ea typeface="+mn-ea"/>
                <a:cs typeface="+mn-cs"/>
              </a:rPr>
              <a:t> will be randomly selected for validation of the model trained on the remaining data. Finally, the average scores across all </a:t>
            </a:r>
            <a:r>
              <a:rPr lang="en-US" sz="1200" kern="1200" err="1">
                <a:solidFill>
                  <a:schemeClr val="tx1"/>
                </a:solidFill>
                <a:effectLst/>
                <a:latin typeface="+mn-lt"/>
                <a:ea typeface="+mn-ea"/>
                <a:cs typeface="+mn-cs"/>
              </a:rPr>
              <a:t>n_cross_validations</a:t>
            </a:r>
            <a:r>
              <a:rPr lang="en-US" sz="1200" kern="1200">
                <a:solidFill>
                  <a:schemeClr val="tx1"/>
                </a:solidFill>
                <a:effectLst/>
                <a:latin typeface="+mn-lt"/>
                <a:ea typeface="+mn-ea"/>
                <a:cs typeface="+mn-cs"/>
              </a:rPr>
              <a:t> rounds will be reported, and the corresponding model will be retrained on the whole training data set.</a:t>
            </a:r>
          </a:p>
          <a:p>
            <a:r>
              <a:rPr lang="en-US" sz="1200" b="1" kern="1200">
                <a:solidFill>
                  <a:schemeClr val="tx1"/>
                </a:solidFill>
                <a:effectLst/>
                <a:latin typeface="+mn-lt"/>
                <a:ea typeface="+mn-ea"/>
                <a:cs typeface="+mn-cs"/>
              </a:rPr>
              <a:t>Custom Validation Dataset</a:t>
            </a:r>
          </a:p>
          <a:p>
            <a:r>
              <a:rPr lang="en-US" sz="1200" kern="1200">
                <a:solidFill>
                  <a:schemeClr val="tx1"/>
                </a:solidFill>
                <a:effectLst/>
                <a:latin typeface="+mn-lt"/>
                <a:ea typeface="+mn-ea"/>
                <a:cs typeface="+mn-cs"/>
              </a:rPr>
              <a:t>Use custom validation if random split is not acceptable (usually time series data or imbalanced data). You can specify your own validation dataset. The model will be evaluated against the validation dataset specified instead of random dataset. If you are using custom splits you split you would split your data based on your requirements and pass your training data into the x and y parameters and </a:t>
            </a:r>
            <a:r>
              <a:rPr lang="en-US" sz="1200" kern="1200" err="1">
                <a:solidFill>
                  <a:schemeClr val="tx1"/>
                </a:solidFill>
                <a:effectLst/>
                <a:latin typeface="+mn-lt"/>
                <a:ea typeface="+mn-ea"/>
                <a:cs typeface="+mn-cs"/>
              </a:rPr>
              <a:t>x_valid</a:t>
            </a:r>
            <a:r>
              <a:rPr lang="en-US" sz="1200" kern="1200">
                <a:solidFill>
                  <a:schemeClr val="tx1"/>
                </a:solidFill>
                <a:effectLst/>
                <a:latin typeface="+mn-lt"/>
                <a:ea typeface="+mn-ea"/>
                <a:cs typeface="+mn-cs"/>
              </a:rPr>
              <a:t> and </a:t>
            </a:r>
            <a:r>
              <a:rPr lang="en-US" sz="1200" kern="1200" err="1">
                <a:solidFill>
                  <a:schemeClr val="tx1"/>
                </a:solidFill>
                <a:effectLst/>
                <a:latin typeface="+mn-lt"/>
                <a:ea typeface="+mn-ea"/>
                <a:cs typeface="+mn-cs"/>
              </a:rPr>
              <a:t>y_valid</a:t>
            </a:r>
            <a:r>
              <a:rPr lang="en-US" sz="1200" kern="1200">
                <a:solidFill>
                  <a:schemeClr val="tx1"/>
                </a:solidFill>
                <a:effectLst/>
                <a:latin typeface="+mn-lt"/>
                <a:ea typeface="+mn-ea"/>
                <a:cs typeface="+mn-cs"/>
              </a:rPr>
              <a:t> for validation data.</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F2075A-6B30-4026-85A0-C4A6468CB1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75854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19/2021 4:58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88303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19/2021 4:58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24409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19/2021 4:58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11215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19/2021 4:58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5666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43774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19/2021 4:58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9139439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882" kern="1200" dirty="0">
                <a:solidFill>
                  <a:schemeClr val="tx1"/>
                </a:solidFill>
                <a:effectLst/>
                <a:latin typeface="Segoe UI Light" pitchFamily="34" charset="0"/>
                <a:ea typeface="+mn-ea"/>
                <a:cs typeface="+mn-cs"/>
              </a:rPr>
              <a:t>This is where Automated machine learning comes handy, and automates that process for us, all you have to do is bring the data, configure a few settings and constraints to the process, like limiting the time you allow it to run, for example, and then Automated machine learning will run and generate many models and rank them based on their accuracy metric, so that you can choose the best performing model. The process is transparent and customizabl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E267DE-3F28-4E2B-99B6-5E0B1C6763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11561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Light" pitchFamily="34" charset="0"/>
                <a:ea typeface="+mn-ea"/>
                <a:cs typeface="+mn-cs"/>
              </a:rPr>
              <a:t>What differentiates the solution is the brain of the system, which is based on a research from Microsoft Research. The idea is that a model is trained based on millions of dataset characteristics like size, number and type of columns. and then recommending which algorithm and hyperparameters to use when it sees new datasets. It is a meta-model trained to predict which model to use. I like to think of it as the Netflix of machine learning models – where based on knowledge of previous datasets, the meta-model knows which models to recommend for your data. All this without actually looking at the data itself, so privacy is preserved. The point is, eventually, to help the process converge much faster than just going over all the possibilities randomly. This saves time and money.</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E267DE-3F28-4E2B-99B6-5E0B1C6763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37421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9/2021 4:58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65989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Light" pitchFamily="34" charset="0"/>
                <a:ea typeface="+mn-ea"/>
                <a:cs typeface="+mn-cs"/>
              </a:rPr>
              <a:t>So how do you get started? Automated machine learning is for everyone who is working with data. If you are a data scientist, you will be comfortable using the Python SDK in Jupyter notebook, and you’ll be able to use Jupyter notebooks from the Azure machine learning service.</a:t>
            </a:r>
            <a:br>
              <a:rPr lang="en-US" sz="882" kern="1200" dirty="0">
                <a:solidFill>
                  <a:schemeClr val="tx1"/>
                </a:solidFill>
                <a:effectLst/>
                <a:latin typeface="Segoe UI Light" pitchFamily="34" charset="0"/>
                <a:ea typeface="+mn-ea"/>
                <a:cs typeface="+mn-cs"/>
              </a:rPr>
            </a:br>
            <a:r>
              <a:rPr lang="en-US" sz="882" kern="1200" dirty="0">
                <a:solidFill>
                  <a:schemeClr val="tx1"/>
                </a:solidFill>
                <a:effectLst/>
                <a:latin typeface="Segoe UI Light" pitchFamily="34" charset="0"/>
                <a:ea typeface="+mn-ea"/>
                <a:cs typeface="+mn-cs"/>
              </a:rPr>
              <a:t>If you are a citizen data scientist, or if you just started making your way as a data scientist, or if you prefer graphical user interface over coding, you can use the Automated machine learning web user interface in Azure machine learning service, and start a training job within just a few clicks of a button.</a:t>
            </a:r>
            <a:br>
              <a:rPr lang="en-US" sz="882" kern="1200" dirty="0">
                <a:solidFill>
                  <a:schemeClr val="tx1"/>
                </a:solidFill>
                <a:effectLst/>
                <a:latin typeface="Segoe UI Light" pitchFamily="34" charset="0"/>
                <a:ea typeface="+mn-ea"/>
                <a:cs typeface="+mn-cs"/>
              </a:rPr>
            </a:br>
            <a:r>
              <a:rPr lang="en-US" sz="882" kern="1200" dirty="0">
                <a:solidFill>
                  <a:schemeClr val="tx1"/>
                </a:solidFill>
                <a:effectLst/>
                <a:latin typeface="Segoe UI Light" pitchFamily="34" charset="0"/>
                <a:ea typeface="+mn-ea"/>
                <a:cs typeface="+mn-cs"/>
              </a:rPr>
              <a:t>If you are a data analyst, business analyst, or data engineer, you can use the integrations with Power BI, Alteryx, and SQL Server, to train and predict directly from the tools that you are already using on a daily basis.</a:t>
            </a:r>
            <a:br>
              <a:rPr lang="en-US" sz="882" kern="1200" dirty="0">
                <a:solidFill>
                  <a:schemeClr val="tx1"/>
                </a:solidFill>
                <a:effectLst/>
                <a:latin typeface="Segoe UI Light" pitchFamily="34" charset="0"/>
                <a:ea typeface="+mn-ea"/>
                <a:cs typeface="+mn-cs"/>
              </a:rPr>
            </a:br>
            <a:r>
              <a:rPr lang="en-US" sz="882" kern="1200" dirty="0">
                <a:solidFill>
                  <a:schemeClr val="tx1"/>
                </a:solidFill>
                <a:effectLst/>
                <a:latin typeface="Segoe UI Light" pitchFamily="34" charset="0"/>
                <a:ea typeface="+mn-ea"/>
                <a:cs typeface="+mn-cs"/>
              </a:rPr>
              <a:t>If you are a developer, you can use Automated machine learning in Visual Studio with the ML.NET library, or you can code directly with Python.</a:t>
            </a: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9/2021 4: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909092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6E1C69-5CBA-4B00-A943-3764A7845A8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32284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5A8AB0-C555-45F4-8761-F7526B7159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95129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8507">
              <a:lnSpc>
                <a:spcPct val="100000"/>
              </a:lnSpc>
              <a:spcAft>
                <a:spcPts val="0"/>
              </a:spcAft>
              <a:defRPr/>
            </a:pPr>
            <a:r>
              <a:rPr lang="en-US" kern="0">
                <a:gradFill>
                  <a:gsLst>
                    <a:gs pos="13483">
                      <a:schemeClr val="tx1"/>
                    </a:gs>
                    <a:gs pos="62000">
                      <a:schemeClr val="tx1"/>
                    </a:gs>
                  </a:gsLst>
                  <a:lin ang="5400000" scaled="0"/>
                </a:gradFill>
                <a:latin typeface="Segoe UI Semilight"/>
                <a:cs typeface="Segoe UI"/>
              </a:rPr>
              <a:t>Choose between visual drag-and-drop or code-first authoring with complete control</a:t>
            </a:r>
          </a:p>
          <a:p>
            <a:pPr defTabSz="948507">
              <a:lnSpc>
                <a:spcPct val="100000"/>
              </a:lnSpc>
              <a:spcAft>
                <a:spcPts val="0"/>
              </a:spcAft>
              <a:defRPr/>
            </a:pPr>
            <a:r>
              <a:rPr lang="en-US" kern="0">
                <a:gradFill>
                  <a:gsLst>
                    <a:gs pos="13483">
                      <a:schemeClr val="tx1"/>
                    </a:gs>
                    <a:gs pos="62000">
                      <a:schemeClr val="tx1"/>
                    </a:gs>
                  </a:gsLst>
                  <a:lin ang="5400000" scaled="0"/>
                </a:gradFill>
                <a:latin typeface="Segoe UI Semilight"/>
                <a:cs typeface="Segoe UI"/>
              </a:rPr>
              <a:t>Use your favorite IDE, built into your favorite IDE (VS Code only @ Public Preview)</a:t>
            </a:r>
          </a:p>
          <a:p>
            <a:pPr defTabSz="948507">
              <a:lnSpc>
                <a:spcPct val="100000"/>
              </a:lnSpc>
              <a:spcAft>
                <a:spcPts val="0"/>
              </a:spcAft>
              <a:defRPr/>
            </a:pPr>
            <a:r>
              <a:rPr lang="en-US" kern="0">
                <a:gradFill>
                  <a:gsLst>
                    <a:gs pos="13483">
                      <a:schemeClr val="tx1"/>
                    </a:gs>
                    <a:gs pos="62000">
                      <a:schemeClr val="tx1"/>
                    </a:gs>
                  </a:gsLst>
                  <a:lin ang="5400000" scaled="0"/>
                </a:gradFill>
                <a:latin typeface="Segoe UI Semilight"/>
                <a:cs typeface="Segoe UI"/>
              </a:rPr>
              <a:t>Use any framework or library and the most popular languages</a:t>
            </a:r>
          </a:p>
          <a:p>
            <a:pPr defTabSz="948507">
              <a:lnSpc>
                <a:spcPct val="100000"/>
              </a:lnSpc>
              <a:spcAft>
                <a:spcPts val="0"/>
              </a:spcAft>
              <a:defRPr/>
            </a:pPr>
            <a:r>
              <a:rPr lang="en-US" kern="0">
                <a:gradFill>
                  <a:gsLst>
                    <a:gs pos="13483">
                      <a:schemeClr val="tx1"/>
                    </a:gs>
                    <a:gs pos="62000">
                      <a:schemeClr val="tx1"/>
                    </a:gs>
                  </a:gsLst>
                  <a:lin ang="5400000" scaled="0"/>
                </a:gradFill>
                <a:latin typeface="Segoe UI Semilight"/>
                <a:cs typeface="Segoe UI"/>
              </a:rPr>
              <a:t>Faster, easier training on industry leading Spark</a:t>
            </a:r>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6078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8507">
              <a:lnSpc>
                <a:spcPct val="100000"/>
              </a:lnSpc>
              <a:spcAft>
                <a:spcPts val="0"/>
              </a:spcAft>
              <a:defRPr/>
            </a:pPr>
            <a:r>
              <a:rPr lang="en-US" kern="0">
                <a:gradFill>
                  <a:gsLst>
                    <a:gs pos="13483">
                      <a:schemeClr val="tx1"/>
                    </a:gs>
                    <a:gs pos="62000">
                      <a:schemeClr val="tx1"/>
                    </a:gs>
                  </a:gsLst>
                  <a:lin ang="5400000" scaled="0"/>
                </a:gradFill>
                <a:latin typeface="Segoe UI Semilight"/>
                <a:cs typeface="Segoe UI"/>
              </a:rPr>
              <a:t>Choose between visual drag-and-drop or code-first authoring with complete control</a:t>
            </a:r>
          </a:p>
          <a:p>
            <a:pPr defTabSz="948507">
              <a:lnSpc>
                <a:spcPct val="100000"/>
              </a:lnSpc>
              <a:spcAft>
                <a:spcPts val="0"/>
              </a:spcAft>
              <a:defRPr/>
            </a:pPr>
            <a:r>
              <a:rPr lang="en-US" kern="0">
                <a:gradFill>
                  <a:gsLst>
                    <a:gs pos="13483">
                      <a:schemeClr val="tx1"/>
                    </a:gs>
                    <a:gs pos="62000">
                      <a:schemeClr val="tx1"/>
                    </a:gs>
                  </a:gsLst>
                  <a:lin ang="5400000" scaled="0"/>
                </a:gradFill>
                <a:latin typeface="Segoe UI Semilight"/>
                <a:cs typeface="Segoe UI"/>
              </a:rPr>
              <a:t>Use your favorite IDE, built into your favorite IDE (VS Code only @ Public Preview)</a:t>
            </a:r>
          </a:p>
          <a:p>
            <a:pPr defTabSz="948507">
              <a:lnSpc>
                <a:spcPct val="100000"/>
              </a:lnSpc>
              <a:spcAft>
                <a:spcPts val="0"/>
              </a:spcAft>
              <a:defRPr/>
            </a:pPr>
            <a:r>
              <a:rPr lang="en-US" kern="0">
                <a:gradFill>
                  <a:gsLst>
                    <a:gs pos="13483">
                      <a:schemeClr val="tx1"/>
                    </a:gs>
                    <a:gs pos="62000">
                      <a:schemeClr val="tx1"/>
                    </a:gs>
                  </a:gsLst>
                  <a:lin ang="5400000" scaled="0"/>
                </a:gradFill>
                <a:latin typeface="Segoe UI Semilight"/>
                <a:cs typeface="Segoe UI"/>
              </a:rPr>
              <a:t>Use any framework or library and the most popular languages</a:t>
            </a:r>
          </a:p>
          <a:p>
            <a:pPr defTabSz="948507">
              <a:lnSpc>
                <a:spcPct val="100000"/>
              </a:lnSpc>
              <a:spcAft>
                <a:spcPts val="0"/>
              </a:spcAft>
              <a:defRPr/>
            </a:pPr>
            <a:r>
              <a:rPr lang="en-US" kern="0">
                <a:gradFill>
                  <a:gsLst>
                    <a:gs pos="13483">
                      <a:schemeClr val="tx1"/>
                    </a:gs>
                    <a:gs pos="62000">
                      <a:schemeClr val="tx1"/>
                    </a:gs>
                  </a:gsLst>
                  <a:lin ang="5400000" scaled="0"/>
                </a:gradFill>
                <a:latin typeface="Segoe UI Semilight"/>
                <a:cs typeface="Segoe UI"/>
              </a:rPr>
              <a:t>Faster, easier training on industry leading Spark</a:t>
            </a:r>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111963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48507" rtl="0" eaLnBrk="1" fontAlgn="auto" latinLnBrk="0" hangingPunct="1">
              <a:lnSpc>
                <a:spcPct val="100000"/>
              </a:lnSpc>
              <a:spcBef>
                <a:spcPts val="0"/>
              </a:spcBef>
              <a:spcAft>
                <a:spcPts val="0"/>
              </a:spcAft>
              <a:buClrTx/>
              <a:buSzTx/>
              <a:buFontTx/>
              <a:buNone/>
              <a:tabLst/>
              <a:defRPr/>
            </a:pPr>
            <a:fld id="{D25430C9-2443-4FD6-9162-F44D32FAF97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8507"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57125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lumMod val="50000"/>
                      </a:prstClr>
                    </a:gs>
                    <a:gs pos="100000">
                      <a:prstClr val="black">
                        <a:lumMod val="50000"/>
                      </a:prstClr>
                    </a:gs>
                  </a:gsLst>
                  <a:lin ang="5400000" scaled="0"/>
                </a:gradFill>
                <a:effectLst/>
                <a:uLnTx/>
                <a:uFillTx/>
                <a:latin typeface="Calibri" panose="020F0502020204030204"/>
                <a:ea typeface="+mn-ea"/>
                <a:cs typeface="+mn-cs"/>
              </a:rPr>
              <a:t>Server &amp; Tools Business</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7627C9-6754-412D-8C4C-762D023E30DD}"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9/20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67548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97047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16322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Algorithm Documentation: </a:t>
            </a:r>
            <a:r>
              <a:rPr lang="en-US" dirty="0">
                <a:hlinkClick r:id="rId3"/>
              </a:rPr>
              <a:t>https://msdn.microsoft.com/library/dn905974.aspx</a:t>
            </a:r>
            <a:r>
              <a:rPr lang="en-US" dirty="0"/>
              <a:t> </a:t>
            </a:r>
          </a:p>
          <a:p>
            <a:pPr marL="342900" indent="-342900">
              <a:buFont typeface="+mj-lt"/>
              <a:buAutoNum type="arabicPeriod"/>
            </a:pPr>
            <a:r>
              <a:rPr lang="en-US" dirty="0"/>
              <a:t>Exploring: </a:t>
            </a:r>
            <a:r>
              <a:rPr lang="en-US" dirty="0">
                <a:hlinkClick r:id="rId4"/>
              </a:rPr>
              <a:t>https://azuremlsimpleds.azurewebsites.net/simpleds/</a:t>
            </a:r>
            <a:r>
              <a:rPr lang="en-US" dirty="0"/>
              <a:t>  </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77032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Classification: Assign a category to each item (Chinese | French | Indian | Italian | Japanese restaurant). </a:t>
            </a:r>
            <a:r>
              <a:rPr lang="en-US"/>
              <a:t>– Which Category?</a:t>
            </a:r>
          </a:p>
          <a:p>
            <a:pPr marL="342900" indent="-342900">
              <a:buFont typeface="+mj-lt"/>
              <a:buAutoNum type="arabicPeriod"/>
            </a:pPr>
            <a:r>
              <a:rPr lang="en-US"/>
              <a:t>Regression</a:t>
            </a:r>
            <a:r>
              <a:rPr lang="en-US" dirty="0"/>
              <a:t>: Predict a real value for each item (stock/currency value, temperature). – How much/how many?</a:t>
            </a:r>
          </a:p>
          <a:p>
            <a:pPr marL="342900" indent="-342900">
              <a:buFont typeface="+mj-lt"/>
              <a:buAutoNum type="arabicPeriod"/>
            </a:pPr>
            <a:r>
              <a:rPr lang="en-US" dirty="0"/>
              <a:t>Clustering/Recommendation: Partition items into homogeneous groups (clustering twitter posts by topic). – Which Groups?</a:t>
            </a:r>
          </a:p>
          <a:p>
            <a:pPr marL="342900" indent="-342900">
              <a:buFont typeface="+mj-lt"/>
              <a:buAutoNum type="arabicPeriod"/>
            </a:pPr>
            <a:r>
              <a:rPr lang="en-US" dirty="0"/>
              <a:t>Anomaly: Identify when something unexpected happens. – Is this weird? </a:t>
            </a:r>
          </a:p>
          <a:p>
            <a:pPr marL="342900" indent="-342900">
              <a:buFont typeface="+mj-lt"/>
              <a:buAutoNum type="arabicPeriod"/>
            </a:pPr>
            <a:r>
              <a:rPr lang="en-US" dirty="0"/>
              <a:t>Reinforcement Learning: Make an appropriate action for some new data. – Which action?</a:t>
            </a:r>
          </a:p>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40214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21922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45.jpeg"/><Relationship Id="rId1" Type="http://schemas.openxmlformats.org/officeDocument/2006/relationships/slideMaster" Target="../slideMasters/slideMaster8.xml"/><Relationship Id="rId4" Type="http://schemas.openxmlformats.org/officeDocument/2006/relationships/image" Target="../media/image46.png"/></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47.jpe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tif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tif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Master" Target="../slideMasters/slideMaster2.xml"/><Relationship Id="rId4" Type="http://schemas.openxmlformats.org/officeDocument/2006/relationships/image" Target="../media/image10.jp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Master" Target="../slideMasters/slideMaster2.xml"/><Relationship Id="rId4" Type="http://schemas.openxmlformats.org/officeDocument/2006/relationships/image" Target="../media/image14.jp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3.xml"/><Relationship Id="rId4" Type="http://schemas.openxmlformats.org/officeDocument/2006/relationships/image" Target="../media/image24.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jpg"/><Relationship Id="rId1" Type="http://schemas.openxmlformats.org/officeDocument/2006/relationships/slideMaster" Target="../slideMasters/slideMaster7.xml"/><Relationship Id="rId4" Type="http://schemas.openxmlformats.org/officeDocument/2006/relationships/image" Target="../media/image38.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6.jpg"/><Relationship Id="rId1" Type="http://schemas.openxmlformats.org/officeDocument/2006/relationships/slideMaster" Target="../slideMasters/slideMaster7.xml"/><Relationship Id="rId4" Type="http://schemas.openxmlformats.org/officeDocument/2006/relationships/image" Target="../media/image40.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jpg"/><Relationship Id="rId1" Type="http://schemas.openxmlformats.org/officeDocument/2006/relationships/slideMaster" Target="../slideMasters/slideMaster7.xml"/><Relationship Id="rId4" Type="http://schemas.openxmlformats.org/officeDocument/2006/relationships/image" Target="../media/image38.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Master" Target="../slideMasters/slideMaster7.xml"/><Relationship Id="rId4" Type="http://schemas.openxmlformats.org/officeDocument/2006/relationships/image" Target="../media/image41.jp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39.png"/><Relationship Id="rId1" Type="http://schemas.openxmlformats.org/officeDocument/2006/relationships/slideMaster" Target="../slideMasters/slideMaster7.xml"/><Relationship Id="rId4" Type="http://schemas.openxmlformats.org/officeDocument/2006/relationships/image" Target="../media/image40.emf"/></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01D582-D435-40B0-AAAC-C6E8B10344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341F345-76CB-4290-81DF-C157FFCC1E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FF86AE0-7589-4FED-B713-A1B2B2506282}"/>
              </a:ext>
            </a:extLst>
          </p:cNvPr>
          <p:cNvSpPr>
            <a:spLocks noGrp="1"/>
          </p:cNvSpPr>
          <p:nvPr>
            <p:ph type="dt" sz="half" idx="10"/>
          </p:nvPr>
        </p:nvSpPr>
        <p:spPr/>
        <p:txBody>
          <a:bodyPr/>
          <a:lstStyle/>
          <a:p>
            <a:fld id="{57CBC189-D998-4C47-8DDA-AA904C8A30B8}" type="datetimeFigureOut">
              <a:rPr lang="en-US" smtClean="0"/>
              <a:t>6/19/2021</a:t>
            </a:fld>
            <a:endParaRPr lang="en-US"/>
          </a:p>
        </p:txBody>
      </p:sp>
      <p:sp>
        <p:nvSpPr>
          <p:cNvPr id="5" name="Footer Placeholder 4">
            <a:extLst>
              <a:ext uri="{FF2B5EF4-FFF2-40B4-BE49-F238E27FC236}">
                <a16:creationId xmlns:a16="http://schemas.microsoft.com/office/drawing/2014/main" id="{FD9B6FBE-0247-4B3A-8DF7-AEEEBCE099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D027E3-88B7-456A-B7DC-E41A96CF7957}"/>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9731463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82B18-9B11-4857-B9A8-8E6C09F90AF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360DCD0-614D-4C9F-8E6D-2B1003227BB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136717-4BB6-4678-BF94-CBBC7351B810}"/>
              </a:ext>
            </a:extLst>
          </p:cNvPr>
          <p:cNvSpPr>
            <a:spLocks noGrp="1"/>
          </p:cNvSpPr>
          <p:nvPr>
            <p:ph type="dt" sz="half" idx="10"/>
          </p:nvPr>
        </p:nvSpPr>
        <p:spPr/>
        <p:txBody>
          <a:bodyPr/>
          <a:lstStyle/>
          <a:p>
            <a:fld id="{57CBC189-D998-4C47-8DDA-AA904C8A30B8}" type="datetimeFigureOut">
              <a:rPr lang="en-US" smtClean="0"/>
              <a:t>6/19/2021</a:t>
            </a:fld>
            <a:endParaRPr lang="en-US"/>
          </a:p>
        </p:txBody>
      </p:sp>
      <p:sp>
        <p:nvSpPr>
          <p:cNvPr id="5" name="Footer Placeholder 4">
            <a:extLst>
              <a:ext uri="{FF2B5EF4-FFF2-40B4-BE49-F238E27FC236}">
                <a16:creationId xmlns:a16="http://schemas.microsoft.com/office/drawing/2014/main" id="{6D38A11D-1AB7-4223-8403-23FBE6B902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60866E-7F6B-406E-99DF-15F11D2166A9}"/>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253558565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596157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47414831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36972940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3000" spc="0"/>
            </a:lvl1pPr>
          </a:lstStyle>
          <a:p>
            <a:r>
              <a:rPr lang="en-US" dirty="0"/>
              <a:t>Square photo layout with smaller text</a:t>
            </a:r>
          </a:p>
        </p:txBody>
      </p:sp>
    </p:spTree>
    <p:extLst>
      <p:ext uri="{BB962C8B-B14F-4D97-AF65-F5344CB8AC3E}">
        <p14:creationId xmlns:p14="http://schemas.microsoft.com/office/powerpoint/2010/main" val="144868618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137119742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61358986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7575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1233295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8848819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0797054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595EEF2-7C8C-4860-9A06-275453667E1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E41298D-0B46-47C0-A347-C392C0D918D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EE728E-A86D-4064-80B2-6D9336C8FA55}"/>
              </a:ext>
            </a:extLst>
          </p:cNvPr>
          <p:cNvSpPr>
            <a:spLocks noGrp="1"/>
          </p:cNvSpPr>
          <p:nvPr>
            <p:ph type="dt" sz="half" idx="10"/>
          </p:nvPr>
        </p:nvSpPr>
        <p:spPr/>
        <p:txBody>
          <a:bodyPr/>
          <a:lstStyle/>
          <a:p>
            <a:fld id="{57CBC189-D998-4C47-8DDA-AA904C8A30B8}" type="datetimeFigureOut">
              <a:rPr lang="en-US" smtClean="0"/>
              <a:t>6/19/2021</a:t>
            </a:fld>
            <a:endParaRPr lang="en-US"/>
          </a:p>
        </p:txBody>
      </p:sp>
      <p:sp>
        <p:nvSpPr>
          <p:cNvPr id="5" name="Footer Placeholder 4">
            <a:extLst>
              <a:ext uri="{FF2B5EF4-FFF2-40B4-BE49-F238E27FC236}">
                <a16:creationId xmlns:a16="http://schemas.microsoft.com/office/drawing/2014/main" id="{7335DBD3-8656-4161-AFF6-8C624DBE02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62173B-00EC-4A4F-86DE-1FFEABF1E58D}"/>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394154125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378477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5695358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32126858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858916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02977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427176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05278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59420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2322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26398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1484704"/>
          </a:xfrm>
        </p:spPr>
        <p:txBody>
          <a:bodyPr wrap="square" anchor="t">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6096000" y="0"/>
            <a:ext cx="6096000" cy="68561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6098726"/>
      </p:ext>
    </p:extLst>
  </p:cSld>
  <p:clrMapOvr>
    <a:masterClrMapping/>
  </p:clrMapOvr>
  <p:transition>
    <p:fade/>
  </p:transition>
  <p:extLst>
    <p:ext uri="{DCECCB84-F9BA-43D5-87BE-67443E8EF086}">
      <p15:sldGuideLst xmlns:p15="http://schemas.microsoft.com/office/powerpoint/2012/main">
        <p15:guide id="1" pos="3360">
          <p15:clr>
            <a:srgbClr val="FBAE40"/>
          </p15:clr>
        </p15:guide>
        <p15:guide id="2" pos="384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75426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9296165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242573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875002"/>
            <a:ext cx="4138613" cy="1107996"/>
          </a:xfrm>
        </p:spPr>
        <p:txBody>
          <a:bodyPr vert="horz" wrap="square" lIns="0" tIns="0" rIns="0" bIns="0" rtlCol="0" anchor="ctr">
            <a:spAutoFit/>
          </a:bodyPr>
          <a:lstStyle>
            <a:lvl1pPr>
              <a:defRPr lang="en-US" spc="-49" dirty="0">
                <a:cs typeface="Segoe UI Semilight" panose="020B0402040204020203" pitchFamily="34" charset="0"/>
              </a:defRPr>
            </a:lvl1pPr>
          </a:lstStyle>
          <a:p>
            <a:pPr lvl="0"/>
            <a:r>
              <a:rPr lang="en-US"/>
              <a:t>Square photo layout with body text</a:t>
            </a:r>
          </a:p>
        </p:txBody>
      </p:sp>
    </p:spTree>
    <p:extLst>
      <p:ext uri="{BB962C8B-B14F-4D97-AF65-F5344CB8AC3E}">
        <p14:creationId xmlns:p14="http://schemas.microsoft.com/office/powerpoint/2010/main" val="17279472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9445342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8151657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Smith - 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9657"/>
            <a:ext cx="4795873" cy="1292662"/>
          </a:xfrm>
        </p:spPr>
        <p:txBody>
          <a:bodyPr wrap="square" anchor="t">
            <a:spAutoFit/>
          </a:bodyPr>
          <a:lstStyle>
            <a:lvl1pPr>
              <a:lnSpc>
                <a:spcPct val="100000"/>
              </a:lnSpc>
              <a:defRPr sz="3600" spc="-49" baseline="0">
                <a:gradFill>
                  <a:gsLst>
                    <a:gs pos="1250">
                      <a:schemeClr val="tx1"/>
                    </a:gs>
                    <a:gs pos="100000">
                      <a:schemeClr val="tx1"/>
                    </a:gs>
                  </a:gsLst>
                  <a:lin ang="5400000" scaled="0"/>
                </a:gradFill>
              </a:defRPr>
            </a:lvl1pPr>
          </a:lstStyle>
          <a:p>
            <a:r>
              <a:rPr lang="en-US" dirty="0"/>
              <a:t>Brad Smith square photo layout</a:t>
            </a:r>
          </a:p>
        </p:txBody>
      </p:sp>
    </p:spTree>
    <p:extLst>
      <p:ext uri="{BB962C8B-B14F-4D97-AF65-F5344CB8AC3E}">
        <p14:creationId xmlns:p14="http://schemas.microsoft.com/office/powerpoint/2010/main" val="4139372797"/>
      </p:ext>
    </p:extLst>
  </p:cSld>
  <p:clrMapOvr>
    <a:masterClrMapping/>
  </p:clrMapOvr>
  <p:transition>
    <p:fade/>
  </p:transition>
  <p:extLst>
    <p:ext uri="{DCECCB84-F9BA-43D5-87BE-67443E8EF086}">
      <p15:sldGuideLst xmlns:p15="http://schemas.microsoft.com/office/powerpoint/2012/main">
        <p15:guide id="2" pos="3359">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3" y="2742369"/>
            <a:ext cx="2846838" cy="1673355"/>
          </a:xfrm>
          <a:prstGeom prst="rect">
            <a:avLst/>
          </a:prstGeom>
        </p:spPr>
      </p:pic>
    </p:spTree>
    <p:extLst>
      <p:ext uri="{BB962C8B-B14F-4D97-AF65-F5344CB8AC3E}">
        <p14:creationId xmlns:p14="http://schemas.microsoft.com/office/powerpoint/2010/main" val="1440500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428337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03610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52000540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899043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47508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3B809B1-B8EA-4F85-8CC0-BA1C380E9FB0}"/>
              </a:ext>
            </a:extLst>
          </p:cNvPr>
          <p:cNvSpPr/>
          <p:nvPr userDrawn="1"/>
        </p:nvSpPr>
        <p:spPr bwMode="auto">
          <a:xfrm>
            <a:off x="3186260" y="245097"/>
            <a:ext cx="8762519" cy="3108960"/>
          </a:xfrm>
          <a:prstGeom prst="rect">
            <a:avLst/>
          </a:prstGeom>
          <a:solidFill>
            <a:schemeClr val="bg1"/>
          </a:solidFill>
          <a:ln>
            <a:noFill/>
            <a:headEnd type="none" w="med" len="med"/>
            <a:tailEnd type="none" w="med" len="med"/>
          </a:ln>
          <a:effectLst>
            <a:outerShdw blurRad="736600" sx="102000" sy="102000" algn="ctr" rotWithShape="0">
              <a:schemeClr val="accent2">
                <a:alpha val="4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4" y="2804475"/>
            <a:ext cx="2173789" cy="553998"/>
          </a:xfrm>
        </p:spPr>
        <p:txBody>
          <a:bodyPr/>
          <a:lstStyle/>
          <a:p>
            <a:r>
              <a:rPr lang="en-US"/>
              <a:t>Click to edit</a:t>
            </a:r>
          </a:p>
        </p:txBody>
      </p:sp>
      <p:sp>
        <p:nvSpPr>
          <p:cNvPr id="4" name="Text Placeholder 3"/>
          <p:cNvSpPr>
            <a:spLocks noGrp="1"/>
          </p:cNvSpPr>
          <p:nvPr>
            <p:ph type="body" sz="quarter" idx="10"/>
          </p:nvPr>
        </p:nvSpPr>
        <p:spPr>
          <a:xfrm>
            <a:off x="3516200" y="1556701"/>
            <a:ext cx="2468879" cy="907941"/>
          </a:xfrm>
        </p:spPr>
        <p:txBody>
          <a:bodyPr wrap="square">
            <a:spAutoFit/>
          </a:bodyPr>
          <a:lstStyle>
            <a:lvl1pPr marL="0" indent="0" defTabSz="114300">
              <a:spcBef>
                <a:spcPts val="600"/>
              </a:spcBef>
              <a:spcAft>
                <a:spcPts val="600"/>
              </a:spcAft>
              <a:buNone/>
              <a:defRPr sz="1400"/>
            </a:lvl1pPr>
            <a:lvl2pPr marL="0" indent="0" defTabSz="114300">
              <a:spcBef>
                <a:spcPts val="600"/>
              </a:spcBef>
              <a:spcAft>
                <a:spcPts val="600"/>
              </a:spcAft>
              <a:buNone/>
              <a:defRPr sz="1400"/>
            </a:lvl2pPr>
            <a:lvl3pPr marL="0" indent="0" defTabSz="114300">
              <a:spcBef>
                <a:spcPts val="600"/>
              </a:spcBef>
              <a:spcAft>
                <a:spcPts val="600"/>
              </a:spcAft>
              <a:buNone/>
              <a:defRPr sz="1100"/>
            </a:lvl3pPr>
            <a:lvl4pPr marL="0" indent="0" defTabSz="114300">
              <a:spcBef>
                <a:spcPts val="600"/>
              </a:spcBef>
              <a:spcAft>
                <a:spcPts val="600"/>
              </a:spcAft>
              <a:buNone/>
              <a:defRPr sz="1050"/>
            </a:lvl4pPr>
            <a:lvl5pPr marL="0" indent="0" defTabSz="114300">
              <a:spcBef>
                <a:spcPts val="600"/>
              </a:spcBef>
              <a:spcAft>
                <a:spcPts val="600"/>
              </a:spcAft>
              <a:buNone/>
              <a:defRPr sz="1050"/>
            </a:lvl5pPr>
          </a:lstStyle>
          <a:p>
            <a:pPr lvl="0"/>
            <a:r>
              <a:rPr lang="en-US"/>
              <a:t>Click to edit Master text styles</a:t>
            </a:r>
          </a:p>
          <a:p>
            <a:pPr lvl="1"/>
            <a:r>
              <a:rPr lang="en-US"/>
              <a:t>Second level</a:t>
            </a:r>
          </a:p>
          <a:p>
            <a:pPr lvl="2"/>
            <a:r>
              <a:rPr lang="en-US"/>
              <a:t>Third level</a:t>
            </a:r>
          </a:p>
        </p:txBody>
      </p:sp>
      <p:sp>
        <p:nvSpPr>
          <p:cNvPr id="5" name="Text Placeholder 3">
            <a:extLst>
              <a:ext uri="{FF2B5EF4-FFF2-40B4-BE49-F238E27FC236}">
                <a16:creationId xmlns:a16="http://schemas.microsoft.com/office/drawing/2014/main" id="{E6A2A3C0-1D51-4380-BD6D-1FD1F5A60EDD}"/>
              </a:ext>
            </a:extLst>
          </p:cNvPr>
          <p:cNvSpPr>
            <a:spLocks noGrp="1"/>
          </p:cNvSpPr>
          <p:nvPr>
            <p:ph type="body" sz="quarter" idx="11"/>
          </p:nvPr>
        </p:nvSpPr>
        <p:spPr>
          <a:xfrm>
            <a:off x="6358382" y="1556701"/>
            <a:ext cx="2468879" cy="907941"/>
          </a:xfrm>
        </p:spPr>
        <p:txBody>
          <a:bodyPr wrap="square">
            <a:spAutoFit/>
          </a:bodyPr>
          <a:lstStyle>
            <a:lvl1pPr marL="0" indent="0" defTabSz="114300">
              <a:spcBef>
                <a:spcPts val="600"/>
              </a:spcBef>
              <a:spcAft>
                <a:spcPts val="600"/>
              </a:spcAft>
              <a:buNone/>
              <a:defRPr sz="1400"/>
            </a:lvl1pPr>
            <a:lvl2pPr marL="0" indent="0" defTabSz="114300">
              <a:spcBef>
                <a:spcPts val="600"/>
              </a:spcBef>
              <a:spcAft>
                <a:spcPts val="600"/>
              </a:spcAft>
              <a:buNone/>
              <a:defRPr sz="1400"/>
            </a:lvl2pPr>
            <a:lvl3pPr marL="0" indent="0" defTabSz="114300">
              <a:spcBef>
                <a:spcPts val="600"/>
              </a:spcBef>
              <a:spcAft>
                <a:spcPts val="600"/>
              </a:spcAft>
              <a:buNone/>
              <a:defRPr sz="1100"/>
            </a:lvl3pPr>
            <a:lvl4pPr marL="0" indent="0" defTabSz="114300">
              <a:spcBef>
                <a:spcPts val="600"/>
              </a:spcBef>
              <a:spcAft>
                <a:spcPts val="600"/>
              </a:spcAft>
              <a:buNone/>
              <a:defRPr sz="1050"/>
            </a:lvl4pPr>
            <a:lvl5pPr marL="0" indent="0" defTabSz="114300">
              <a:spcBef>
                <a:spcPts val="600"/>
              </a:spcBef>
              <a:spcAft>
                <a:spcPts val="600"/>
              </a:spcAft>
              <a:buNone/>
              <a:defRPr sz="1050"/>
            </a:lvl5pPr>
          </a:lstStyle>
          <a:p>
            <a:pPr lvl="0"/>
            <a:r>
              <a:rPr lang="en-US"/>
              <a:t>Click to edit Master text styles</a:t>
            </a:r>
          </a:p>
          <a:p>
            <a:pPr lvl="1"/>
            <a:r>
              <a:rPr lang="en-US"/>
              <a:t>Second level</a:t>
            </a:r>
          </a:p>
          <a:p>
            <a:pPr lvl="2"/>
            <a:r>
              <a:rPr lang="en-US"/>
              <a:t>Third level</a:t>
            </a:r>
          </a:p>
        </p:txBody>
      </p:sp>
      <p:sp>
        <p:nvSpPr>
          <p:cNvPr id="6" name="Text Placeholder 3">
            <a:extLst>
              <a:ext uri="{FF2B5EF4-FFF2-40B4-BE49-F238E27FC236}">
                <a16:creationId xmlns:a16="http://schemas.microsoft.com/office/drawing/2014/main" id="{8741DECE-CAC9-40F3-8CD0-5F88B3317715}"/>
              </a:ext>
            </a:extLst>
          </p:cNvPr>
          <p:cNvSpPr>
            <a:spLocks noGrp="1"/>
          </p:cNvSpPr>
          <p:nvPr>
            <p:ph type="body" sz="quarter" idx="12"/>
          </p:nvPr>
        </p:nvSpPr>
        <p:spPr>
          <a:xfrm>
            <a:off x="9200562" y="1556701"/>
            <a:ext cx="2462933" cy="1138773"/>
          </a:xfrm>
        </p:spPr>
        <p:txBody>
          <a:bodyPr wrap="square">
            <a:spAutoFit/>
          </a:bodyPr>
          <a:lstStyle>
            <a:lvl1pPr marL="285750" indent="-285750" defTabSz="114300">
              <a:spcBef>
                <a:spcPts val="600"/>
              </a:spcBef>
              <a:spcAft>
                <a:spcPts val="600"/>
              </a:spcAft>
              <a:buFont typeface="Wingdings" panose="05000000000000000000" pitchFamily="2" charset="2"/>
              <a:buChar char="ü"/>
              <a:defRPr sz="1400">
                <a:solidFill>
                  <a:schemeClr val="accent1"/>
                </a:solidFill>
              </a:defRPr>
            </a:lvl1pPr>
            <a:lvl2pPr marL="0" indent="0" defTabSz="114300">
              <a:spcBef>
                <a:spcPts val="600"/>
              </a:spcBef>
              <a:spcAft>
                <a:spcPts val="600"/>
              </a:spcAft>
              <a:buNone/>
              <a:defRPr sz="1400">
                <a:solidFill>
                  <a:schemeClr val="accent1"/>
                </a:solidFill>
              </a:defRPr>
            </a:lvl2pPr>
            <a:lvl3pPr marL="171450" indent="-171450" defTabSz="114300">
              <a:spcBef>
                <a:spcPts val="600"/>
              </a:spcBef>
              <a:spcAft>
                <a:spcPts val="600"/>
              </a:spcAft>
              <a:buFont typeface="Wingdings" panose="05000000000000000000" pitchFamily="2" charset="2"/>
              <a:buChar char="ü"/>
              <a:defRPr sz="1200">
                <a:solidFill>
                  <a:schemeClr val="accent1"/>
                </a:solidFill>
              </a:defRPr>
            </a:lvl3pPr>
            <a:lvl4pPr marL="0" indent="0" defTabSz="114300">
              <a:spcBef>
                <a:spcPts val="600"/>
              </a:spcBef>
              <a:spcAft>
                <a:spcPts val="600"/>
              </a:spcAft>
              <a:buNone/>
              <a:defRPr sz="1050">
                <a:solidFill>
                  <a:schemeClr val="accent1"/>
                </a:solidFill>
              </a:defRPr>
            </a:lvl4pPr>
            <a:lvl5pPr marL="0" indent="0" defTabSz="114300">
              <a:spcBef>
                <a:spcPts val="600"/>
              </a:spcBef>
              <a:spcAft>
                <a:spcPts val="600"/>
              </a:spcAft>
              <a:buNone/>
              <a:defRPr sz="1050">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9" name="Rectangle 18">
            <a:extLst>
              <a:ext uri="{FF2B5EF4-FFF2-40B4-BE49-F238E27FC236}">
                <a16:creationId xmlns:a16="http://schemas.microsoft.com/office/drawing/2014/main" id="{9EABADD2-E360-4253-BC4E-3EDF28B92109}"/>
              </a:ext>
            </a:extLst>
          </p:cNvPr>
          <p:cNvSpPr/>
          <p:nvPr userDrawn="1"/>
        </p:nvSpPr>
        <p:spPr bwMode="auto">
          <a:xfrm>
            <a:off x="3186260" y="3503944"/>
            <a:ext cx="8762519" cy="3108960"/>
          </a:xfrm>
          <a:prstGeom prst="rect">
            <a:avLst/>
          </a:prstGeom>
          <a:solidFill>
            <a:schemeClr val="bg1"/>
          </a:solidFill>
          <a:ln>
            <a:noFill/>
            <a:headEnd type="none" w="med" len="med"/>
            <a:tailEnd type="none" w="med" len="med"/>
          </a:ln>
          <a:effectLst>
            <a:outerShdw blurRad="736600" sx="102000" sy="102000" algn="ctr" rotWithShape="0">
              <a:schemeClr val="accent2">
                <a:alpha val="4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20" name="Text Placeholder 3">
            <a:extLst>
              <a:ext uri="{FF2B5EF4-FFF2-40B4-BE49-F238E27FC236}">
                <a16:creationId xmlns:a16="http://schemas.microsoft.com/office/drawing/2014/main" id="{F1B2D1F1-6A51-4CE4-B440-5DCEB13FC6CB}"/>
              </a:ext>
            </a:extLst>
          </p:cNvPr>
          <p:cNvSpPr>
            <a:spLocks noGrp="1"/>
          </p:cNvSpPr>
          <p:nvPr>
            <p:ph type="body" sz="quarter" idx="13"/>
          </p:nvPr>
        </p:nvSpPr>
        <p:spPr>
          <a:xfrm>
            <a:off x="3516200" y="4858075"/>
            <a:ext cx="2468879" cy="907941"/>
          </a:xfrm>
        </p:spPr>
        <p:txBody>
          <a:bodyPr wrap="square">
            <a:spAutoFit/>
          </a:bodyPr>
          <a:lstStyle>
            <a:lvl1pPr marL="0" indent="0" defTabSz="114300">
              <a:spcBef>
                <a:spcPts val="600"/>
              </a:spcBef>
              <a:spcAft>
                <a:spcPts val="600"/>
              </a:spcAft>
              <a:buNone/>
              <a:defRPr sz="1400"/>
            </a:lvl1pPr>
            <a:lvl2pPr marL="0" indent="0" defTabSz="114300">
              <a:spcBef>
                <a:spcPts val="600"/>
              </a:spcBef>
              <a:spcAft>
                <a:spcPts val="600"/>
              </a:spcAft>
              <a:buNone/>
              <a:defRPr sz="1400"/>
            </a:lvl2pPr>
            <a:lvl3pPr marL="0" indent="0" defTabSz="114300">
              <a:spcBef>
                <a:spcPts val="600"/>
              </a:spcBef>
              <a:spcAft>
                <a:spcPts val="600"/>
              </a:spcAft>
              <a:buNone/>
              <a:defRPr sz="1100"/>
            </a:lvl3pPr>
            <a:lvl4pPr marL="0" indent="0" defTabSz="114300">
              <a:spcBef>
                <a:spcPts val="600"/>
              </a:spcBef>
              <a:spcAft>
                <a:spcPts val="600"/>
              </a:spcAft>
              <a:buNone/>
              <a:defRPr sz="1050"/>
            </a:lvl4pPr>
            <a:lvl5pPr marL="0" indent="0" defTabSz="114300">
              <a:spcBef>
                <a:spcPts val="600"/>
              </a:spcBef>
              <a:spcAft>
                <a:spcPts val="600"/>
              </a:spcAft>
              <a:buNone/>
              <a:defRPr sz="1050"/>
            </a:lvl5pPr>
          </a:lstStyle>
          <a:p>
            <a:pPr lvl="0"/>
            <a:r>
              <a:rPr lang="en-US"/>
              <a:t>Click to edit Master text styles</a:t>
            </a:r>
          </a:p>
          <a:p>
            <a:pPr lvl="1"/>
            <a:r>
              <a:rPr lang="en-US"/>
              <a:t>Second level</a:t>
            </a:r>
          </a:p>
          <a:p>
            <a:pPr lvl="2"/>
            <a:r>
              <a:rPr lang="en-US"/>
              <a:t>Third level</a:t>
            </a:r>
          </a:p>
        </p:txBody>
      </p:sp>
      <p:sp>
        <p:nvSpPr>
          <p:cNvPr id="21" name="Text Placeholder 3">
            <a:extLst>
              <a:ext uri="{FF2B5EF4-FFF2-40B4-BE49-F238E27FC236}">
                <a16:creationId xmlns:a16="http://schemas.microsoft.com/office/drawing/2014/main" id="{0C6E6505-92AF-4C35-812B-CE9238F563A2}"/>
              </a:ext>
            </a:extLst>
          </p:cNvPr>
          <p:cNvSpPr>
            <a:spLocks noGrp="1"/>
          </p:cNvSpPr>
          <p:nvPr>
            <p:ph type="body" sz="quarter" idx="14"/>
          </p:nvPr>
        </p:nvSpPr>
        <p:spPr>
          <a:xfrm>
            <a:off x="6358382" y="4858075"/>
            <a:ext cx="2468879" cy="907941"/>
          </a:xfrm>
        </p:spPr>
        <p:txBody>
          <a:bodyPr wrap="square">
            <a:spAutoFit/>
          </a:bodyPr>
          <a:lstStyle>
            <a:lvl1pPr marL="0" indent="0" defTabSz="114300">
              <a:spcBef>
                <a:spcPts val="600"/>
              </a:spcBef>
              <a:spcAft>
                <a:spcPts val="600"/>
              </a:spcAft>
              <a:buNone/>
              <a:defRPr sz="1400"/>
            </a:lvl1pPr>
            <a:lvl2pPr marL="0" indent="0" defTabSz="114300">
              <a:spcBef>
                <a:spcPts val="600"/>
              </a:spcBef>
              <a:spcAft>
                <a:spcPts val="600"/>
              </a:spcAft>
              <a:buNone/>
              <a:defRPr sz="1400"/>
            </a:lvl2pPr>
            <a:lvl3pPr marL="0" indent="0" defTabSz="114300">
              <a:spcBef>
                <a:spcPts val="600"/>
              </a:spcBef>
              <a:spcAft>
                <a:spcPts val="600"/>
              </a:spcAft>
              <a:buNone/>
              <a:defRPr sz="1100"/>
            </a:lvl3pPr>
            <a:lvl4pPr marL="0" indent="0" defTabSz="114300">
              <a:spcBef>
                <a:spcPts val="600"/>
              </a:spcBef>
              <a:spcAft>
                <a:spcPts val="600"/>
              </a:spcAft>
              <a:buNone/>
              <a:defRPr sz="1050"/>
            </a:lvl4pPr>
            <a:lvl5pPr marL="0" indent="0" defTabSz="114300">
              <a:spcBef>
                <a:spcPts val="600"/>
              </a:spcBef>
              <a:spcAft>
                <a:spcPts val="600"/>
              </a:spcAft>
              <a:buNone/>
              <a:defRPr sz="1050"/>
            </a:lvl5pPr>
          </a:lstStyle>
          <a:p>
            <a:pPr lvl="0"/>
            <a:r>
              <a:rPr lang="en-US"/>
              <a:t>Click to edit Master text styles</a:t>
            </a:r>
          </a:p>
          <a:p>
            <a:pPr lvl="1"/>
            <a:r>
              <a:rPr lang="en-US"/>
              <a:t>Second level</a:t>
            </a:r>
          </a:p>
          <a:p>
            <a:pPr lvl="2"/>
            <a:r>
              <a:rPr lang="en-US"/>
              <a:t>Third level</a:t>
            </a:r>
          </a:p>
        </p:txBody>
      </p:sp>
      <p:sp>
        <p:nvSpPr>
          <p:cNvPr id="22" name="Text Placeholder 3">
            <a:extLst>
              <a:ext uri="{FF2B5EF4-FFF2-40B4-BE49-F238E27FC236}">
                <a16:creationId xmlns:a16="http://schemas.microsoft.com/office/drawing/2014/main" id="{C96CF200-6741-4956-9C80-1B619AE14E16}"/>
              </a:ext>
            </a:extLst>
          </p:cNvPr>
          <p:cNvSpPr>
            <a:spLocks noGrp="1"/>
          </p:cNvSpPr>
          <p:nvPr>
            <p:ph type="body" sz="quarter" idx="15"/>
          </p:nvPr>
        </p:nvSpPr>
        <p:spPr>
          <a:xfrm>
            <a:off x="9200562" y="4858075"/>
            <a:ext cx="2462933" cy="1138773"/>
          </a:xfrm>
        </p:spPr>
        <p:txBody>
          <a:bodyPr wrap="square">
            <a:spAutoFit/>
          </a:bodyPr>
          <a:lstStyle>
            <a:lvl1pPr marL="285750" indent="-285750" defTabSz="114300">
              <a:spcBef>
                <a:spcPts val="600"/>
              </a:spcBef>
              <a:spcAft>
                <a:spcPts val="600"/>
              </a:spcAft>
              <a:buFont typeface="Wingdings" panose="05000000000000000000" pitchFamily="2" charset="2"/>
              <a:buChar char="ü"/>
              <a:defRPr sz="1400">
                <a:solidFill>
                  <a:schemeClr val="accent1"/>
                </a:solidFill>
              </a:defRPr>
            </a:lvl1pPr>
            <a:lvl2pPr marL="0" indent="0" defTabSz="114300">
              <a:spcBef>
                <a:spcPts val="600"/>
              </a:spcBef>
              <a:spcAft>
                <a:spcPts val="600"/>
              </a:spcAft>
              <a:buNone/>
              <a:defRPr sz="1400">
                <a:solidFill>
                  <a:schemeClr val="accent1"/>
                </a:solidFill>
              </a:defRPr>
            </a:lvl2pPr>
            <a:lvl3pPr marL="171450" indent="-171450" defTabSz="114300">
              <a:spcBef>
                <a:spcPts val="600"/>
              </a:spcBef>
              <a:spcAft>
                <a:spcPts val="600"/>
              </a:spcAft>
              <a:buFont typeface="Wingdings" panose="05000000000000000000" pitchFamily="2" charset="2"/>
              <a:buChar char="ü"/>
              <a:defRPr sz="1200">
                <a:solidFill>
                  <a:schemeClr val="accent1"/>
                </a:solidFill>
              </a:defRPr>
            </a:lvl3pPr>
            <a:lvl4pPr marL="0" indent="0" defTabSz="114300">
              <a:spcBef>
                <a:spcPts val="600"/>
              </a:spcBef>
              <a:spcAft>
                <a:spcPts val="600"/>
              </a:spcAft>
              <a:buNone/>
              <a:defRPr sz="1050">
                <a:solidFill>
                  <a:schemeClr val="accent1"/>
                </a:solidFill>
              </a:defRPr>
            </a:lvl4pPr>
            <a:lvl5pPr marL="0" indent="0" defTabSz="114300">
              <a:spcBef>
                <a:spcPts val="600"/>
              </a:spcBef>
              <a:spcAft>
                <a:spcPts val="600"/>
              </a:spcAft>
              <a:buNone/>
              <a:defRPr sz="1050">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45" name="Freeform: Shape 44">
            <a:extLst>
              <a:ext uri="{FF2B5EF4-FFF2-40B4-BE49-F238E27FC236}">
                <a16:creationId xmlns:a16="http://schemas.microsoft.com/office/drawing/2014/main" id="{A315E0D8-5468-450F-B31B-7DAF885E6962}"/>
              </a:ext>
            </a:extLst>
          </p:cNvPr>
          <p:cNvSpPr>
            <a:spLocks noChangeAspect="1"/>
          </p:cNvSpPr>
          <p:nvPr userDrawn="1"/>
        </p:nvSpPr>
        <p:spPr bwMode="auto">
          <a:xfrm>
            <a:off x="4700286" y="1180620"/>
            <a:ext cx="78579" cy="185801"/>
          </a:xfrm>
          <a:custGeom>
            <a:avLst/>
            <a:gdLst/>
            <a:ahLst/>
            <a:cxnLst/>
            <a:rect l="l" t="t" r="r" b="b"/>
            <a:pathLst>
              <a:path w="337375" h="797728">
                <a:moveTo>
                  <a:pt x="233442" y="0"/>
                </a:moveTo>
                <a:lnTo>
                  <a:pt x="337375" y="0"/>
                </a:lnTo>
                <a:lnTo>
                  <a:pt x="337375" y="797728"/>
                </a:lnTo>
                <a:lnTo>
                  <a:pt x="165967" y="797728"/>
                </a:lnTo>
                <a:lnTo>
                  <a:pt x="165967" y="193718"/>
                </a:lnTo>
                <a:cubicBezTo>
                  <a:pt x="156535" y="202062"/>
                  <a:pt x="145380" y="209952"/>
                  <a:pt x="132502" y="217389"/>
                </a:cubicBezTo>
                <a:cubicBezTo>
                  <a:pt x="119623" y="224826"/>
                  <a:pt x="105929" y="231537"/>
                  <a:pt x="91418" y="237523"/>
                </a:cubicBezTo>
                <a:cubicBezTo>
                  <a:pt x="76907" y="243508"/>
                  <a:pt x="61852" y="248587"/>
                  <a:pt x="46253" y="252759"/>
                </a:cubicBezTo>
                <a:cubicBezTo>
                  <a:pt x="30654" y="256931"/>
                  <a:pt x="15237" y="259924"/>
                  <a:pt x="0" y="261738"/>
                </a:cubicBezTo>
                <a:lnTo>
                  <a:pt x="0" y="116993"/>
                </a:lnTo>
                <a:cubicBezTo>
                  <a:pt x="44621" y="103933"/>
                  <a:pt x="86702" y="87246"/>
                  <a:pt x="126244" y="66931"/>
                </a:cubicBezTo>
                <a:cubicBezTo>
                  <a:pt x="165786" y="46616"/>
                  <a:pt x="201518" y="24306"/>
                  <a:pt x="233442" y="0"/>
                </a:cubicBezTo>
                <a:close/>
              </a:path>
            </a:pathLst>
          </a:custGeom>
          <a:solidFill>
            <a:schemeClr val="accent2">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46" name="Freeform: Shape 45">
            <a:extLst>
              <a:ext uri="{FF2B5EF4-FFF2-40B4-BE49-F238E27FC236}">
                <a16:creationId xmlns:a16="http://schemas.microsoft.com/office/drawing/2014/main" id="{4FCDAB8C-4B38-450B-85F2-B24A95529D10}"/>
              </a:ext>
            </a:extLst>
          </p:cNvPr>
          <p:cNvSpPr>
            <a:spLocks noChangeAspect="1"/>
          </p:cNvSpPr>
          <p:nvPr userDrawn="1"/>
        </p:nvSpPr>
        <p:spPr bwMode="auto">
          <a:xfrm>
            <a:off x="7517450" y="1179668"/>
            <a:ext cx="121163" cy="184786"/>
          </a:xfrm>
          <a:custGeom>
            <a:avLst/>
            <a:gdLst/>
            <a:ahLst/>
            <a:cxnLst/>
            <a:rect l="l" t="t" r="r" b="b"/>
            <a:pathLst>
              <a:path w="520210" h="793375">
                <a:moveTo>
                  <a:pt x="267179" y="0"/>
                </a:moveTo>
                <a:cubicBezTo>
                  <a:pt x="306721" y="0"/>
                  <a:pt x="342181" y="5170"/>
                  <a:pt x="373561" y="15509"/>
                </a:cubicBezTo>
                <a:cubicBezTo>
                  <a:pt x="404940" y="25848"/>
                  <a:pt x="431513" y="40630"/>
                  <a:pt x="453279" y="59857"/>
                </a:cubicBezTo>
                <a:cubicBezTo>
                  <a:pt x="475045" y="79084"/>
                  <a:pt x="491642" y="102392"/>
                  <a:pt x="503069" y="129781"/>
                </a:cubicBezTo>
                <a:cubicBezTo>
                  <a:pt x="514496" y="157170"/>
                  <a:pt x="520210" y="187733"/>
                  <a:pt x="520210" y="221470"/>
                </a:cubicBezTo>
                <a:cubicBezTo>
                  <a:pt x="520210" y="257385"/>
                  <a:pt x="514678" y="289308"/>
                  <a:pt x="503613" y="317241"/>
                </a:cubicBezTo>
                <a:cubicBezTo>
                  <a:pt x="492549" y="345175"/>
                  <a:pt x="477857" y="370568"/>
                  <a:pt x="459537" y="393423"/>
                </a:cubicBezTo>
                <a:cubicBezTo>
                  <a:pt x="441217" y="416277"/>
                  <a:pt x="420086" y="437227"/>
                  <a:pt x="396143" y="456272"/>
                </a:cubicBezTo>
                <a:cubicBezTo>
                  <a:pt x="372200" y="475318"/>
                  <a:pt x="347351" y="493728"/>
                  <a:pt x="321594" y="511504"/>
                </a:cubicBezTo>
                <a:cubicBezTo>
                  <a:pt x="304181" y="523838"/>
                  <a:pt x="287403" y="536081"/>
                  <a:pt x="271260" y="548234"/>
                </a:cubicBezTo>
                <a:cubicBezTo>
                  <a:pt x="255117" y="560387"/>
                  <a:pt x="240878" y="572358"/>
                  <a:pt x="228544" y="584148"/>
                </a:cubicBezTo>
                <a:cubicBezTo>
                  <a:pt x="216210" y="595938"/>
                  <a:pt x="206415" y="607456"/>
                  <a:pt x="199160" y="618702"/>
                </a:cubicBezTo>
                <a:cubicBezTo>
                  <a:pt x="191904" y="629948"/>
                  <a:pt x="188277" y="640650"/>
                  <a:pt x="188277" y="650807"/>
                </a:cubicBezTo>
                <a:lnTo>
                  <a:pt x="519122" y="650807"/>
                </a:lnTo>
                <a:lnTo>
                  <a:pt x="519122" y="793375"/>
                </a:lnTo>
                <a:lnTo>
                  <a:pt x="0" y="793375"/>
                </a:lnTo>
                <a:lnTo>
                  <a:pt x="0" y="734607"/>
                </a:lnTo>
                <a:cubicBezTo>
                  <a:pt x="0" y="694702"/>
                  <a:pt x="6711" y="658879"/>
                  <a:pt x="20133" y="627136"/>
                </a:cubicBezTo>
                <a:cubicBezTo>
                  <a:pt x="33556" y="595394"/>
                  <a:pt x="50425" y="566917"/>
                  <a:pt x="70740" y="541704"/>
                </a:cubicBezTo>
                <a:cubicBezTo>
                  <a:pt x="91055" y="516492"/>
                  <a:pt x="113274" y="494182"/>
                  <a:pt x="137398" y="474774"/>
                </a:cubicBezTo>
                <a:cubicBezTo>
                  <a:pt x="161522" y="455365"/>
                  <a:pt x="184468" y="437862"/>
                  <a:pt x="206234" y="422263"/>
                </a:cubicBezTo>
                <a:cubicBezTo>
                  <a:pt x="229088" y="405938"/>
                  <a:pt x="249131" y="390339"/>
                  <a:pt x="266363" y="375466"/>
                </a:cubicBezTo>
                <a:cubicBezTo>
                  <a:pt x="283594" y="360592"/>
                  <a:pt x="298105" y="345809"/>
                  <a:pt x="309895" y="331117"/>
                </a:cubicBezTo>
                <a:cubicBezTo>
                  <a:pt x="321685" y="316425"/>
                  <a:pt x="330482" y="301552"/>
                  <a:pt x="336286" y="286497"/>
                </a:cubicBezTo>
                <a:cubicBezTo>
                  <a:pt x="342091" y="271442"/>
                  <a:pt x="344993" y="255389"/>
                  <a:pt x="344993" y="238339"/>
                </a:cubicBezTo>
                <a:cubicBezTo>
                  <a:pt x="344993" y="204964"/>
                  <a:pt x="335561" y="179752"/>
                  <a:pt x="316697" y="162702"/>
                </a:cubicBezTo>
                <a:cubicBezTo>
                  <a:pt x="297833" y="145652"/>
                  <a:pt x="268993" y="137127"/>
                  <a:pt x="230176" y="137127"/>
                </a:cubicBezTo>
                <a:cubicBezTo>
                  <a:pt x="163064" y="137127"/>
                  <a:pt x="98854" y="163790"/>
                  <a:pt x="37546" y="217117"/>
                </a:cubicBezTo>
                <a:lnTo>
                  <a:pt x="37546" y="65843"/>
                </a:lnTo>
                <a:cubicBezTo>
                  <a:pt x="105384" y="21948"/>
                  <a:pt x="181928" y="0"/>
                  <a:pt x="267179" y="0"/>
                </a:cubicBezTo>
                <a:close/>
              </a:path>
            </a:pathLst>
          </a:custGeom>
          <a:solidFill>
            <a:schemeClr val="accent2">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47" name="Freeform: Shape 46">
            <a:extLst>
              <a:ext uri="{FF2B5EF4-FFF2-40B4-BE49-F238E27FC236}">
                <a16:creationId xmlns:a16="http://schemas.microsoft.com/office/drawing/2014/main" id="{DD47D6C5-4330-41F7-ACD9-B81D08171A69}"/>
              </a:ext>
            </a:extLst>
          </p:cNvPr>
          <p:cNvSpPr>
            <a:spLocks noChangeAspect="1"/>
          </p:cNvSpPr>
          <p:nvPr userDrawn="1"/>
        </p:nvSpPr>
        <p:spPr bwMode="auto">
          <a:xfrm>
            <a:off x="10363314" y="1182647"/>
            <a:ext cx="115840" cy="187955"/>
          </a:xfrm>
          <a:custGeom>
            <a:avLst/>
            <a:gdLst/>
            <a:ahLst/>
            <a:cxnLst/>
            <a:rect l="l" t="t" r="r" b="b"/>
            <a:pathLst>
              <a:path w="497356" h="806979">
                <a:moveTo>
                  <a:pt x="220926" y="0"/>
                </a:moveTo>
                <a:cubicBezTo>
                  <a:pt x="300735" y="0"/>
                  <a:pt x="362859" y="17957"/>
                  <a:pt x="407298" y="53871"/>
                </a:cubicBezTo>
                <a:cubicBezTo>
                  <a:pt x="451738" y="89785"/>
                  <a:pt x="473957" y="136401"/>
                  <a:pt x="473957" y="193719"/>
                </a:cubicBezTo>
                <a:cubicBezTo>
                  <a:pt x="473957" y="295657"/>
                  <a:pt x="422263" y="359504"/>
                  <a:pt x="318874" y="385260"/>
                </a:cubicBezTo>
                <a:lnTo>
                  <a:pt x="318874" y="387981"/>
                </a:lnTo>
                <a:cubicBezTo>
                  <a:pt x="374014" y="394874"/>
                  <a:pt x="417547" y="414917"/>
                  <a:pt x="449470" y="448110"/>
                </a:cubicBezTo>
                <a:cubicBezTo>
                  <a:pt x="481394" y="481303"/>
                  <a:pt x="497356" y="522024"/>
                  <a:pt x="497356" y="570272"/>
                </a:cubicBezTo>
                <a:cubicBezTo>
                  <a:pt x="497356" y="643189"/>
                  <a:pt x="470692" y="700869"/>
                  <a:pt x="417365" y="743313"/>
                </a:cubicBezTo>
                <a:cubicBezTo>
                  <a:pt x="364038" y="785757"/>
                  <a:pt x="290396" y="806979"/>
                  <a:pt x="196439" y="806979"/>
                </a:cubicBezTo>
                <a:cubicBezTo>
                  <a:pt x="115905" y="806979"/>
                  <a:pt x="50425" y="793919"/>
                  <a:pt x="0" y="767800"/>
                </a:cubicBezTo>
                <a:lnTo>
                  <a:pt x="0" y="618158"/>
                </a:lnTo>
                <a:cubicBezTo>
                  <a:pt x="52239" y="656249"/>
                  <a:pt x="113184" y="675294"/>
                  <a:pt x="182835" y="675294"/>
                </a:cubicBezTo>
                <a:cubicBezTo>
                  <a:pt x="226730" y="675294"/>
                  <a:pt x="260921" y="665862"/>
                  <a:pt x="285408" y="646998"/>
                </a:cubicBezTo>
                <a:cubicBezTo>
                  <a:pt x="309895" y="628134"/>
                  <a:pt x="322138" y="601833"/>
                  <a:pt x="322138" y="568096"/>
                </a:cubicBezTo>
                <a:cubicBezTo>
                  <a:pt x="322138" y="533270"/>
                  <a:pt x="306993" y="506425"/>
                  <a:pt x="276702" y="487561"/>
                </a:cubicBezTo>
                <a:cubicBezTo>
                  <a:pt x="246411" y="468697"/>
                  <a:pt x="204783" y="459265"/>
                  <a:pt x="151819" y="459265"/>
                </a:cubicBezTo>
                <a:lnTo>
                  <a:pt x="79446" y="459265"/>
                </a:lnTo>
                <a:lnTo>
                  <a:pt x="79446" y="327580"/>
                </a:lnTo>
                <a:lnTo>
                  <a:pt x="146377" y="327580"/>
                </a:lnTo>
                <a:cubicBezTo>
                  <a:pt x="247952" y="327580"/>
                  <a:pt x="298740" y="293843"/>
                  <a:pt x="298740" y="226368"/>
                </a:cubicBezTo>
                <a:cubicBezTo>
                  <a:pt x="298740" y="162883"/>
                  <a:pt x="259742" y="131141"/>
                  <a:pt x="181747" y="131141"/>
                </a:cubicBezTo>
                <a:cubicBezTo>
                  <a:pt x="129508" y="131141"/>
                  <a:pt x="78721" y="148010"/>
                  <a:pt x="29384" y="181747"/>
                </a:cubicBezTo>
                <a:lnTo>
                  <a:pt x="29384" y="41356"/>
                </a:lnTo>
                <a:cubicBezTo>
                  <a:pt x="84162" y="13785"/>
                  <a:pt x="148010" y="0"/>
                  <a:pt x="220926" y="0"/>
                </a:cubicBezTo>
                <a:close/>
              </a:path>
            </a:pathLst>
          </a:custGeom>
          <a:solidFill>
            <a:schemeClr val="accent2">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cxnSp>
        <p:nvCxnSpPr>
          <p:cNvPr id="48" name="Straight Connector 47">
            <a:extLst>
              <a:ext uri="{FF2B5EF4-FFF2-40B4-BE49-F238E27FC236}">
                <a16:creationId xmlns:a16="http://schemas.microsoft.com/office/drawing/2014/main" id="{7D5B5AA8-0343-4C38-86DB-4C8DD6C41BC3}"/>
              </a:ext>
            </a:extLst>
          </p:cNvPr>
          <p:cNvCxnSpPr>
            <a:cxnSpLocks/>
          </p:cNvCxnSpPr>
          <p:nvPr userDrawn="1"/>
        </p:nvCxnSpPr>
        <p:spPr>
          <a:xfrm>
            <a:off x="3516200" y="1366421"/>
            <a:ext cx="1041513" cy="0"/>
          </a:xfrm>
          <a:prstGeom prst="line">
            <a:avLst/>
          </a:prstGeom>
          <a:ln>
            <a:solidFill>
              <a:schemeClr val="accent2">
                <a:alpha val="7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AB94A58-30F6-4902-B3F2-E722FC1349C0}"/>
              </a:ext>
            </a:extLst>
          </p:cNvPr>
          <p:cNvCxnSpPr>
            <a:cxnSpLocks/>
          </p:cNvCxnSpPr>
          <p:nvPr userDrawn="1"/>
        </p:nvCxnSpPr>
        <p:spPr>
          <a:xfrm>
            <a:off x="4921438" y="1366421"/>
            <a:ext cx="1063641" cy="0"/>
          </a:xfrm>
          <a:prstGeom prst="line">
            <a:avLst/>
          </a:prstGeom>
          <a:ln>
            <a:solidFill>
              <a:schemeClr val="accent2">
                <a:alpha val="7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63C09C2-B61B-46FD-9615-5454272C6A54}"/>
              </a:ext>
            </a:extLst>
          </p:cNvPr>
          <p:cNvCxnSpPr>
            <a:cxnSpLocks/>
          </p:cNvCxnSpPr>
          <p:nvPr userDrawn="1"/>
        </p:nvCxnSpPr>
        <p:spPr>
          <a:xfrm>
            <a:off x="6354656" y="1364454"/>
            <a:ext cx="1041513" cy="0"/>
          </a:xfrm>
          <a:prstGeom prst="line">
            <a:avLst/>
          </a:prstGeom>
          <a:ln>
            <a:solidFill>
              <a:schemeClr val="accent2">
                <a:alpha val="7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922E1C3-1F44-4AA0-9E6A-D603F95677C6}"/>
              </a:ext>
            </a:extLst>
          </p:cNvPr>
          <p:cNvCxnSpPr>
            <a:cxnSpLocks/>
          </p:cNvCxnSpPr>
          <p:nvPr userDrawn="1"/>
        </p:nvCxnSpPr>
        <p:spPr>
          <a:xfrm>
            <a:off x="7759894" y="1364454"/>
            <a:ext cx="1063641" cy="0"/>
          </a:xfrm>
          <a:prstGeom prst="line">
            <a:avLst/>
          </a:prstGeom>
          <a:ln>
            <a:solidFill>
              <a:schemeClr val="accent2">
                <a:alpha val="7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41C9204-01A2-474E-AF02-A103B9EF9478}"/>
              </a:ext>
            </a:extLst>
          </p:cNvPr>
          <p:cNvCxnSpPr>
            <a:cxnSpLocks/>
          </p:cNvCxnSpPr>
          <p:nvPr userDrawn="1"/>
        </p:nvCxnSpPr>
        <p:spPr>
          <a:xfrm>
            <a:off x="9197859" y="1370602"/>
            <a:ext cx="1041513" cy="0"/>
          </a:xfrm>
          <a:prstGeom prst="line">
            <a:avLst/>
          </a:prstGeom>
          <a:ln>
            <a:solidFill>
              <a:schemeClr val="accent2">
                <a:alpha val="7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C34D557-7C05-4AD4-9340-C508F1B4E2B3}"/>
              </a:ext>
            </a:extLst>
          </p:cNvPr>
          <p:cNvCxnSpPr>
            <a:cxnSpLocks/>
          </p:cNvCxnSpPr>
          <p:nvPr userDrawn="1"/>
        </p:nvCxnSpPr>
        <p:spPr>
          <a:xfrm>
            <a:off x="10603097" y="1370602"/>
            <a:ext cx="1063641" cy="0"/>
          </a:xfrm>
          <a:prstGeom prst="line">
            <a:avLst/>
          </a:prstGeom>
          <a:ln>
            <a:solidFill>
              <a:schemeClr val="accent2">
                <a:alpha val="7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4" name="Freeform: Shape 63">
            <a:extLst>
              <a:ext uri="{FF2B5EF4-FFF2-40B4-BE49-F238E27FC236}">
                <a16:creationId xmlns:a16="http://schemas.microsoft.com/office/drawing/2014/main" id="{CDC17029-63D9-4592-889E-2E5E6121E722}"/>
              </a:ext>
            </a:extLst>
          </p:cNvPr>
          <p:cNvSpPr>
            <a:spLocks noChangeAspect="1"/>
          </p:cNvSpPr>
          <p:nvPr userDrawn="1"/>
        </p:nvSpPr>
        <p:spPr bwMode="auto">
          <a:xfrm>
            <a:off x="4697043" y="4410577"/>
            <a:ext cx="78579" cy="185801"/>
          </a:xfrm>
          <a:custGeom>
            <a:avLst/>
            <a:gdLst/>
            <a:ahLst/>
            <a:cxnLst/>
            <a:rect l="l" t="t" r="r" b="b"/>
            <a:pathLst>
              <a:path w="337375" h="797728">
                <a:moveTo>
                  <a:pt x="233442" y="0"/>
                </a:moveTo>
                <a:lnTo>
                  <a:pt x="337375" y="0"/>
                </a:lnTo>
                <a:lnTo>
                  <a:pt x="337375" y="797728"/>
                </a:lnTo>
                <a:lnTo>
                  <a:pt x="165967" y="797728"/>
                </a:lnTo>
                <a:lnTo>
                  <a:pt x="165967" y="193718"/>
                </a:lnTo>
                <a:cubicBezTo>
                  <a:pt x="156535" y="202062"/>
                  <a:pt x="145380" y="209952"/>
                  <a:pt x="132502" y="217389"/>
                </a:cubicBezTo>
                <a:cubicBezTo>
                  <a:pt x="119623" y="224826"/>
                  <a:pt x="105929" y="231537"/>
                  <a:pt x="91418" y="237523"/>
                </a:cubicBezTo>
                <a:cubicBezTo>
                  <a:pt x="76907" y="243508"/>
                  <a:pt x="61852" y="248587"/>
                  <a:pt x="46253" y="252759"/>
                </a:cubicBezTo>
                <a:cubicBezTo>
                  <a:pt x="30654" y="256931"/>
                  <a:pt x="15237" y="259924"/>
                  <a:pt x="0" y="261738"/>
                </a:cubicBezTo>
                <a:lnTo>
                  <a:pt x="0" y="116993"/>
                </a:lnTo>
                <a:cubicBezTo>
                  <a:pt x="44621" y="103933"/>
                  <a:pt x="86702" y="87246"/>
                  <a:pt x="126244" y="66931"/>
                </a:cubicBezTo>
                <a:cubicBezTo>
                  <a:pt x="165786" y="46616"/>
                  <a:pt x="201518" y="24306"/>
                  <a:pt x="233442" y="0"/>
                </a:cubicBezTo>
                <a:close/>
              </a:path>
            </a:pathLst>
          </a:custGeom>
          <a:solidFill>
            <a:schemeClr val="accent2">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66" name="Freeform: Shape 65">
            <a:extLst>
              <a:ext uri="{FF2B5EF4-FFF2-40B4-BE49-F238E27FC236}">
                <a16:creationId xmlns:a16="http://schemas.microsoft.com/office/drawing/2014/main" id="{B6525BF1-4F62-4602-85D5-85F274289296}"/>
              </a:ext>
            </a:extLst>
          </p:cNvPr>
          <p:cNvSpPr>
            <a:spLocks noChangeAspect="1"/>
          </p:cNvSpPr>
          <p:nvPr userDrawn="1"/>
        </p:nvSpPr>
        <p:spPr bwMode="auto">
          <a:xfrm>
            <a:off x="7514207" y="4409625"/>
            <a:ext cx="121163" cy="184786"/>
          </a:xfrm>
          <a:custGeom>
            <a:avLst/>
            <a:gdLst/>
            <a:ahLst/>
            <a:cxnLst/>
            <a:rect l="l" t="t" r="r" b="b"/>
            <a:pathLst>
              <a:path w="520210" h="793375">
                <a:moveTo>
                  <a:pt x="267179" y="0"/>
                </a:moveTo>
                <a:cubicBezTo>
                  <a:pt x="306721" y="0"/>
                  <a:pt x="342181" y="5170"/>
                  <a:pt x="373561" y="15509"/>
                </a:cubicBezTo>
                <a:cubicBezTo>
                  <a:pt x="404940" y="25848"/>
                  <a:pt x="431513" y="40630"/>
                  <a:pt x="453279" y="59857"/>
                </a:cubicBezTo>
                <a:cubicBezTo>
                  <a:pt x="475045" y="79084"/>
                  <a:pt x="491642" y="102392"/>
                  <a:pt x="503069" y="129781"/>
                </a:cubicBezTo>
                <a:cubicBezTo>
                  <a:pt x="514496" y="157170"/>
                  <a:pt x="520210" y="187733"/>
                  <a:pt x="520210" y="221470"/>
                </a:cubicBezTo>
                <a:cubicBezTo>
                  <a:pt x="520210" y="257385"/>
                  <a:pt x="514678" y="289308"/>
                  <a:pt x="503613" y="317241"/>
                </a:cubicBezTo>
                <a:cubicBezTo>
                  <a:pt x="492549" y="345175"/>
                  <a:pt x="477857" y="370568"/>
                  <a:pt x="459537" y="393423"/>
                </a:cubicBezTo>
                <a:cubicBezTo>
                  <a:pt x="441217" y="416277"/>
                  <a:pt x="420086" y="437227"/>
                  <a:pt x="396143" y="456272"/>
                </a:cubicBezTo>
                <a:cubicBezTo>
                  <a:pt x="372200" y="475318"/>
                  <a:pt x="347351" y="493728"/>
                  <a:pt x="321594" y="511504"/>
                </a:cubicBezTo>
                <a:cubicBezTo>
                  <a:pt x="304181" y="523838"/>
                  <a:pt x="287403" y="536081"/>
                  <a:pt x="271260" y="548234"/>
                </a:cubicBezTo>
                <a:cubicBezTo>
                  <a:pt x="255117" y="560387"/>
                  <a:pt x="240878" y="572358"/>
                  <a:pt x="228544" y="584148"/>
                </a:cubicBezTo>
                <a:cubicBezTo>
                  <a:pt x="216210" y="595938"/>
                  <a:pt x="206415" y="607456"/>
                  <a:pt x="199160" y="618702"/>
                </a:cubicBezTo>
                <a:cubicBezTo>
                  <a:pt x="191904" y="629948"/>
                  <a:pt x="188277" y="640650"/>
                  <a:pt x="188277" y="650807"/>
                </a:cubicBezTo>
                <a:lnTo>
                  <a:pt x="519122" y="650807"/>
                </a:lnTo>
                <a:lnTo>
                  <a:pt x="519122" y="793375"/>
                </a:lnTo>
                <a:lnTo>
                  <a:pt x="0" y="793375"/>
                </a:lnTo>
                <a:lnTo>
                  <a:pt x="0" y="734607"/>
                </a:lnTo>
                <a:cubicBezTo>
                  <a:pt x="0" y="694702"/>
                  <a:pt x="6711" y="658879"/>
                  <a:pt x="20133" y="627136"/>
                </a:cubicBezTo>
                <a:cubicBezTo>
                  <a:pt x="33556" y="595394"/>
                  <a:pt x="50425" y="566917"/>
                  <a:pt x="70740" y="541704"/>
                </a:cubicBezTo>
                <a:cubicBezTo>
                  <a:pt x="91055" y="516492"/>
                  <a:pt x="113274" y="494182"/>
                  <a:pt x="137398" y="474774"/>
                </a:cubicBezTo>
                <a:cubicBezTo>
                  <a:pt x="161522" y="455365"/>
                  <a:pt x="184468" y="437862"/>
                  <a:pt x="206234" y="422263"/>
                </a:cubicBezTo>
                <a:cubicBezTo>
                  <a:pt x="229088" y="405938"/>
                  <a:pt x="249131" y="390339"/>
                  <a:pt x="266363" y="375466"/>
                </a:cubicBezTo>
                <a:cubicBezTo>
                  <a:pt x="283594" y="360592"/>
                  <a:pt x="298105" y="345809"/>
                  <a:pt x="309895" y="331117"/>
                </a:cubicBezTo>
                <a:cubicBezTo>
                  <a:pt x="321685" y="316425"/>
                  <a:pt x="330482" y="301552"/>
                  <a:pt x="336286" y="286497"/>
                </a:cubicBezTo>
                <a:cubicBezTo>
                  <a:pt x="342091" y="271442"/>
                  <a:pt x="344993" y="255389"/>
                  <a:pt x="344993" y="238339"/>
                </a:cubicBezTo>
                <a:cubicBezTo>
                  <a:pt x="344993" y="204964"/>
                  <a:pt x="335561" y="179752"/>
                  <a:pt x="316697" y="162702"/>
                </a:cubicBezTo>
                <a:cubicBezTo>
                  <a:pt x="297833" y="145652"/>
                  <a:pt x="268993" y="137127"/>
                  <a:pt x="230176" y="137127"/>
                </a:cubicBezTo>
                <a:cubicBezTo>
                  <a:pt x="163064" y="137127"/>
                  <a:pt x="98854" y="163790"/>
                  <a:pt x="37546" y="217117"/>
                </a:cubicBezTo>
                <a:lnTo>
                  <a:pt x="37546" y="65843"/>
                </a:lnTo>
                <a:cubicBezTo>
                  <a:pt x="105384" y="21948"/>
                  <a:pt x="181928" y="0"/>
                  <a:pt x="267179" y="0"/>
                </a:cubicBezTo>
                <a:close/>
              </a:path>
            </a:pathLst>
          </a:custGeom>
          <a:solidFill>
            <a:schemeClr val="accent2">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68" name="Freeform: Shape 67">
            <a:extLst>
              <a:ext uri="{FF2B5EF4-FFF2-40B4-BE49-F238E27FC236}">
                <a16:creationId xmlns:a16="http://schemas.microsoft.com/office/drawing/2014/main" id="{7027F962-7B38-4E5F-9DEF-AAB6E94F7D68}"/>
              </a:ext>
            </a:extLst>
          </p:cNvPr>
          <p:cNvSpPr>
            <a:spLocks noChangeAspect="1"/>
          </p:cNvSpPr>
          <p:nvPr userDrawn="1"/>
        </p:nvSpPr>
        <p:spPr bwMode="auto">
          <a:xfrm>
            <a:off x="10360071" y="4412604"/>
            <a:ext cx="115840" cy="187955"/>
          </a:xfrm>
          <a:custGeom>
            <a:avLst/>
            <a:gdLst/>
            <a:ahLst/>
            <a:cxnLst/>
            <a:rect l="l" t="t" r="r" b="b"/>
            <a:pathLst>
              <a:path w="497356" h="806979">
                <a:moveTo>
                  <a:pt x="220926" y="0"/>
                </a:moveTo>
                <a:cubicBezTo>
                  <a:pt x="300735" y="0"/>
                  <a:pt x="362859" y="17957"/>
                  <a:pt x="407298" y="53871"/>
                </a:cubicBezTo>
                <a:cubicBezTo>
                  <a:pt x="451738" y="89785"/>
                  <a:pt x="473957" y="136401"/>
                  <a:pt x="473957" y="193719"/>
                </a:cubicBezTo>
                <a:cubicBezTo>
                  <a:pt x="473957" y="295657"/>
                  <a:pt x="422263" y="359504"/>
                  <a:pt x="318874" y="385260"/>
                </a:cubicBezTo>
                <a:lnTo>
                  <a:pt x="318874" y="387981"/>
                </a:lnTo>
                <a:cubicBezTo>
                  <a:pt x="374014" y="394874"/>
                  <a:pt x="417547" y="414917"/>
                  <a:pt x="449470" y="448110"/>
                </a:cubicBezTo>
                <a:cubicBezTo>
                  <a:pt x="481394" y="481303"/>
                  <a:pt x="497356" y="522024"/>
                  <a:pt x="497356" y="570272"/>
                </a:cubicBezTo>
                <a:cubicBezTo>
                  <a:pt x="497356" y="643189"/>
                  <a:pt x="470692" y="700869"/>
                  <a:pt x="417365" y="743313"/>
                </a:cubicBezTo>
                <a:cubicBezTo>
                  <a:pt x="364038" y="785757"/>
                  <a:pt x="290396" y="806979"/>
                  <a:pt x="196439" y="806979"/>
                </a:cubicBezTo>
                <a:cubicBezTo>
                  <a:pt x="115905" y="806979"/>
                  <a:pt x="50425" y="793919"/>
                  <a:pt x="0" y="767800"/>
                </a:cubicBezTo>
                <a:lnTo>
                  <a:pt x="0" y="618158"/>
                </a:lnTo>
                <a:cubicBezTo>
                  <a:pt x="52239" y="656249"/>
                  <a:pt x="113184" y="675294"/>
                  <a:pt x="182835" y="675294"/>
                </a:cubicBezTo>
                <a:cubicBezTo>
                  <a:pt x="226730" y="675294"/>
                  <a:pt x="260921" y="665862"/>
                  <a:pt x="285408" y="646998"/>
                </a:cubicBezTo>
                <a:cubicBezTo>
                  <a:pt x="309895" y="628134"/>
                  <a:pt x="322138" y="601833"/>
                  <a:pt x="322138" y="568096"/>
                </a:cubicBezTo>
                <a:cubicBezTo>
                  <a:pt x="322138" y="533270"/>
                  <a:pt x="306993" y="506425"/>
                  <a:pt x="276702" y="487561"/>
                </a:cubicBezTo>
                <a:cubicBezTo>
                  <a:pt x="246411" y="468697"/>
                  <a:pt x="204783" y="459265"/>
                  <a:pt x="151819" y="459265"/>
                </a:cubicBezTo>
                <a:lnTo>
                  <a:pt x="79446" y="459265"/>
                </a:lnTo>
                <a:lnTo>
                  <a:pt x="79446" y="327580"/>
                </a:lnTo>
                <a:lnTo>
                  <a:pt x="146377" y="327580"/>
                </a:lnTo>
                <a:cubicBezTo>
                  <a:pt x="247952" y="327580"/>
                  <a:pt x="298740" y="293843"/>
                  <a:pt x="298740" y="226368"/>
                </a:cubicBezTo>
                <a:cubicBezTo>
                  <a:pt x="298740" y="162883"/>
                  <a:pt x="259742" y="131141"/>
                  <a:pt x="181747" y="131141"/>
                </a:cubicBezTo>
                <a:cubicBezTo>
                  <a:pt x="129508" y="131141"/>
                  <a:pt x="78721" y="148010"/>
                  <a:pt x="29384" y="181747"/>
                </a:cubicBezTo>
                <a:lnTo>
                  <a:pt x="29384" y="41356"/>
                </a:lnTo>
                <a:cubicBezTo>
                  <a:pt x="84162" y="13785"/>
                  <a:pt x="148010" y="0"/>
                  <a:pt x="220926" y="0"/>
                </a:cubicBezTo>
                <a:close/>
              </a:path>
            </a:pathLst>
          </a:custGeom>
          <a:solidFill>
            <a:schemeClr val="accent2">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cxnSp>
        <p:nvCxnSpPr>
          <p:cNvPr id="70" name="Straight Connector 69">
            <a:extLst>
              <a:ext uri="{FF2B5EF4-FFF2-40B4-BE49-F238E27FC236}">
                <a16:creationId xmlns:a16="http://schemas.microsoft.com/office/drawing/2014/main" id="{F5E84E11-A348-4FBF-9914-C6A5D22C8632}"/>
              </a:ext>
            </a:extLst>
          </p:cNvPr>
          <p:cNvCxnSpPr>
            <a:cxnSpLocks/>
          </p:cNvCxnSpPr>
          <p:nvPr userDrawn="1"/>
        </p:nvCxnSpPr>
        <p:spPr>
          <a:xfrm>
            <a:off x="3512957" y="4596378"/>
            <a:ext cx="1041513" cy="0"/>
          </a:xfrm>
          <a:prstGeom prst="line">
            <a:avLst/>
          </a:prstGeom>
          <a:ln>
            <a:solidFill>
              <a:schemeClr val="accent2">
                <a:alpha val="7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B6B1023-4D25-47DE-A3C1-653CD8FF3299}"/>
              </a:ext>
            </a:extLst>
          </p:cNvPr>
          <p:cNvCxnSpPr>
            <a:cxnSpLocks/>
          </p:cNvCxnSpPr>
          <p:nvPr userDrawn="1"/>
        </p:nvCxnSpPr>
        <p:spPr>
          <a:xfrm>
            <a:off x="4918195" y="4596378"/>
            <a:ext cx="1063641" cy="0"/>
          </a:xfrm>
          <a:prstGeom prst="line">
            <a:avLst/>
          </a:prstGeom>
          <a:ln>
            <a:solidFill>
              <a:schemeClr val="accent2">
                <a:alpha val="7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AF600A12-DCEC-4A3D-933A-DC0DFCC73597}"/>
              </a:ext>
            </a:extLst>
          </p:cNvPr>
          <p:cNvCxnSpPr>
            <a:cxnSpLocks/>
          </p:cNvCxnSpPr>
          <p:nvPr userDrawn="1"/>
        </p:nvCxnSpPr>
        <p:spPr>
          <a:xfrm>
            <a:off x="6351413" y="4594411"/>
            <a:ext cx="1041513" cy="0"/>
          </a:xfrm>
          <a:prstGeom prst="line">
            <a:avLst/>
          </a:prstGeom>
          <a:ln>
            <a:solidFill>
              <a:schemeClr val="accent2">
                <a:alpha val="7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DA264CA4-0598-42F1-AD51-EA43DE8EE6F6}"/>
              </a:ext>
            </a:extLst>
          </p:cNvPr>
          <p:cNvCxnSpPr>
            <a:cxnSpLocks/>
          </p:cNvCxnSpPr>
          <p:nvPr userDrawn="1"/>
        </p:nvCxnSpPr>
        <p:spPr>
          <a:xfrm>
            <a:off x="7756651" y="4594411"/>
            <a:ext cx="1063641" cy="0"/>
          </a:xfrm>
          <a:prstGeom prst="line">
            <a:avLst/>
          </a:prstGeom>
          <a:ln>
            <a:solidFill>
              <a:schemeClr val="accent2">
                <a:alpha val="7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AA160D5-CEA2-45C8-96CE-55FA8B4C9F6C}"/>
              </a:ext>
            </a:extLst>
          </p:cNvPr>
          <p:cNvCxnSpPr>
            <a:cxnSpLocks/>
          </p:cNvCxnSpPr>
          <p:nvPr userDrawn="1"/>
        </p:nvCxnSpPr>
        <p:spPr>
          <a:xfrm>
            <a:off x="9194616" y="4600559"/>
            <a:ext cx="1041513" cy="0"/>
          </a:xfrm>
          <a:prstGeom prst="line">
            <a:avLst/>
          </a:prstGeom>
          <a:ln>
            <a:solidFill>
              <a:schemeClr val="accent2">
                <a:alpha val="7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9E58219-47D4-46F2-B855-A987437CB308}"/>
              </a:ext>
            </a:extLst>
          </p:cNvPr>
          <p:cNvCxnSpPr>
            <a:cxnSpLocks/>
          </p:cNvCxnSpPr>
          <p:nvPr userDrawn="1"/>
        </p:nvCxnSpPr>
        <p:spPr>
          <a:xfrm>
            <a:off x="10599854" y="4600559"/>
            <a:ext cx="1063641" cy="0"/>
          </a:xfrm>
          <a:prstGeom prst="line">
            <a:avLst/>
          </a:prstGeom>
          <a:ln>
            <a:solidFill>
              <a:schemeClr val="accent2">
                <a:alpha val="7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C2B0BE89-F536-4A1C-A9DA-732C025065F2}"/>
              </a:ext>
            </a:extLst>
          </p:cNvPr>
          <p:cNvSpPr txBox="1"/>
          <p:nvPr userDrawn="1"/>
        </p:nvSpPr>
        <p:spPr>
          <a:xfrm>
            <a:off x="3616082" y="1214470"/>
            <a:ext cx="730969" cy="107722"/>
          </a:xfrm>
          <a:prstGeom prst="rect">
            <a:avLst/>
          </a:prstGeom>
          <a:noFill/>
        </p:spPr>
        <p:txBody>
          <a:bodyPr wrap="none" lIns="0" tIns="0" rIns="0" bIns="0" rtlCol="0">
            <a:spAutoFit/>
          </a:bodyPr>
          <a:lstStyle/>
          <a:p>
            <a:pPr algn="l"/>
            <a:r>
              <a:rPr lang="en-US" sz="700" spc="300">
                <a:solidFill>
                  <a:schemeClr val="accent2">
                    <a:lumMod val="60000"/>
                    <a:lumOff val="40000"/>
                  </a:schemeClr>
                </a:solidFill>
              </a:rPr>
              <a:t>SOLUTION</a:t>
            </a:r>
          </a:p>
        </p:txBody>
      </p:sp>
      <p:sp>
        <p:nvSpPr>
          <p:cNvPr id="82" name="TextBox 81">
            <a:extLst>
              <a:ext uri="{FF2B5EF4-FFF2-40B4-BE49-F238E27FC236}">
                <a16:creationId xmlns:a16="http://schemas.microsoft.com/office/drawing/2014/main" id="{2A8E35D9-C0F4-4297-ACFE-939EB2386152}"/>
              </a:ext>
            </a:extLst>
          </p:cNvPr>
          <p:cNvSpPr txBox="1"/>
          <p:nvPr userDrawn="1"/>
        </p:nvSpPr>
        <p:spPr>
          <a:xfrm>
            <a:off x="9297741" y="1214470"/>
            <a:ext cx="545021" cy="107722"/>
          </a:xfrm>
          <a:prstGeom prst="rect">
            <a:avLst/>
          </a:prstGeom>
          <a:noFill/>
        </p:spPr>
        <p:txBody>
          <a:bodyPr wrap="none" lIns="0" tIns="0" rIns="0" bIns="0" rtlCol="0">
            <a:spAutoFit/>
          </a:bodyPr>
          <a:lstStyle/>
          <a:p>
            <a:pPr algn="l"/>
            <a:r>
              <a:rPr lang="en-US" sz="700" spc="300">
                <a:solidFill>
                  <a:schemeClr val="accent2">
                    <a:lumMod val="60000"/>
                    <a:lumOff val="40000"/>
                  </a:schemeClr>
                </a:solidFill>
              </a:rPr>
              <a:t>IMPACT</a:t>
            </a:r>
          </a:p>
        </p:txBody>
      </p:sp>
      <p:sp>
        <p:nvSpPr>
          <p:cNvPr id="83" name="TextBox 82">
            <a:extLst>
              <a:ext uri="{FF2B5EF4-FFF2-40B4-BE49-F238E27FC236}">
                <a16:creationId xmlns:a16="http://schemas.microsoft.com/office/drawing/2014/main" id="{5F320A91-CAF8-4EDD-A22F-AA5545BF1B48}"/>
              </a:ext>
            </a:extLst>
          </p:cNvPr>
          <p:cNvSpPr txBox="1"/>
          <p:nvPr userDrawn="1"/>
        </p:nvSpPr>
        <p:spPr>
          <a:xfrm>
            <a:off x="6454538" y="1214470"/>
            <a:ext cx="751809" cy="107722"/>
          </a:xfrm>
          <a:prstGeom prst="rect">
            <a:avLst/>
          </a:prstGeom>
          <a:noFill/>
        </p:spPr>
        <p:txBody>
          <a:bodyPr wrap="none" lIns="0" tIns="0" rIns="0" bIns="0" rtlCol="0">
            <a:spAutoFit/>
          </a:bodyPr>
          <a:lstStyle/>
          <a:p>
            <a:pPr algn="l"/>
            <a:r>
              <a:rPr lang="en-US" sz="700" spc="300">
                <a:solidFill>
                  <a:schemeClr val="accent2">
                    <a:lumMod val="60000"/>
                    <a:lumOff val="40000"/>
                  </a:schemeClr>
                </a:solidFill>
              </a:rPr>
              <a:t>PRODUCTS</a:t>
            </a:r>
          </a:p>
        </p:txBody>
      </p:sp>
    </p:spTree>
    <p:extLst>
      <p:ext uri="{BB962C8B-B14F-4D97-AF65-F5344CB8AC3E}">
        <p14:creationId xmlns:p14="http://schemas.microsoft.com/office/powerpoint/2010/main" val="20674988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pos="2208">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090977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1140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9117810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_CENTER TITLE">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5541FCC9-842C-418F-909A-DC0B807C7C73}"/>
              </a:ext>
            </a:extLst>
          </p:cNvPr>
          <p:cNvGrpSpPr/>
          <p:nvPr userDrawn="1"/>
        </p:nvGrpSpPr>
        <p:grpSpPr>
          <a:xfrm>
            <a:off x="7891849" y="532738"/>
            <a:ext cx="3709889" cy="6199652"/>
            <a:chOff x="8110852" y="1114185"/>
            <a:chExt cx="3490886" cy="5517274"/>
          </a:xfrm>
        </p:grpSpPr>
        <p:grpSp>
          <p:nvGrpSpPr>
            <p:cNvPr id="17" name="Group 16">
              <a:extLst>
                <a:ext uri="{FF2B5EF4-FFF2-40B4-BE49-F238E27FC236}">
                  <a16:creationId xmlns:a16="http://schemas.microsoft.com/office/drawing/2014/main" id="{6D896B2D-888E-4846-A395-BFED6E2AFB47}"/>
                </a:ext>
              </a:extLst>
            </p:cNvPr>
            <p:cNvGrpSpPr/>
            <p:nvPr/>
          </p:nvGrpSpPr>
          <p:grpSpPr>
            <a:xfrm>
              <a:off x="8110852" y="1114185"/>
              <a:ext cx="3490886" cy="5517274"/>
              <a:chOff x="8110852" y="1114185"/>
              <a:chExt cx="3490886" cy="5517274"/>
            </a:xfrm>
          </p:grpSpPr>
          <p:sp>
            <p:nvSpPr>
              <p:cNvPr id="19" name="Rectangle: Top Corners Rounded 18">
                <a:extLst>
                  <a:ext uri="{FF2B5EF4-FFF2-40B4-BE49-F238E27FC236}">
                    <a16:creationId xmlns:a16="http://schemas.microsoft.com/office/drawing/2014/main" id="{D02225B9-D475-488B-8CCF-7B8BEF1F4CE8}"/>
                  </a:ext>
                </a:extLst>
              </p:cNvPr>
              <p:cNvSpPr/>
              <p:nvPr/>
            </p:nvSpPr>
            <p:spPr bwMode="auto">
              <a:xfrm rot="5400000">
                <a:off x="11291071" y="1705784"/>
                <a:ext cx="447128" cy="174206"/>
              </a:xfrm>
              <a:prstGeom prst="round2SameRect">
                <a:avLst>
                  <a:gd name="adj1" fmla="val 39667"/>
                  <a:gd name="adj2" fmla="val 0"/>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20" name="Rectangle: Top Corners Rounded 19">
                <a:extLst>
                  <a:ext uri="{FF2B5EF4-FFF2-40B4-BE49-F238E27FC236}">
                    <a16:creationId xmlns:a16="http://schemas.microsoft.com/office/drawing/2014/main" id="{758698A8-65DE-4C47-A21E-2E9A472A8A4F}"/>
                  </a:ext>
                </a:extLst>
              </p:cNvPr>
              <p:cNvSpPr/>
              <p:nvPr/>
            </p:nvSpPr>
            <p:spPr bwMode="auto">
              <a:xfrm rot="5400000">
                <a:off x="11291071" y="2239370"/>
                <a:ext cx="447128" cy="174206"/>
              </a:xfrm>
              <a:prstGeom prst="round2SameRect">
                <a:avLst>
                  <a:gd name="adj1" fmla="val 39667"/>
                  <a:gd name="adj2" fmla="val 0"/>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21" name="Rectangle: Rounded Corners 20">
                <a:extLst>
                  <a:ext uri="{FF2B5EF4-FFF2-40B4-BE49-F238E27FC236}">
                    <a16:creationId xmlns:a16="http://schemas.microsoft.com/office/drawing/2014/main" id="{033AC49F-B078-408C-AC89-255EF5A0646F}"/>
                  </a:ext>
                </a:extLst>
              </p:cNvPr>
              <p:cNvSpPr/>
              <p:nvPr/>
            </p:nvSpPr>
            <p:spPr bwMode="auto">
              <a:xfrm>
                <a:off x="8110852" y="1114185"/>
                <a:ext cx="3456307" cy="5517274"/>
              </a:xfrm>
              <a:prstGeom prst="roundRect">
                <a:avLst>
                  <a:gd name="adj" fmla="val 8698"/>
                </a:avLst>
              </a:prstGeom>
              <a:solidFill>
                <a:schemeClr val="bg1"/>
              </a:solidFill>
              <a:ln>
                <a:noFill/>
                <a:headEnd type="none" w="med" len="med"/>
                <a:tailEnd type="none" w="med" len="me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plastic">
                <a:bevelT w="88900" h="5080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grpSp>
        <p:sp>
          <p:nvSpPr>
            <p:cNvPr id="18" name="Rectangle: Rounded Corners 17">
              <a:extLst>
                <a:ext uri="{FF2B5EF4-FFF2-40B4-BE49-F238E27FC236}">
                  <a16:creationId xmlns:a16="http://schemas.microsoft.com/office/drawing/2014/main" id="{196C0083-6B3E-445E-BF9E-1DA126E8F625}"/>
                </a:ext>
              </a:extLst>
            </p:cNvPr>
            <p:cNvSpPr/>
            <p:nvPr/>
          </p:nvSpPr>
          <p:spPr bwMode="auto">
            <a:xfrm>
              <a:off x="9439231" y="1287397"/>
              <a:ext cx="799549" cy="68154"/>
            </a:xfrm>
            <a:prstGeom prst="roundRect">
              <a:avLst>
                <a:gd name="adj" fmla="val 50000"/>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grpSp>
      <p:sp>
        <p:nvSpPr>
          <p:cNvPr id="6" name="Text Placeholder 5">
            <a:extLst>
              <a:ext uri="{FF2B5EF4-FFF2-40B4-BE49-F238E27FC236}">
                <a16:creationId xmlns:a16="http://schemas.microsoft.com/office/drawing/2014/main" id="{619F8EBF-5E5F-458B-88ED-E3C06EE2172D}"/>
              </a:ext>
            </a:extLst>
          </p:cNvPr>
          <p:cNvSpPr>
            <a:spLocks noGrp="1"/>
          </p:cNvSpPr>
          <p:nvPr>
            <p:ph type="body" sz="quarter" idx="11"/>
          </p:nvPr>
        </p:nvSpPr>
        <p:spPr>
          <a:xfrm>
            <a:off x="480686" y="4620546"/>
            <a:ext cx="7041903" cy="1384328"/>
          </a:xfrm>
          <a:solidFill>
            <a:schemeClr val="bg1">
              <a:alpha val="78000"/>
            </a:schemeClr>
          </a:solidFill>
        </p:spPr>
        <p:txBody>
          <a:bodyPr lIns="365760" tIns="365760" rIns="365760" bIns="365760">
            <a:noAutofit/>
          </a:bodyPr>
          <a:lstStyle>
            <a:lvl1pPr marL="0" indent="0">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14" name="Picture Placeholder 13">
            <a:extLst>
              <a:ext uri="{FF2B5EF4-FFF2-40B4-BE49-F238E27FC236}">
                <a16:creationId xmlns:a16="http://schemas.microsoft.com/office/drawing/2014/main" id="{71410C5B-E06D-476B-AFEA-3A840D79B2CE}"/>
              </a:ext>
            </a:extLst>
          </p:cNvPr>
          <p:cNvSpPr>
            <a:spLocks noGrp="1"/>
          </p:cNvSpPr>
          <p:nvPr>
            <p:ph type="pic" sz="quarter" idx="13"/>
          </p:nvPr>
        </p:nvSpPr>
        <p:spPr>
          <a:xfrm>
            <a:off x="8299589" y="946205"/>
            <a:ext cx="2894408" cy="5158853"/>
          </a:xfrm>
          <a:solidFill>
            <a:schemeClr val="tx1">
              <a:lumMod val="95000"/>
            </a:schemeClr>
          </a:solidFill>
        </p:spPr>
        <p:txBody>
          <a:bodyPr>
            <a:noAutofit/>
          </a:bodyPr>
          <a:lstStyle>
            <a:lvl1pPr>
              <a:defRPr>
                <a:solidFill>
                  <a:sysClr val="windowText" lastClr="000000"/>
                </a:solidFill>
              </a:defRPr>
            </a:lvl1pPr>
          </a:lstStyle>
          <a:p>
            <a:endParaRPr lang="en-US"/>
          </a:p>
        </p:txBody>
      </p:sp>
      <p:sp>
        <p:nvSpPr>
          <p:cNvPr id="8" name="Picture Placeholder 7">
            <a:extLst>
              <a:ext uri="{FF2B5EF4-FFF2-40B4-BE49-F238E27FC236}">
                <a16:creationId xmlns:a16="http://schemas.microsoft.com/office/drawing/2014/main" id="{C95228A4-6F93-4433-9B76-9D9D75944661}"/>
              </a:ext>
            </a:extLst>
          </p:cNvPr>
          <p:cNvSpPr>
            <a:spLocks noGrp="1"/>
          </p:cNvSpPr>
          <p:nvPr>
            <p:ph type="pic" sz="quarter" idx="12"/>
          </p:nvPr>
        </p:nvSpPr>
        <p:spPr>
          <a:xfrm>
            <a:off x="-3249530" y="3525631"/>
            <a:ext cx="1005840" cy="1005840"/>
          </a:xfrm>
          <a:noFill/>
        </p:spPr>
        <p:txBody>
          <a:bodyPr>
            <a:noAutofit/>
          </a:bodyPr>
          <a:lstStyle>
            <a:lvl1pPr>
              <a:defRPr sz="1400">
                <a:solidFill>
                  <a:schemeClr val="tx1"/>
                </a:solidFill>
              </a:defRPr>
            </a:lvl1pPr>
          </a:lstStyle>
          <a:p>
            <a:endParaRPr lang="en-US"/>
          </a:p>
        </p:txBody>
      </p:sp>
      <p:sp>
        <p:nvSpPr>
          <p:cNvPr id="22" name="Title 21">
            <a:extLst>
              <a:ext uri="{FF2B5EF4-FFF2-40B4-BE49-F238E27FC236}">
                <a16:creationId xmlns:a16="http://schemas.microsoft.com/office/drawing/2014/main" id="{4AD43AAB-1093-4295-9CBF-9E3B2547CF6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0034333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CENTER 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19F8EBF-5E5F-458B-88ED-E3C06EE2172D}"/>
              </a:ext>
            </a:extLst>
          </p:cNvPr>
          <p:cNvSpPr>
            <a:spLocks noGrp="1"/>
          </p:cNvSpPr>
          <p:nvPr>
            <p:ph type="body" sz="quarter" idx="11"/>
          </p:nvPr>
        </p:nvSpPr>
        <p:spPr>
          <a:xfrm>
            <a:off x="480686" y="4620546"/>
            <a:ext cx="7041903" cy="1384328"/>
          </a:xfrm>
          <a:solidFill>
            <a:schemeClr val="bg1">
              <a:alpha val="78000"/>
            </a:schemeClr>
          </a:solidFill>
        </p:spPr>
        <p:txBody>
          <a:bodyPr lIns="365760" tIns="365760" rIns="365760" bIns="365760">
            <a:noAutofit/>
          </a:bodyPr>
          <a:lstStyle>
            <a:lvl1pPr marL="0" indent="0">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8" name="Picture Placeholder 7">
            <a:extLst>
              <a:ext uri="{FF2B5EF4-FFF2-40B4-BE49-F238E27FC236}">
                <a16:creationId xmlns:a16="http://schemas.microsoft.com/office/drawing/2014/main" id="{C95228A4-6F93-4433-9B76-9D9D75944661}"/>
              </a:ext>
            </a:extLst>
          </p:cNvPr>
          <p:cNvSpPr>
            <a:spLocks noGrp="1"/>
          </p:cNvSpPr>
          <p:nvPr>
            <p:ph type="pic" sz="quarter" idx="12"/>
          </p:nvPr>
        </p:nvSpPr>
        <p:spPr>
          <a:xfrm>
            <a:off x="-3082215" y="3521585"/>
            <a:ext cx="1005840" cy="1005840"/>
          </a:xfrm>
          <a:noFill/>
        </p:spPr>
        <p:txBody>
          <a:bodyPr>
            <a:noAutofit/>
          </a:bodyPr>
          <a:lstStyle>
            <a:lvl1pPr>
              <a:defRPr sz="1400">
                <a:solidFill>
                  <a:schemeClr val="tx1"/>
                </a:solidFill>
              </a:defRPr>
            </a:lvl1pPr>
          </a:lstStyle>
          <a:p>
            <a:endParaRPr lang="en-US"/>
          </a:p>
        </p:txBody>
      </p:sp>
      <p:sp>
        <p:nvSpPr>
          <p:cNvPr id="2" name="Title 1">
            <a:extLst>
              <a:ext uri="{FF2B5EF4-FFF2-40B4-BE49-F238E27FC236}">
                <a16:creationId xmlns:a16="http://schemas.microsoft.com/office/drawing/2014/main" id="{721D8E4F-8DF8-405E-A054-76502BDA66FF}"/>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2094424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CENTER TITL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8538DE4-70B5-4CC2-B6DA-8363000149C3}"/>
              </a:ext>
            </a:extLst>
          </p:cNvPr>
          <p:cNvSpPr>
            <a:spLocks noGrp="1"/>
          </p:cNvSpPr>
          <p:nvPr>
            <p:ph type="pic" sz="quarter" idx="12"/>
          </p:nvPr>
        </p:nvSpPr>
        <p:spPr>
          <a:xfrm>
            <a:off x="-1" y="1349828"/>
            <a:ext cx="6015789" cy="2394857"/>
          </a:xfrm>
        </p:spPr>
        <p:txBody>
          <a:bodyPr/>
          <a:lstStyle/>
          <a:p>
            <a:endParaRPr lang="en-US"/>
          </a:p>
        </p:txBody>
      </p:sp>
      <p:sp>
        <p:nvSpPr>
          <p:cNvPr id="11" name="Picture Placeholder 4">
            <a:extLst>
              <a:ext uri="{FF2B5EF4-FFF2-40B4-BE49-F238E27FC236}">
                <a16:creationId xmlns:a16="http://schemas.microsoft.com/office/drawing/2014/main" id="{DC8F712F-E28E-4C39-B92D-85D388D3AB05}"/>
              </a:ext>
            </a:extLst>
          </p:cNvPr>
          <p:cNvSpPr>
            <a:spLocks noGrp="1"/>
          </p:cNvSpPr>
          <p:nvPr>
            <p:ph type="pic" sz="quarter" idx="13"/>
          </p:nvPr>
        </p:nvSpPr>
        <p:spPr>
          <a:xfrm>
            <a:off x="6220623" y="1349828"/>
            <a:ext cx="6000746" cy="2394857"/>
          </a:xfrm>
        </p:spPr>
        <p:txBody>
          <a:bodyPr/>
          <a:lstStyle/>
          <a:p>
            <a:endParaRPr lang="en-US"/>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FC3F07A4-40B6-413B-A12D-68C4B6D4676A}"/>
              </a:ext>
            </a:extLst>
          </p:cNvPr>
          <p:cNvSpPr>
            <a:spLocks noGrp="1"/>
          </p:cNvSpPr>
          <p:nvPr>
            <p:ph type="body" sz="quarter" idx="10"/>
          </p:nvPr>
        </p:nvSpPr>
        <p:spPr>
          <a:xfrm>
            <a:off x="15043" y="3983945"/>
            <a:ext cx="6000746" cy="2416855"/>
          </a:xfrm>
          <a:solidFill>
            <a:schemeClr val="bg1">
              <a:alpha val="55000"/>
            </a:schemeClr>
          </a:solidFill>
        </p:spPr>
        <p:txBody>
          <a:bodyPr lIns="457200" tIns="274320" rIns="457200">
            <a:noAutofit/>
          </a:bodyPr>
          <a:lstStyle>
            <a:lvl1pPr marL="0" indent="0">
              <a:spcAft>
                <a:spcPts val="600"/>
              </a:spcAft>
              <a:buNone/>
              <a:defRPr/>
            </a:lvl1pPr>
            <a:lvl2pPr marL="0" indent="0">
              <a:spcAft>
                <a:spcPts val="600"/>
              </a:spcAft>
              <a:buNone/>
              <a:defRPr/>
            </a:lvl2pPr>
            <a:lvl3pPr marL="0" indent="0">
              <a:spcAft>
                <a:spcPts val="600"/>
              </a:spcAft>
              <a:buNone/>
              <a:defRPr/>
            </a:lvl3pPr>
            <a:lvl4pPr marL="0" indent="0">
              <a:spcAft>
                <a:spcPts val="600"/>
              </a:spcAft>
              <a:buNone/>
              <a:defRPr/>
            </a:lvl4pPr>
            <a:lvl5pPr marL="0" indent="0">
              <a:spcBef>
                <a:spcPts val="1200"/>
              </a:spcBef>
              <a:buNone/>
              <a:defRPr lang="en-US" sz="1000" kern="1200" cap="all" spc="300" baseline="0" dirty="0">
                <a:solidFill>
                  <a:schemeClr val="accent2">
                    <a:lumMod val="60000"/>
                    <a:lumOff val="40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EA5F1CA0-36F3-47BA-B619-68BDD345CC54}"/>
              </a:ext>
            </a:extLst>
          </p:cNvPr>
          <p:cNvSpPr>
            <a:spLocks noGrp="1"/>
          </p:cNvSpPr>
          <p:nvPr>
            <p:ph type="body" sz="quarter" idx="11"/>
          </p:nvPr>
        </p:nvSpPr>
        <p:spPr>
          <a:xfrm>
            <a:off x="6228146" y="3983945"/>
            <a:ext cx="5948811" cy="2416855"/>
          </a:xfrm>
          <a:solidFill>
            <a:schemeClr val="bg1">
              <a:alpha val="55000"/>
            </a:schemeClr>
          </a:solidFill>
        </p:spPr>
        <p:txBody>
          <a:bodyPr lIns="457200" tIns="274320" rIns="457200">
            <a:noAutofit/>
          </a:bodyPr>
          <a:lstStyle>
            <a:lvl1pPr marL="0" indent="0">
              <a:spcAft>
                <a:spcPts val="600"/>
              </a:spcAft>
              <a:buNone/>
              <a:defRPr/>
            </a:lvl1pPr>
            <a:lvl2pPr marL="0" indent="0">
              <a:spcAft>
                <a:spcPts val="600"/>
              </a:spcAft>
              <a:buNone/>
              <a:defRPr/>
            </a:lvl2pPr>
            <a:lvl3pPr marL="0" indent="0">
              <a:spcAft>
                <a:spcPts val="600"/>
              </a:spcAft>
              <a:buNone/>
              <a:defRPr/>
            </a:lvl3pPr>
            <a:lvl4pPr marL="0" indent="0">
              <a:spcAft>
                <a:spcPts val="600"/>
              </a:spcAft>
              <a:buNone/>
              <a:defRPr/>
            </a:lvl4pPr>
            <a:lvl5pPr marL="0" indent="0">
              <a:spcBef>
                <a:spcPts val="1200"/>
              </a:spcBef>
              <a:buNone/>
              <a:defRPr lang="en-US" sz="1000" kern="1200" cap="all" spc="300" baseline="0" dirty="0">
                <a:solidFill>
                  <a:schemeClr val="accent2">
                    <a:lumMod val="60000"/>
                    <a:lumOff val="40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ECACD7A2-C133-4DC8-8AC6-01F2652A52AD}"/>
              </a:ext>
            </a:extLst>
          </p:cNvPr>
          <p:cNvSpPr>
            <a:spLocks noGrp="1"/>
          </p:cNvSpPr>
          <p:nvPr>
            <p:ph type="body" sz="quarter" idx="14" hasCustomPrompt="1"/>
          </p:nvPr>
        </p:nvSpPr>
        <p:spPr>
          <a:xfrm>
            <a:off x="-1" y="3548630"/>
            <a:ext cx="6016752" cy="315685"/>
          </a:xfrm>
          <a:solidFill>
            <a:schemeClr val="bg1"/>
          </a:solidFill>
        </p:spPr>
        <p:txBody>
          <a:bodyPr lIns="91440" tIns="27432" rIns="91440" bIns="27432" anchor="ctr"/>
          <a:lstStyle>
            <a:lvl1pPr marL="0" indent="0" algn="ctr">
              <a:buNone/>
              <a:defRPr sz="1200">
                <a:solidFill>
                  <a:schemeClr val="tx1"/>
                </a:solidFill>
                <a:latin typeface="+mj-lt"/>
              </a:defRPr>
            </a:lvl1pPr>
            <a:lvl2pPr marL="228600" indent="0" algn="r">
              <a:buFont typeface="Arial" panose="020B0604020202020204" pitchFamily="34" charset="0"/>
              <a:buNone/>
              <a:defRPr sz="1200">
                <a:solidFill>
                  <a:schemeClr val="accent3"/>
                </a:solidFill>
                <a:latin typeface="+mj-lt"/>
              </a:defRPr>
            </a:lvl2pPr>
            <a:lvl3pPr marL="457200" indent="0" algn="r">
              <a:buNone/>
              <a:defRPr sz="1200">
                <a:solidFill>
                  <a:schemeClr val="bg1"/>
                </a:solidFill>
                <a:latin typeface="+mj-lt"/>
              </a:defRPr>
            </a:lvl3pPr>
            <a:lvl4pPr marL="661988" indent="0" algn="r">
              <a:buNone/>
              <a:defRPr sz="1200">
                <a:solidFill>
                  <a:schemeClr val="accent2"/>
                </a:solidFill>
                <a:latin typeface="+mj-lt"/>
              </a:defRPr>
            </a:lvl4pPr>
            <a:lvl5pPr marL="855663" indent="0" algn="r">
              <a:buNone/>
              <a:defRPr sz="1200">
                <a:solidFill>
                  <a:schemeClr val="accent2">
                    <a:lumMod val="50000"/>
                  </a:schemeClr>
                </a:solidFill>
                <a:latin typeface="+mj-lt"/>
              </a:defRPr>
            </a:lvl5pPr>
          </a:lstStyle>
          <a:p>
            <a:pPr lvl="0"/>
            <a:r>
              <a:rPr lang="en-US"/>
              <a:t>White</a:t>
            </a:r>
          </a:p>
        </p:txBody>
      </p:sp>
      <p:sp>
        <p:nvSpPr>
          <p:cNvPr id="12" name="Text Placeholder 5">
            <a:extLst>
              <a:ext uri="{FF2B5EF4-FFF2-40B4-BE49-F238E27FC236}">
                <a16:creationId xmlns:a16="http://schemas.microsoft.com/office/drawing/2014/main" id="{599CA6FF-15F4-4B90-9254-C8EBC34991A1}"/>
              </a:ext>
            </a:extLst>
          </p:cNvPr>
          <p:cNvSpPr>
            <a:spLocks noGrp="1"/>
          </p:cNvSpPr>
          <p:nvPr>
            <p:ph type="body" sz="quarter" idx="15" hasCustomPrompt="1"/>
          </p:nvPr>
        </p:nvSpPr>
        <p:spPr>
          <a:xfrm>
            <a:off x="6204617" y="3548630"/>
            <a:ext cx="6016752" cy="315685"/>
          </a:xfrm>
          <a:solidFill>
            <a:schemeClr val="bg1"/>
          </a:solidFill>
        </p:spPr>
        <p:txBody>
          <a:bodyPr lIns="91440" tIns="27432" rIns="91440" bIns="27432" anchor="ctr"/>
          <a:lstStyle>
            <a:lvl1pPr marL="0" indent="0" algn="ctr">
              <a:buNone/>
              <a:defRPr sz="1200">
                <a:solidFill>
                  <a:schemeClr val="tx1"/>
                </a:solidFill>
                <a:latin typeface="+mj-lt"/>
              </a:defRPr>
            </a:lvl1pPr>
            <a:lvl2pPr marL="228600" indent="0" algn="r">
              <a:buFont typeface="Arial" panose="020B0604020202020204" pitchFamily="34" charset="0"/>
              <a:buNone/>
              <a:defRPr sz="1200">
                <a:solidFill>
                  <a:schemeClr val="accent3"/>
                </a:solidFill>
                <a:latin typeface="+mj-lt"/>
              </a:defRPr>
            </a:lvl2pPr>
            <a:lvl3pPr marL="457200" indent="0" algn="r">
              <a:buNone/>
              <a:defRPr sz="1200">
                <a:solidFill>
                  <a:schemeClr val="bg1"/>
                </a:solidFill>
                <a:latin typeface="+mj-lt"/>
              </a:defRPr>
            </a:lvl3pPr>
            <a:lvl4pPr marL="661988" indent="0" algn="r">
              <a:buNone/>
              <a:defRPr sz="1200">
                <a:solidFill>
                  <a:schemeClr val="accent2"/>
                </a:solidFill>
                <a:latin typeface="+mj-lt"/>
              </a:defRPr>
            </a:lvl4pPr>
            <a:lvl5pPr marL="855663" indent="0" algn="r">
              <a:buNone/>
              <a:defRPr sz="1200">
                <a:solidFill>
                  <a:schemeClr val="accent2">
                    <a:lumMod val="50000"/>
                  </a:schemeClr>
                </a:solidFill>
                <a:latin typeface="+mj-lt"/>
              </a:defRPr>
            </a:lvl5pPr>
          </a:lstStyle>
          <a:p>
            <a:pPr lvl="0"/>
            <a:r>
              <a:rPr lang="en-US"/>
              <a:t>White</a:t>
            </a:r>
          </a:p>
        </p:txBody>
      </p:sp>
    </p:spTree>
    <p:extLst>
      <p:ext uri="{BB962C8B-B14F-4D97-AF65-F5344CB8AC3E}">
        <p14:creationId xmlns:p14="http://schemas.microsoft.com/office/powerpoint/2010/main" val="42088376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CENTER TITL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8538DE4-70B5-4CC2-B6DA-8363000149C3}"/>
              </a:ext>
            </a:extLst>
          </p:cNvPr>
          <p:cNvSpPr>
            <a:spLocks noGrp="1"/>
          </p:cNvSpPr>
          <p:nvPr>
            <p:ph type="pic" sz="quarter" idx="12"/>
          </p:nvPr>
        </p:nvSpPr>
        <p:spPr>
          <a:xfrm>
            <a:off x="-1" y="0"/>
            <a:ext cx="6015789" cy="6858000"/>
          </a:xfrm>
        </p:spPr>
        <p:txBody>
          <a:bodyPr/>
          <a:lstStyle/>
          <a:p>
            <a:endParaRPr lang="en-US"/>
          </a:p>
        </p:txBody>
      </p:sp>
      <p:sp>
        <p:nvSpPr>
          <p:cNvPr id="11" name="Picture Placeholder 4">
            <a:extLst>
              <a:ext uri="{FF2B5EF4-FFF2-40B4-BE49-F238E27FC236}">
                <a16:creationId xmlns:a16="http://schemas.microsoft.com/office/drawing/2014/main" id="{DC8F712F-E28E-4C39-B92D-85D388D3AB05}"/>
              </a:ext>
            </a:extLst>
          </p:cNvPr>
          <p:cNvSpPr>
            <a:spLocks noGrp="1"/>
          </p:cNvSpPr>
          <p:nvPr>
            <p:ph type="pic" sz="quarter" idx="13"/>
          </p:nvPr>
        </p:nvSpPr>
        <p:spPr>
          <a:xfrm>
            <a:off x="6220623" y="0"/>
            <a:ext cx="6000746" cy="6858000"/>
          </a:xfrm>
        </p:spPr>
        <p:txBody>
          <a:bodyPr/>
          <a:lstStyle/>
          <a:p>
            <a:endParaRPr lang="en-US"/>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FC3F07A4-40B6-413B-A12D-68C4B6D4676A}"/>
              </a:ext>
            </a:extLst>
          </p:cNvPr>
          <p:cNvSpPr>
            <a:spLocks noGrp="1"/>
          </p:cNvSpPr>
          <p:nvPr>
            <p:ph type="body" sz="quarter" idx="10"/>
          </p:nvPr>
        </p:nvSpPr>
        <p:spPr>
          <a:xfrm>
            <a:off x="15043" y="3983945"/>
            <a:ext cx="6000746" cy="2874055"/>
          </a:xfrm>
          <a:solidFill>
            <a:schemeClr val="bg1">
              <a:alpha val="74000"/>
            </a:schemeClr>
          </a:solidFill>
        </p:spPr>
        <p:txBody>
          <a:bodyPr lIns="457200" tIns="274320" rIns="457200">
            <a:noAutofit/>
          </a:bodyPr>
          <a:lstStyle>
            <a:lvl1pPr marL="0" indent="0">
              <a:spcAft>
                <a:spcPts val="600"/>
              </a:spcAft>
              <a:buNone/>
              <a:defRPr/>
            </a:lvl1pPr>
            <a:lvl2pPr marL="0" indent="0">
              <a:spcAft>
                <a:spcPts val="600"/>
              </a:spcAft>
              <a:buNone/>
              <a:defRPr/>
            </a:lvl2pPr>
            <a:lvl3pPr marL="0" indent="0">
              <a:spcAft>
                <a:spcPts val="600"/>
              </a:spcAft>
              <a:buNone/>
              <a:defRPr/>
            </a:lvl3pPr>
            <a:lvl4pPr marL="0" indent="0">
              <a:spcAft>
                <a:spcPts val="600"/>
              </a:spcAft>
              <a:buNone/>
              <a:defRPr/>
            </a:lvl4pPr>
            <a:lvl5pPr marL="0" indent="0">
              <a:spcBef>
                <a:spcPts val="1200"/>
              </a:spcBef>
              <a:buNone/>
              <a:defRPr lang="en-US" sz="1000" kern="1200" cap="all" spc="300" baseline="0" dirty="0">
                <a:solidFill>
                  <a:schemeClr val="accent2">
                    <a:lumMod val="60000"/>
                    <a:lumOff val="40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EA5F1CA0-36F3-47BA-B619-68BDD345CC54}"/>
              </a:ext>
            </a:extLst>
          </p:cNvPr>
          <p:cNvSpPr>
            <a:spLocks noGrp="1"/>
          </p:cNvSpPr>
          <p:nvPr>
            <p:ph type="body" sz="quarter" idx="11"/>
          </p:nvPr>
        </p:nvSpPr>
        <p:spPr>
          <a:xfrm>
            <a:off x="6220623" y="3983945"/>
            <a:ext cx="6000746" cy="2874055"/>
          </a:xfrm>
          <a:solidFill>
            <a:schemeClr val="bg1">
              <a:alpha val="74000"/>
            </a:schemeClr>
          </a:solidFill>
        </p:spPr>
        <p:txBody>
          <a:bodyPr lIns="457200" tIns="274320" rIns="457200">
            <a:noAutofit/>
          </a:bodyPr>
          <a:lstStyle>
            <a:lvl1pPr marL="0" indent="0">
              <a:spcAft>
                <a:spcPts val="600"/>
              </a:spcAft>
              <a:buNone/>
              <a:defRPr/>
            </a:lvl1pPr>
            <a:lvl2pPr marL="0" indent="0">
              <a:spcAft>
                <a:spcPts val="600"/>
              </a:spcAft>
              <a:buNone/>
              <a:defRPr/>
            </a:lvl2pPr>
            <a:lvl3pPr marL="0" indent="0">
              <a:spcAft>
                <a:spcPts val="600"/>
              </a:spcAft>
              <a:buNone/>
              <a:defRPr/>
            </a:lvl3pPr>
            <a:lvl4pPr marL="0" indent="0">
              <a:spcAft>
                <a:spcPts val="600"/>
              </a:spcAft>
              <a:buNone/>
              <a:defRPr/>
            </a:lvl4pPr>
            <a:lvl5pPr marL="0" indent="0">
              <a:spcBef>
                <a:spcPts val="1200"/>
              </a:spcBef>
              <a:buNone/>
              <a:defRPr lang="en-US" sz="1000" kern="1200" cap="all" spc="300" baseline="0" dirty="0">
                <a:solidFill>
                  <a:schemeClr val="accent2">
                    <a:lumMod val="60000"/>
                    <a:lumOff val="40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07727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with photo and tile">
    <p:spTree>
      <p:nvGrpSpPr>
        <p:cNvPr id="1" name=""/>
        <p:cNvGrpSpPr/>
        <p:nvPr/>
      </p:nvGrpSpPr>
      <p:grpSpPr>
        <a:xfrm>
          <a:off x="0" y="0"/>
          <a:ext cx="0" cy="0"/>
          <a:chOff x="0" y="0"/>
          <a:chExt cx="0" cy="0"/>
        </a:xfrm>
      </p:grpSpPr>
      <p:pic>
        <p:nvPicPr>
          <p:cNvPr id="7" name="Picture 6" descr="A person sitting at a table using a computer&#10;&#10;Description generated with high confidence">
            <a:extLst>
              <a:ext uri="{FF2B5EF4-FFF2-40B4-BE49-F238E27FC236}">
                <a16:creationId xmlns:a16="http://schemas.microsoft.com/office/drawing/2014/main" id="{AC14534E-46CD-4303-B862-80358F1BA8C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 y="0"/>
            <a:ext cx="12192000" cy="6858000"/>
          </a:xfrm>
          <a:prstGeom prst="rect">
            <a:avLst/>
          </a:prstGeom>
        </p:spPr>
      </p:pic>
      <p:sp>
        <p:nvSpPr>
          <p:cNvPr id="4" name="Rectangle 3"/>
          <p:cNvSpPr/>
          <p:nvPr userDrawn="1"/>
        </p:nvSpPr>
        <p:spPr bwMode="auto">
          <a:xfrm>
            <a:off x="-2" y="-5304"/>
            <a:ext cx="4526282" cy="6863304"/>
          </a:xfrm>
          <a:prstGeom prst="rect">
            <a:avLst/>
          </a:prstGeom>
          <a:gradFill>
            <a:gsLst>
              <a:gs pos="0">
                <a:schemeClr val="bg1">
                  <a:alpha val="71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6292" y="256398"/>
            <a:ext cx="1829371" cy="673018"/>
          </a:xfrm>
          <a:prstGeom prst="rect">
            <a:avLst/>
          </a:prstGeom>
        </p:spPr>
      </p:pic>
      <p:sp>
        <p:nvSpPr>
          <p:cNvPr id="2" name="Rectangle 1"/>
          <p:cNvSpPr/>
          <p:nvPr userDrawn="1"/>
        </p:nvSpPr>
        <p:spPr bwMode="auto">
          <a:xfrm>
            <a:off x="267682" y="2084172"/>
            <a:ext cx="8125315"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77814"/>
            <a:ext cx="6274911" cy="1793104"/>
          </a:xfrm>
          <a:noFill/>
        </p:spPr>
        <p:txBody>
          <a:bodyPr lIns="146304" tIns="91440" rIns="146304" bIns="91440" anchor="t" anchorCtr="0"/>
          <a:lstStyle>
            <a:lvl1pPr>
              <a:defRPr sz="4704" spc="-98"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8"/>
            <a:ext cx="6276530" cy="651821"/>
          </a:xfrm>
        </p:spPr>
        <p:txBody>
          <a:bodyPr wrap="square" lIns="164592" tIns="109728" rIns="164592" bIns="109728">
            <a:spAutoFit/>
          </a:bodyPr>
          <a:lstStyle>
            <a:lvl1pPr marL="0" indent="0">
              <a:spcBef>
                <a:spcPts val="0"/>
              </a:spcBef>
              <a:buNone/>
              <a:defRPr sz="3136">
                <a:gradFill>
                  <a:gsLst>
                    <a:gs pos="1307">
                      <a:srgbClr val="353535"/>
                    </a:gs>
                    <a:gs pos="30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97364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CENTER TITLE">
    <p:spTree>
      <p:nvGrpSpPr>
        <p:cNvPr id="1" name=""/>
        <p:cNvGrpSpPr/>
        <p:nvPr/>
      </p:nvGrpSpPr>
      <p:grpSpPr>
        <a:xfrm>
          <a:off x="0" y="0"/>
          <a:ext cx="0" cy="0"/>
          <a:chOff x="0" y="0"/>
          <a:chExt cx="0" cy="0"/>
        </a:xfrm>
      </p:grpSpPr>
      <p:pic>
        <p:nvPicPr>
          <p:cNvPr id="12" name="Picture 11" descr="A group of people standing in front of a flat screen tv&#10;&#10;Description automatically generated">
            <a:extLst>
              <a:ext uri="{FF2B5EF4-FFF2-40B4-BE49-F238E27FC236}">
                <a16:creationId xmlns:a16="http://schemas.microsoft.com/office/drawing/2014/main" id="{E02F1B4A-00FD-4E00-AA09-A01B8497FB4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8513" t="1596" r="29898" b="-1596"/>
          <a:stretch/>
        </p:blipFill>
        <p:spPr>
          <a:xfrm>
            <a:off x="-240632" y="-127410"/>
            <a:ext cx="6336632" cy="8290962"/>
          </a:xfrm>
          <a:prstGeom prst="rect">
            <a:avLst/>
          </a:prstGeom>
        </p:spPr>
      </p:pic>
      <p:pic>
        <p:nvPicPr>
          <p:cNvPr id="14" name="Picture 13" descr="A group of people standing in front of a flat screen tv&#10;&#10;Description automatically generated">
            <a:extLst>
              <a:ext uri="{FF2B5EF4-FFF2-40B4-BE49-F238E27FC236}">
                <a16:creationId xmlns:a16="http://schemas.microsoft.com/office/drawing/2014/main" id="{4166B59C-3DEF-4C8D-8A95-4520D285524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8513" t="1596" r="29898" b="-1596"/>
          <a:stretch/>
        </p:blipFill>
        <p:spPr>
          <a:xfrm>
            <a:off x="6292210" y="-127410"/>
            <a:ext cx="6336632" cy="8290962"/>
          </a:xfrm>
          <a:prstGeom prst="rect">
            <a:avLst/>
          </a:prstGeom>
        </p:spPr>
      </p:pic>
      <p:sp>
        <p:nvSpPr>
          <p:cNvPr id="8" name="Rectangle 7">
            <a:extLst>
              <a:ext uri="{FF2B5EF4-FFF2-40B4-BE49-F238E27FC236}">
                <a16:creationId xmlns:a16="http://schemas.microsoft.com/office/drawing/2014/main" id="{899BB821-D08B-409D-A790-2ECF83BE60A4}"/>
              </a:ext>
            </a:extLst>
          </p:cNvPr>
          <p:cNvSpPr/>
          <p:nvPr userDrawn="1"/>
        </p:nvSpPr>
        <p:spPr bwMode="auto">
          <a:xfrm>
            <a:off x="983556" y="1874519"/>
            <a:ext cx="4825573" cy="4338904"/>
          </a:xfrm>
          <a:prstGeom prst="rect">
            <a:avLst/>
          </a:prstGeom>
          <a:solidFill>
            <a:schemeClr val="bg1"/>
          </a:solidFill>
          <a:ln>
            <a:noFill/>
            <a:headEnd type="none" w="med" len="med"/>
            <a:tailEnd type="none" w="med" len="med"/>
          </a:ln>
          <a:effectLst>
            <a:outerShdw blurRad="736600" sx="102000" sy="102000" algn="ctr" rotWithShape="0">
              <a:schemeClr val="accent2">
                <a:alpha val="4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9" name="Rectangle 8">
            <a:extLst>
              <a:ext uri="{FF2B5EF4-FFF2-40B4-BE49-F238E27FC236}">
                <a16:creationId xmlns:a16="http://schemas.microsoft.com/office/drawing/2014/main" id="{7D61A757-FB04-4504-8ACA-385AB5A36B09}"/>
              </a:ext>
            </a:extLst>
          </p:cNvPr>
          <p:cNvSpPr/>
          <p:nvPr userDrawn="1"/>
        </p:nvSpPr>
        <p:spPr bwMode="auto">
          <a:xfrm>
            <a:off x="6382871" y="1874519"/>
            <a:ext cx="4825573" cy="4338904"/>
          </a:xfrm>
          <a:prstGeom prst="rect">
            <a:avLst/>
          </a:prstGeom>
          <a:solidFill>
            <a:schemeClr val="bg1"/>
          </a:solidFill>
          <a:ln>
            <a:noFill/>
            <a:headEnd type="none" w="med" len="med"/>
            <a:tailEnd type="none" w="med" len="med"/>
          </a:ln>
          <a:effectLst>
            <a:outerShdw blurRad="736600" sx="102000" sy="102000" algn="ctr" rotWithShape="0">
              <a:schemeClr val="accent2">
                <a:alpha val="4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FC3F07A4-40B6-413B-A12D-68C4B6D4676A}"/>
              </a:ext>
            </a:extLst>
          </p:cNvPr>
          <p:cNvSpPr>
            <a:spLocks noGrp="1"/>
          </p:cNvSpPr>
          <p:nvPr>
            <p:ph type="body" sz="quarter" idx="10"/>
          </p:nvPr>
        </p:nvSpPr>
        <p:spPr>
          <a:xfrm>
            <a:off x="1337021" y="2825437"/>
            <a:ext cx="4118643" cy="2385268"/>
          </a:xfrm>
        </p:spPr>
        <p:txBody>
          <a:bodyPr/>
          <a:lstStyle>
            <a:lvl1pPr marL="0" indent="0">
              <a:spcAft>
                <a:spcPts val="600"/>
              </a:spcAft>
              <a:buNone/>
              <a:defRPr/>
            </a:lvl1pPr>
            <a:lvl2pPr marL="0" indent="0">
              <a:spcAft>
                <a:spcPts val="600"/>
              </a:spcAft>
              <a:buNone/>
              <a:defRPr/>
            </a:lvl2pPr>
            <a:lvl3pPr marL="0" indent="0">
              <a:spcAft>
                <a:spcPts val="600"/>
              </a:spcAft>
              <a:buNone/>
              <a:defRPr/>
            </a:lvl3pPr>
            <a:lvl4pPr marL="0" indent="0">
              <a:spcAft>
                <a:spcPts val="600"/>
              </a:spcAft>
              <a:buNone/>
              <a:defRPr/>
            </a:lvl4pPr>
            <a:lvl5pPr marL="0" indent="0">
              <a:spcBef>
                <a:spcPts val="1200"/>
              </a:spcBef>
              <a:buNone/>
              <a:defRPr lang="en-US" sz="1000" kern="1200" cap="all" spc="300" baseline="0" dirty="0">
                <a:solidFill>
                  <a:schemeClr val="accent2">
                    <a:lumMod val="60000"/>
                    <a:lumOff val="40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EA5F1CA0-36F3-47BA-B619-68BDD345CC54}"/>
              </a:ext>
            </a:extLst>
          </p:cNvPr>
          <p:cNvSpPr>
            <a:spLocks noGrp="1"/>
          </p:cNvSpPr>
          <p:nvPr>
            <p:ph type="body" sz="quarter" idx="11"/>
          </p:nvPr>
        </p:nvSpPr>
        <p:spPr>
          <a:xfrm>
            <a:off x="6736336" y="2825437"/>
            <a:ext cx="4118643" cy="2385268"/>
          </a:xfrm>
        </p:spPr>
        <p:txBody>
          <a:bodyPr/>
          <a:lstStyle>
            <a:lvl1pPr marL="0" indent="0">
              <a:spcAft>
                <a:spcPts val="600"/>
              </a:spcAft>
              <a:buNone/>
              <a:defRPr/>
            </a:lvl1pPr>
            <a:lvl2pPr marL="0" indent="0">
              <a:spcAft>
                <a:spcPts val="600"/>
              </a:spcAft>
              <a:buNone/>
              <a:defRPr/>
            </a:lvl2pPr>
            <a:lvl3pPr marL="0" indent="0">
              <a:spcAft>
                <a:spcPts val="600"/>
              </a:spcAft>
              <a:buNone/>
              <a:defRPr/>
            </a:lvl3pPr>
            <a:lvl4pPr marL="0" indent="0">
              <a:spcAft>
                <a:spcPts val="600"/>
              </a:spcAft>
              <a:buNone/>
              <a:defRPr/>
            </a:lvl4pPr>
            <a:lvl5pPr marL="0" indent="0">
              <a:spcBef>
                <a:spcPts val="1200"/>
              </a:spcBef>
              <a:buNone/>
              <a:defRPr lang="en-US" sz="1000" kern="1200" cap="all" spc="300" baseline="0" dirty="0">
                <a:solidFill>
                  <a:schemeClr val="accent2">
                    <a:lumMod val="60000"/>
                    <a:lumOff val="40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4225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15071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05047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249406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413260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551867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6589201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6740" y="3275860"/>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327586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6" name="Text Placeholder 3">
            <a:extLst>
              <a:ext uri="{FF2B5EF4-FFF2-40B4-BE49-F238E27FC236}">
                <a16:creationId xmlns:a16="http://schemas.microsoft.com/office/drawing/2014/main" id="{E39268B4-1B27-4929-BA5B-9E03A63FCC4B}"/>
              </a:ext>
            </a:extLst>
          </p:cNvPr>
          <p:cNvSpPr>
            <a:spLocks noGrp="1"/>
          </p:cNvSpPr>
          <p:nvPr>
            <p:ph type="body" sz="quarter" idx="10"/>
          </p:nvPr>
        </p:nvSpPr>
        <p:spPr>
          <a:xfrm>
            <a:off x="586741" y="4472732"/>
            <a:ext cx="6000490" cy="2385268"/>
          </a:xfrm>
        </p:spPr>
        <p:txBody>
          <a:bodyPr/>
          <a:lstStyle>
            <a:lvl1pPr marL="0" indent="0">
              <a:spcAft>
                <a:spcPts val="600"/>
              </a:spcAft>
              <a:buNone/>
              <a:defRPr/>
            </a:lvl1pPr>
            <a:lvl2pPr marL="0" indent="0">
              <a:spcAft>
                <a:spcPts val="600"/>
              </a:spcAft>
              <a:buNone/>
              <a:defRPr/>
            </a:lvl2pPr>
            <a:lvl3pPr marL="0" indent="0">
              <a:spcAft>
                <a:spcPts val="600"/>
              </a:spcAft>
              <a:buNone/>
              <a:defRPr/>
            </a:lvl3pPr>
            <a:lvl4pPr marL="0" indent="0">
              <a:spcAft>
                <a:spcPts val="600"/>
              </a:spcAft>
              <a:buNone/>
              <a:defRPr/>
            </a:lvl4pPr>
            <a:lvl5pPr marL="0" indent="0">
              <a:spcBef>
                <a:spcPts val="1200"/>
              </a:spcBef>
              <a:buNone/>
              <a:defRPr lang="en-US" sz="1000" kern="1200" cap="all" spc="300" baseline="0" dirty="0">
                <a:solidFill>
                  <a:schemeClr val="accent2">
                    <a:lumMod val="60000"/>
                    <a:lumOff val="40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9244230B-F6CD-4074-A77C-AE5154FCCB79}"/>
              </a:ext>
            </a:extLst>
          </p:cNvPr>
          <p:cNvSpPr>
            <a:spLocks noGrp="1"/>
          </p:cNvSpPr>
          <p:nvPr>
            <p:ph type="body" sz="quarter" idx="12"/>
          </p:nvPr>
        </p:nvSpPr>
        <p:spPr>
          <a:xfrm>
            <a:off x="6736336" y="4472732"/>
            <a:ext cx="4868923" cy="2385268"/>
          </a:xfrm>
        </p:spPr>
        <p:txBody>
          <a:bodyPr/>
          <a:lstStyle>
            <a:lvl1pPr marL="0" indent="0">
              <a:spcAft>
                <a:spcPts val="600"/>
              </a:spcAft>
              <a:buNone/>
              <a:defRPr/>
            </a:lvl1pPr>
            <a:lvl2pPr marL="0" indent="0">
              <a:spcAft>
                <a:spcPts val="600"/>
              </a:spcAft>
              <a:buNone/>
              <a:defRPr/>
            </a:lvl2pPr>
            <a:lvl3pPr marL="0" indent="0">
              <a:spcAft>
                <a:spcPts val="600"/>
              </a:spcAft>
              <a:buNone/>
              <a:defRPr/>
            </a:lvl3pPr>
            <a:lvl4pPr marL="0" indent="0">
              <a:spcAft>
                <a:spcPts val="600"/>
              </a:spcAft>
              <a:buNone/>
              <a:defRPr/>
            </a:lvl4pPr>
            <a:lvl5pPr marL="0" indent="0">
              <a:spcBef>
                <a:spcPts val="1200"/>
              </a:spcBef>
              <a:buNone/>
              <a:defRPr lang="en-US" sz="1000" kern="1200" cap="all" spc="300" baseline="0" dirty="0">
                <a:solidFill>
                  <a:schemeClr val="accent2">
                    <a:lumMod val="60000"/>
                    <a:lumOff val="40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44107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7199679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470385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2534979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912101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3686706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17448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2102312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900914"/>
            <a:ext cx="4395629" cy="2215991"/>
          </a:xfrm>
        </p:spPr>
        <p:txBody>
          <a:bodyPr anchor="b"/>
          <a:lstStyle>
            <a:lvl1pPr algn="l">
              <a:defRPr sz="4800"/>
            </a:lvl1pPr>
          </a:lstStyle>
          <a:p>
            <a:r>
              <a:rPr lang="en-US"/>
              <a:t>Click to edit Master title style</a:t>
            </a:r>
          </a:p>
        </p:txBody>
      </p:sp>
      <p:sp>
        <p:nvSpPr>
          <p:cNvPr id="4" name="Text Placeholder 3"/>
          <p:cNvSpPr>
            <a:spLocks noGrp="1"/>
          </p:cNvSpPr>
          <p:nvPr>
            <p:ph type="body" sz="quarter" idx="10"/>
          </p:nvPr>
        </p:nvSpPr>
        <p:spPr>
          <a:xfrm>
            <a:off x="588263" y="3290500"/>
            <a:ext cx="4397502" cy="276999"/>
          </a:xfrm>
        </p:spPr>
        <p:txBody>
          <a:bodyPr wrap="square">
            <a:spAutoFit/>
          </a:bodyPr>
          <a:lstStyle>
            <a:lvl1pPr marL="401638" indent="0">
              <a:spcAft>
                <a:spcPts val="600"/>
              </a:spcAft>
              <a:buNone/>
              <a:defRPr sz="1800">
                <a:solidFill>
                  <a:schemeClr val="accent1"/>
                </a:solidFill>
              </a:defRPr>
            </a:lvl1pPr>
            <a:lvl2pPr marL="228600" indent="0">
              <a:buNone/>
              <a:defRPr sz="1800"/>
            </a:lvl2pPr>
            <a:lvl3pPr marL="457200" indent="0">
              <a:buNone/>
              <a:defRPr sz="1400"/>
            </a:lvl3pPr>
            <a:lvl4pPr marL="685800" indent="0">
              <a:buNone/>
              <a:defRPr sz="1200"/>
            </a:lvl4pPr>
            <a:lvl5pPr marL="914400" indent="0">
              <a:buNone/>
              <a:defRPr sz="1200"/>
            </a:lvl5pPr>
          </a:lstStyle>
          <a:p>
            <a:pPr lvl="0"/>
            <a:r>
              <a:rPr lang="en-US"/>
              <a:t>Click to edit Master text styles</a:t>
            </a:r>
          </a:p>
        </p:txBody>
      </p:sp>
    </p:spTree>
    <p:extLst>
      <p:ext uri="{BB962C8B-B14F-4D97-AF65-F5344CB8AC3E}">
        <p14:creationId xmlns:p14="http://schemas.microsoft.com/office/powerpoint/2010/main" val="27831454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993568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4072198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0903921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23618549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D3006-3666-4EB5-8897-9D748B504AF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BB769D1-4B51-483B-AEAA-1B6996F2198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1A1EF8-DA79-471B-8DDC-E23569FC5CDA}"/>
              </a:ext>
            </a:extLst>
          </p:cNvPr>
          <p:cNvSpPr>
            <a:spLocks noGrp="1"/>
          </p:cNvSpPr>
          <p:nvPr>
            <p:ph type="dt" sz="half" idx="10"/>
          </p:nvPr>
        </p:nvSpPr>
        <p:spPr/>
        <p:txBody>
          <a:bodyPr/>
          <a:lstStyle/>
          <a:p>
            <a:fld id="{57CBC189-D998-4C47-8DDA-AA904C8A30B8}" type="datetimeFigureOut">
              <a:rPr lang="en-US" smtClean="0"/>
              <a:t>6/19/2021</a:t>
            </a:fld>
            <a:endParaRPr lang="en-US"/>
          </a:p>
        </p:txBody>
      </p:sp>
      <p:sp>
        <p:nvSpPr>
          <p:cNvPr id="5" name="Footer Placeholder 4">
            <a:extLst>
              <a:ext uri="{FF2B5EF4-FFF2-40B4-BE49-F238E27FC236}">
                <a16:creationId xmlns:a16="http://schemas.microsoft.com/office/drawing/2014/main" id="{F807D3E6-B754-4A58-AE81-A450F2399A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085C52D-86A2-4F63-807E-1079AC9FBE56}"/>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17647865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5045869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8500602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169530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45508972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7555265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7185103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547318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236971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17569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3437295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C4068-D47C-4D2C-9936-7837137EFBB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A6C7086-29B1-4869-919C-A0CD6BF4E2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A68CF5E-FD86-4660-8EF9-E0C35340B9DB}"/>
              </a:ext>
            </a:extLst>
          </p:cNvPr>
          <p:cNvSpPr>
            <a:spLocks noGrp="1"/>
          </p:cNvSpPr>
          <p:nvPr>
            <p:ph type="dt" sz="half" idx="10"/>
          </p:nvPr>
        </p:nvSpPr>
        <p:spPr/>
        <p:txBody>
          <a:bodyPr/>
          <a:lstStyle/>
          <a:p>
            <a:fld id="{57CBC189-D998-4C47-8DDA-AA904C8A30B8}" type="datetimeFigureOut">
              <a:rPr lang="en-US" smtClean="0"/>
              <a:t>6/19/2021</a:t>
            </a:fld>
            <a:endParaRPr lang="en-US"/>
          </a:p>
        </p:txBody>
      </p:sp>
      <p:sp>
        <p:nvSpPr>
          <p:cNvPr id="5" name="Footer Placeholder 4">
            <a:extLst>
              <a:ext uri="{FF2B5EF4-FFF2-40B4-BE49-F238E27FC236}">
                <a16:creationId xmlns:a16="http://schemas.microsoft.com/office/drawing/2014/main" id="{400EF270-BC22-41A3-BC04-EFD04F449F7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0B6A4D-7B3F-44F4-BCA4-15B171E6EAD3}"/>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26771818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845417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5770821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02224654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40325384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6047496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60808962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676067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838573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6717848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78880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1F5900-C794-4DEF-9D87-6B70ABE77FB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601F73D-98B5-4B60-99E8-715778910E8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422F5E1-BDD4-47DC-85A6-04E28E71097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D3267B0-9B77-435F-A49F-E86D875209A1}"/>
              </a:ext>
            </a:extLst>
          </p:cNvPr>
          <p:cNvSpPr>
            <a:spLocks noGrp="1"/>
          </p:cNvSpPr>
          <p:nvPr>
            <p:ph type="dt" sz="half" idx="10"/>
          </p:nvPr>
        </p:nvSpPr>
        <p:spPr/>
        <p:txBody>
          <a:bodyPr/>
          <a:lstStyle/>
          <a:p>
            <a:fld id="{57CBC189-D998-4C47-8DDA-AA904C8A30B8}" type="datetimeFigureOut">
              <a:rPr lang="en-US" smtClean="0"/>
              <a:t>6/19/2021</a:t>
            </a:fld>
            <a:endParaRPr lang="en-US"/>
          </a:p>
        </p:txBody>
      </p:sp>
      <p:sp>
        <p:nvSpPr>
          <p:cNvPr id="6" name="Footer Placeholder 5">
            <a:extLst>
              <a:ext uri="{FF2B5EF4-FFF2-40B4-BE49-F238E27FC236}">
                <a16:creationId xmlns:a16="http://schemas.microsoft.com/office/drawing/2014/main" id="{689EFD22-6B34-4D98-B486-8A6CA795DB4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FD0FBE2-4A44-4523-81DF-788C508220AD}"/>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17847615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2D55180-0909-42ED-8167-63BEEE35931B}"/>
              </a:ext>
            </a:extLst>
          </p:cNvPr>
          <p:cNvSpPr>
            <a:spLocks noGrp="1"/>
          </p:cNvSpPr>
          <p:nvPr>
            <p:ph type="dt" sz="half" idx="10"/>
          </p:nvPr>
        </p:nvSpPr>
        <p:spPr/>
        <p:txBody>
          <a:bodyPr/>
          <a:lstStyle/>
          <a:p>
            <a:fld id="{7667E43D-6B91-4DD4-9FDE-1AECA6C41536}" type="datetimeFigureOut">
              <a:rPr lang="en-US" smtClean="0"/>
              <a:t>6/19/2021</a:t>
            </a:fld>
            <a:endParaRPr lang="en-US"/>
          </a:p>
        </p:txBody>
      </p:sp>
      <p:sp>
        <p:nvSpPr>
          <p:cNvPr id="3" name="Footer Placeholder 2">
            <a:extLst>
              <a:ext uri="{FF2B5EF4-FFF2-40B4-BE49-F238E27FC236}">
                <a16:creationId xmlns:a16="http://schemas.microsoft.com/office/drawing/2014/main" id="{F975014B-6D49-43F4-B803-0FB7F638C31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D5F936-DC54-48EA-89FA-472A0BC4B249}"/>
              </a:ext>
            </a:extLst>
          </p:cNvPr>
          <p:cNvSpPr>
            <a:spLocks noGrp="1"/>
          </p:cNvSpPr>
          <p:nvPr>
            <p:ph type="sldNum" sz="quarter" idx="12"/>
          </p:nvPr>
        </p:nvSpPr>
        <p:spPr/>
        <p:txBody>
          <a:bodyPr/>
          <a:lstStyle/>
          <a:p>
            <a:fld id="{C749E6A1-72B9-4780-B7E1-E265CE43DDC7}" type="slidenum">
              <a:rPr lang="en-US" smtClean="0"/>
              <a:t>‹#›</a:t>
            </a:fld>
            <a:endParaRPr lang="en-US"/>
          </a:p>
        </p:txBody>
      </p:sp>
    </p:spTree>
    <p:extLst>
      <p:ext uri="{BB962C8B-B14F-4D97-AF65-F5344CB8AC3E}">
        <p14:creationId xmlns:p14="http://schemas.microsoft.com/office/powerpoint/2010/main" val="35320571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59343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MSFT_Title_Only">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6" y="302551"/>
            <a:ext cx="11336039" cy="602612"/>
          </a:xfrm>
          <a:prstGeom prst="rect">
            <a:avLst/>
          </a:prstGeom>
        </p:spPr>
        <p:txBody>
          <a:bodyPr vert="horz" wrap="square" lIns="0" tIns="0" rIns="0" bIns="0" rtlCol="0" anchor="t">
            <a:noAutofit/>
          </a:bodyPr>
          <a:lstStyle>
            <a:lvl1pPr>
              <a:defRPr b="1">
                <a:solidFill>
                  <a:srgbClr val="000000"/>
                </a:solidFill>
                <a:latin typeface="Segoe UI" panose="020B0502040204020203" pitchFamily="34" charset="0"/>
                <a:cs typeface="Segoe UI" panose="020B0502040204020203" pitchFamily="34" charset="0"/>
              </a:defRPr>
            </a:lvl1pPr>
          </a:lstStyle>
          <a:p>
            <a:r>
              <a:rPr lang="en-US"/>
              <a:t>Heading Segoe UI </a:t>
            </a:r>
            <a:r>
              <a:rPr lang="en-US" err="1"/>
              <a:t>Semibold</a:t>
            </a:r>
            <a:r>
              <a:rPr lang="en-US"/>
              <a:t> 44pt</a:t>
            </a:r>
          </a:p>
        </p:txBody>
      </p:sp>
    </p:spTree>
    <p:extLst>
      <p:ext uri="{BB962C8B-B14F-4D97-AF65-F5344CB8AC3E}">
        <p14:creationId xmlns:p14="http://schemas.microsoft.com/office/powerpoint/2010/main" val="20127044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C51EC5-3FF0-4681-B1FD-C713762B3BE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6DDD564-C0F4-4708-BF8F-4DEC59594C78}"/>
              </a:ext>
            </a:extLst>
          </p:cNvPr>
          <p:cNvSpPr>
            <a:spLocks noGrp="1"/>
          </p:cNvSpPr>
          <p:nvPr>
            <p:ph type="dt" sz="half" idx="10"/>
          </p:nvPr>
        </p:nvSpPr>
        <p:spPr/>
        <p:txBody>
          <a:bodyPr/>
          <a:lstStyle/>
          <a:p>
            <a:fld id="{57CBC189-D998-4C47-8DDA-AA904C8A30B8}" type="datetimeFigureOut">
              <a:rPr lang="en-US" smtClean="0"/>
              <a:t>6/19/2021</a:t>
            </a:fld>
            <a:endParaRPr lang="en-US"/>
          </a:p>
        </p:txBody>
      </p:sp>
      <p:sp>
        <p:nvSpPr>
          <p:cNvPr id="4" name="Footer Placeholder 3">
            <a:extLst>
              <a:ext uri="{FF2B5EF4-FFF2-40B4-BE49-F238E27FC236}">
                <a16:creationId xmlns:a16="http://schemas.microsoft.com/office/drawing/2014/main" id="{BAA5AF62-4779-433D-ACC5-AD120062996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0D3940C-D095-4D76-8283-60EE5B51C1A0}"/>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39894825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7310" y="241380"/>
            <a:ext cx="1279717" cy="573660"/>
          </a:xfrm>
          <a:prstGeom prst="rect">
            <a:avLst/>
          </a:prstGeom>
        </p:spPr>
      </p:pic>
    </p:spTree>
    <p:extLst>
      <p:ext uri="{BB962C8B-B14F-4D97-AF65-F5344CB8AC3E}">
        <p14:creationId xmlns:p14="http://schemas.microsoft.com/office/powerpoint/2010/main" val="7737485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3899972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586394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67499832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302551"/>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8020178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91608"/>
            <a:ext cx="11339774" cy="271592"/>
          </a:xfrm>
        </p:spPr>
        <p:txBody>
          <a:bodyPr wrap="square" lIns="0" tIns="0" rIns="0" bIns="0">
            <a:spAutoFit/>
          </a:bodyPr>
          <a:lstStyle>
            <a:lvl1pPr marL="0" indent="0">
              <a:lnSpc>
                <a:spcPct val="90000"/>
              </a:lnSpc>
              <a:spcBef>
                <a:spcPts val="0"/>
              </a:spcBef>
              <a:spcAft>
                <a:spcPts val="1274"/>
              </a:spcAft>
              <a:buNone/>
              <a:defRPr sz="1961"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a:t>
            </a:r>
          </a:p>
        </p:txBody>
      </p:sp>
    </p:spTree>
    <p:extLst>
      <p:ext uri="{BB962C8B-B14F-4D97-AF65-F5344CB8AC3E}">
        <p14:creationId xmlns:p14="http://schemas.microsoft.com/office/powerpoint/2010/main" val="166815173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D8A29-6CD7-4943-9BDB-6305AF1B13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DCE5E34-31B7-4849-A4E5-79DA9912FBC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516BBFC-20BC-42FB-9E9B-DF43BB1C9F34}"/>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96432C2-6AFB-43BA-AFA9-0BF16CB049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1E38CE5-A6EF-4EEB-95F5-F23D3BE4ADD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6B39824-E6D2-46D5-8A82-D9130D6E768C}"/>
              </a:ext>
            </a:extLst>
          </p:cNvPr>
          <p:cNvSpPr>
            <a:spLocks noGrp="1"/>
          </p:cNvSpPr>
          <p:nvPr>
            <p:ph type="dt" sz="half" idx="10"/>
          </p:nvPr>
        </p:nvSpPr>
        <p:spPr/>
        <p:txBody>
          <a:bodyPr/>
          <a:lstStyle/>
          <a:p>
            <a:fld id="{57CBC189-D998-4C47-8DDA-AA904C8A30B8}" type="datetimeFigureOut">
              <a:rPr lang="en-US" smtClean="0"/>
              <a:t>6/19/2021</a:t>
            </a:fld>
            <a:endParaRPr lang="en-US"/>
          </a:p>
        </p:txBody>
      </p:sp>
      <p:sp>
        <p:nvSpPr>
          <p:cNvPr id="8" name="Footer Placeholder 7">
            <a:extLst>
              <a:ext uri="{FF2B5EF4-FFF2-40B4-BE49-F238E27FC236}">
                <a16:creationId xmlns:a16="http://schemas.microsoft.com/office/drawing/2014/main" id="{1080B002-8C5D-4395-B9E8-C7810249A8F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ECAE577-27B3-4E1F-9412-9A6EB120330F}"/>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20495810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766785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43638109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26113473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74497059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27418118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77797051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0680402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8590043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357344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92603368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C51EC5-3FF0-4681-B1FD-C713762B3BE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6DDD564-C0F4-4708-BF8F-4DEC59594C78}"/>
              </a:ext>
            </a:extLst>
          </p:cNvPr>
          <p:cNvSpPr>
            <a:spLocks noGrp="1"/>
          </p:cNvSpPr>
          <p:nvPr>
            <p:ph type="dt" sz="half" idx="10"/>
          </p:nvPr>
        </p:nvSpPr>
        <p:spPr/>
        <p:txBody>
          <a:bodyPr/>
          <a:lstStyle/>
          <a:p>
            <a:fld id="{57CBC189-D998-4C47-8DDA-AA904C8A30B8}" type="datetimeFigureOut">
              <a:rPr lang="en-US" smtClean="0"/>
              <a:t>6/19/2021</a:t>
            </a:fld>
            <a:endParaRPr lang="en-US"/>
          </a:p>
        </p:txBody>
      </p:sp>
      <p:sp>
        <p:nvSpPr>
          <p:cNvPr id="4" name="Footer Placeholder 3">
            <a:extLst>
              <a:ext uri="{FF2B5EF4-FFF2-40B4-BE49-F238E27FC236}">
                <a16:creationId xmlns:a16="http://schemas.microsoft.com/office/drawing/2014/main" id="{BAA5AF62-4779-433D-ACC5-AD120062996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0D3940C-D095-4D76-8283-60EE5B51C1A0}"/>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29931168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19321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757896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396287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Only st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D0DDC16-BBB9-486F-A6F2-9C2AED9A5532}"/>
              </a:ext>
            </a:extLst>
          </p:cNvPr>
          <p:cNvSpPr/>
          <p:nvPr userDrawn="1"/>
        </p:nvSpPr>
        <p:spPr>
          <a:xfrm>
            <a:off x="-1" y="-7782"/>
            <a:ext cx="6096000" cy="6865783"/>
          </a:xfrm>
          <a:prstGeom prst="rect">
            <a:avLst/>
          </a:prstGeom>
          <a:solidFill>
            <a:schemeClr val="tx2">
              <a:alpha val="7000"/>
            </a:schemeClr>
          </a:solidFill>
          <a:ln w="12700" cap="flat" cmpd="sng" algn="ctr">
            <a:noFill/>
            <a:prstDash val="solid"/>
            <a:miter lim="800000"/>
          </a:ln>
          <a:effectLst/>
        </p:spPr>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69240" y="289514"/>
            <a:ext cx="5602653" cy="554061"/>
          </a:xfrm>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152487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2764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57799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_Title with photo and tile">
    <p:spTree>
      <p:nvGrpSpPr>
        <p:cNvPr id="1" name=""/>
        <p:cNvGrpSpPr/>
        <p:nvPr/>
      </p:nvGrpSpPr>
      <p:grpSpPr>
        <a:xfrm>
          <a:off x="0" y="0"/>
          <a:ext cx="0" cy="0"/>
          <a:chOff x="0" y="0"/>
          <a:chExt cx="0" cy="0"/>
        </a:xfrm>
      </p:grpSpPr>
      <p:pic>
        <p:nvPicPr>
          <p:cNvPr id="7" name="Picture 6" descr="A person sitting at a table using a computer&#10;&#10;Description generated with high confidence">
            <a:extLst>
              <a:ext uri="{FF2B5EF4-FFF2-40B4-BE49-F238E27FC236}">
                <a16:creationId xmlns:a16="http://schemas.microsoft.com/office/drawing/2014/main" id="{AC14534E-46CD-4303-B862-80358F1BA8C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 y="0"/>
            <a:ext cx="12192000" cy="6858000"/>
          </a:xfrm>
          <a:prstGeom prst="rect">
            <a:avLst/>
          </a:prstGeom>
        </p:spPr>
      </p:pic>
      <p:sp>
        <p:nvSpPr>
          <p:cNvPr id="4" name="Rectangle 3"/>
          <p:cNvSpPr/>
          <p:nvPr userDrawn="1"/>
        </p:nvSpPr>
        <p:spPr bwMode="auto">
          <a:xfrm>
            <a:off x="-2" y="-5304"/>
            <a:ext cx="4526282" cy="6863304"/>
          </a:xfrm>
          <a:prstGeom prst="rect">
            <a:avLst/>
          </a:prstGeom>
          <a:gradFill>
            <a:gsLst>
              <a:gs pos="0">
                <a:schemeClr val="bg1">
                  <a:alpha val="71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6292" y="256398"/>
            <a:ext cx="1829371" cy="673018"/>
          </a:xfrm>
          <a:prstGeom prst="rect">
            <a:avLst/>
          </a:prstGeom>
        </p:spPr>
      </p:pic>
      <p:sp>
        <p:nvSpPr>
          <p:cNvPr id="2" name="Rectangle 1"/>
          <p:cNvSpPr/>
          <p:nvPr userDrawn="1"/>
        </p:nvSpPr>
        <p:spPr bwMode="auto">
          <a:xfrm>
            <a:off x="267682" y="2084172"/>
            <a:ext cx="8125315"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77814"/>
            <a:ext cx="6274911" cy="1793104"/>
          </a:xfrm>
          <a:noFill/>
        </p:spPr>
        <p:txBody>
          <a:bodyPr lIns="146304" tIns="91440" rIns="146304" bIns="91440" anchor="t" anchorCtr="0"/>
          <a:lstStyle>
            <a:lvl1pPr>
              <a:defRPr sz="4704" spc="-98"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8"/>
            <a:ext cx="6276530" cy="651821"/>
          </a:xfrm>
        </p:spPr>
        <p:txBody>
          <a:bodyPr wrap="square" lIns="164592" tIns="109728" rIns="164592" bIns="109728">
            <a:spAutoFit/>
          </a:bodyPr>
          <a:lstStyle>
            <a:lvl1pPr marL="0" indent="0">
              <a:spcBef>
                <a:spcPts val="0"/>
              </a:spcBef>
              <a:buNone/>
              <a:defRPr sz="3136">
                <a:gradFill>
                  <a:gsLst>
                    <a:gs pos="1307">
                      <a:srgbClr val="353535"/>
                    </a:gs>
                    <a:gs pos="30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52493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382770558"/>
      </p:ext>
    </p:extLst>
  </p:cSld>
  <p:clrMapOvr>
    <a:masterClrMapping/>
  </p:clrMapOvr>
  <p:extLst>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extBox 9"/>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8442569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7528013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88704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A143FA2-76CA-417C-8B5F-31392C7AFB38}"/>
              </a:ext>
            </a:extLst>
          </p:cNvPr>
          <p:cNvSpPr>
            <a:spLocks noGrp="1"/>
          </p:cNvSpPr>
          <p:nvPr>
            <p:ph type="dt" sz="half" idx="10"/>
          </p:nvPr>
        </p:nvSpPr>
        <p:spPr/>
        <p:txBody>
          <a:bodyPr/>
          <a:lstStyle/>
          <a:p>
            <a:fld id="{57CBC189-D998-4C47-8DDA-AA904C8A30B8}" type="datetimeFigureOut">
              <a:rPr lang="en-US" smtClean="0"/>
              <a:t>6/19/2021</a:t>
            </a:fld>
            <a:endParaRPr lang="en-US"/>
          </a:p>
        </p:txBody>
      </p:sp>
      <p:sp>
        <p:nvSpPr>
          <p:cNvPr id="3" name="Footer Placeholder 2">
            <a:extLst>
              <a:ext uri="{FF2B5EF4-FFF2-40B4-BE49-F238E27FC236}">
                <a16:creationId xmlns:a16="http://schemas.microsoft.com/office/drawing/2014/main" id="{5FBE0E26-4D03-4D64-9D08-740BB56DED8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CB52D0B-8E63-42DE-97D1-2E20672283A7}"/>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5973682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016498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0270103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15482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490290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75773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10" name="Rectangle 9"/>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2042181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05023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839943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
        <p:nvSpPr>
          <p:cNvPr id="4"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6529380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280235230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1EAC1-34B5-466E-963C-6BBEDF551C8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146E042-EAAE-47E4-B63E-DAF8313717D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5206058-8384-49E1-ADD5-33867585CA0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E67012E-E1F9-49BF-8E0B-F43E53DB6B68}"/>
              </a:ext>
            </a:extLst>
          </p:cNvPr>
          <p:cNvSpPr>
            <a:spLocks noGrp="1"/>
          </p:cNvSpPr>
          <p:nvPr>
            <p:ph type="dt" sz="half" idx="10"/>
          </p:nvPr>
        </p:nvSpPr>
        <p:spPr/>
        <p:txBody>
          <a:bodyPr/>
          <a:lstStyle/>
          <a:p>
            <a:fld id="{57CBC189-D998-4C47-8DDA-AA904C8A30B8}" type="datetimeFigureOut">
              <a:rPr lang="en-US" smtClean="0"/>
              <a:t>6/19/2021</a:t>
            </a:fld>
            <a:endParaRPr lang="en-US"/>
          </a:p>
        </p:txBody>
      </p:sp>
      <p:sp>
        <p:nvSpPr>
          <p:cNvPr id="6" name="Footer Placeholder 5">
            <a:extLst>
              <a:ext uri="{FF2B5EF4-FFF2-40B4-BE49-F238E27FC236}">
                <a16:creationId xmlns:a16="http://schemas.microsoft.com/office/drawing/2014/main" id="{39A58102-D7DF-4FA6-A84A-091B9BF93FC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6EA361E-ECB5-4A34-8058-0720BADD9BEA}"/>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3892357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26643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922176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2" name="Rectangle 1"/>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347367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57185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20389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35188879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53235480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1">
    <p:bg>
      <p:bgRef idx="1001">
        <a:schemeClr val="bg1"/>
      </p:bgRef>
    </p:bg>
    <p:spTree>
      <p:nvGrpSpPr>
        <p:cNvPr id="1" name=""/>
        <p:cNvGrpSpPr/>
        <p:nvPr/>
      </p:nvGrpSpPr>
      <p:grpSpPr>
        <a:xfrm>
          <a:off x="0" y="0"/>
          <a:ext cx="0" cy="0"/>
          <a:chOff x="0" y="0"/>
          <a:chExt cx="0" cy="0"/>
        </a:xfrm>
      </p:grpSpPr>
      <p:pic>
        <p:nvPicPr>
          <p:cNvPr id="10" name="Picture 9" descr="A view of a city&#10;&#10;Description automatically generated">
            <a:extLst>
              <a:ext uri="{FF2B5EF4-FFF2-40B4-BE49-F238E27FC236}">
                <a16:creationId xmlns:a16="http://schemas.microsoft.com/office/drawing/2014/main" id="{AF9E1102-B655-4587-BE71-904FCC635AF1}"/>
              </a:ext>
            </a:extLst>
          </p:cNvPr>
          <p:cNvPicPr>
            <a:picLocks noChangeAspect="1"/>
          </p:cNvPicPr>
          <p:nvPr userDrawn="1"/>
        </p:nvPicPr>
        <p:blipFill rotWithShape="1">
          <a:blip r:embed="rId2"/>
          <a:srcRect t="35096"/>
          <a:stretch/>
        </p:blipFill>
        <p:spPr>
          <a:xfrm>
            <a:off x="0" y="3429000"/>
            <a:ext cx="12192000" cy="3429000"/>
          </a:xfrm>
          <a:prstGeom prst="rect">
            <a:avLst/>
          </a:prstGeom>
        </p:spPr>
      </p:pic>
      <p:pic>
        <p:nvPicPr>
          <p:cNvPr id="8" name="MS logo gray - EMF" descr="Microsoft logo, gray text version">
            <a:extLst>
              <a:ext uri="{FF2B5EF4-FFF2-40B4-BE49-F238E27FC236}">
                <a16:creationId xmlns:a16="http://schemas.microsoft.com/office/drawing/2014/main" id="{04B495DB-0E2F-4269-BCED-53A6BC0666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199" y="1217962"/>
            <a:ext cx="8088088" cy="461665"/>
          </a:xfrm>
          <a:noFill/>
        </p:spPr>
        <p:txBody>
          <a:bodyPr wrap="square" lIns="0" tIns="0" rIns="0" bIns="0" anchor="b" anchorCtr="0">
            <a:spAutoFit/>
          </a:bodyPr>
          <a:lstStyle>
            <a:lvl1pPr>
              <a:defRPr sz="3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1877690"/>
            <a:ext cx="49720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15" name="Picture 14">
            <a:extLst>
              <a:ext uri="{FF2B5EF4-FFF2-40B4-BE49-F238E27FC236}">
                <a16:creationId xmlns:a16="http://schemas.microsoft.com/office/drawing/2014/main" id="{6350EC7A-92CF-4215-8505-70ADDC2F007D}"/>
              </a:ext>
            </a:extLst>
          </p:cNvPr>
          <p:cNvPicPr>
            <a:picLocks noChangeAspect="1"/>
          </p:cNvPicPr>
          <p:nvPr userDrawn="1"/>
        </p:nvPicPr>
        <p:blipFill>
          <a:blip r:embed="rId4"/>
          <a:stretch>
            <a:fillRect/>
          </a:stretch>
        </p:blipFill>
        <p:spPr>
          <a:xfrm>
            <a:off x="9477375" y="585788"/>
            <a:ext cx="2130426" cy="624088"/>
          </a:xfrm>
          <a:prstGeom prst="rect">
            <a:avLst/>
          </a:prstGeom>
        </p:spPr>
      </p:pic>
    </p:spTree>
    <p:extLst>
      <p:ext uri="{BB962C8B-B14F-4D97-AF65-F5344CB8AC3E}">
        <p14:creationId xmlns:p14="http://schemas.microsoft.com/office/powerpoint/2010/main" val="41323168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1_NO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1217962"/>
            <a:ext cx="8088088" cy="461665"/>
          </a:xfrm>
          <a:noFill/>
        </p:spPr>
        <p:txBody>
          <a:bodyPr wrap="square" lIns="0" tIns="0" rIns="0" bIns="0" anchor="b" anchorCtr="0">
            <a:spAutoFit/>
          </a:bodyPr>
          <a:lstStyle>
            <a:lvl1pPr>
              <a:defRPr sz="3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1877690"/>
            <a:ext cx="49720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842117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1 dark">
    <p:bg>
      <p:bgRef idx="1001">
        <a:schemeClr val="bg2"/>
      </p:bgRef>
    </p:bg>
    <p:spTree>
      <p:nvGrpSpPr>
        <p:cNvPr id="1" name=""/>
        <p:cNvGrpSpPr/>
        <p:nvPr/>
      </p:nvGrpSpPr>
      <p:grpSpPr>
        <a:xfrm>
          <a:off x="0" y="0"/>
          <a:ext cx="0" cy="0"/>
          <a:chOff x="0" y="0"/>
          <a:chExt cx="0" cy="0"/>
        </a:xfrm>
      </p:grpSpPr>
      <p:pic>
        <p:nvPicPr>
          <p:cNvPr id="10" name="Picture 9" descr="A view of a city&#10;&#10;Description automatically generated">
            <a:extLst>
              <a:ext uri="{FF2B5EF4-FFF2-40B4-BE49-F238E27FC236}">
                <a16:creationId xmlns:a16="http://schemas.microsoft.com/office/drawing/2014/main" id="{AF9E1102-B655-4587-BE71-904FCC635AF1}"/>
              </a:ext>
            </a:extLst>
          </p:cNvPr>
          <p:cNvPicPr>
            <a:picLocks noChangeAspect="1"/>
          </p:cNvPicPr>
          <p:nvPr userDrawn="1"/>
        </p:nvPicPr>
        <p:blipFill rotWithShape="1">
          <a:blip r:embed="rId2"/>
          <a:srcRect t="35096"/>
          <a:stretch/>
        </p:blipFill>
        <p:spPr>
          <a:xfrm>
            <a:off x="0" y="3429000"/>
            <a:ext cx="12192000" cy="3429000"/>
          </a:xfrm>
          <a:prstGeom prst="rect">
            <a:avLst/>
          </a:prstGeom>
        </p:spPr>
      </p:pic>
      <p:sp>
        <p:nvSpPr>
          <p:cNvPr id="9" name="Title 1"/>
          <p:cNvSpPr>
            <a:spLocks noGrp="1"/>
          </p:cNvSpPr>
          <p:nvPr>
            <p:ph type="title" hasCustomPrompt="1"/>
          </p:nvPr>
        </p:nvSpPr>
        <p:spPr>
          <a:xfrm>
            <a:off x="584199" y="1217962"/>
            <a:ext cx="8088088" cy="461665"/>
          </a:xfrm>
          <a:noFill/>
        </p:spPr>
        <p:txBody>
          <a:bodyPr wrap="square" lIns="0" tIns="0" rIns="0" bIns="0" anchor="b" anchorCtr="0">
            <a:spAutoFit/>
          </a:bodyPr>
          <a:lstStyle>
            <a:lvl1pPr>
              <a:defRPr sz="3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1877690"/>
            <a:ext cx="49720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15" name="Picture 14">
            <a:extLst>
              <a:ext uri="{FF2B5EF4-FFF2-40B4-BE49-F238E27FC236}">
                <a16:creationId xmlns:a16="http://schemas.microsoft.com/office/drawing/2014/main" id="{6350EC7A-92CF-4215-8505-70ADDC2F007D}"/>
              </a:ext>
            </a:extLst>
          </p:cNvPr>
          <p:cNvPicPr>
            <a:picLocks noChangeAspect="1"/>
          </p:cNvPicPr>
          <p:nvPr userDrawn="1"/>
        </p:nvPicPr>
        <p:blipFill>
          <a:blip r:embed="rId3"/>
          <a:srcRect/>
          <a:stretch/>
        </p:blipFill>
        <p:spPr>
          <a:xfrm>
            <a:off x="9477375" y="586080"/>
            <a:ext cx="2130426" cy="623504"/>
          </a:xfrm>
          <a:prstGeom prst="rect">
            <a:avLst/>
          </a:prstGeom>
        </p:spPr>
      </p:pic>
      <p:pic>
        <p:nvPicPr>
          <p:cNvPr id="7" name="MS logo white - EMF" descr="Microsoft logo white text version">
            <a:extLst>
              <a:ext uri="{FF2B5EF4-FFF2-40B4-BE49-F238E27FC236}">
                <a16:creationId xmlns:a16="http://schemas.microsoft.com/office/drawing/2014/main" id="{285DE30A-689A-4636-BC56-0782EA567C7B}"/>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334185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D790F-D34C-437F-82B7-0499D27278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48333DA-8B1D-49DF-997F-D8C96DA2A6B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8F0B304-03A7-47C4-BADB-B8EAA4E617B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6E446C2-4A5B-4DE7-83D7-EDFF6AA1A218}"/>
              </a:ext>
            </a:extLst>
          </p:cNvPr>
          <p:cNvSpPr>
            <a:spLocks noGrp="1"/>
          </p:cNvSpPr>
          <p:nvPr>
            <p:ph type="dt" sz="half" idx="10"/>
          </p:nvPr>
        </p:nvSpPr>
        <p:spPr/>
        <p:txBody>
          <a:bodyPr/>
          <a:lstStyle/>
          <a:p>
            <a:fld id="{57CBC189-D998-4C47-8DDA-AA904C8A30B8}" type="datetimeFigureOut">
              <a:rPr lang="en-US" smtClean="0"/>
              <a:t>6/19/2021</a:t>
            </a:fld>
            <a:endParaRPr lang="en-US"/>
          </a:p>
        </p:txBody>
      </p:sp>
      <p:sp>
        <p:nvSpPr>
          <p:cNvPr id="6" name="Footer Placeholder 5">
            <a:extLst>
              <a:ext uri="{FF2B5EF4-FFF2-40B4-BE49-F238E27FC236}">
                <a16:creationId xmlns:a16="http://schemas.microsoft.com/office/drawing/2014/main" id="{291FEBB4-FED6-4BF3-9C78-4748C84F0D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767B68F-A7B0-409A-B86B-ECFFF08C6F27}"/>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10825998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7" name="Picture 6" descr="A view of a city&#10;&#10;Description automatically generated">
            <a:extLst>
              <a:ext uri="{FF2B5EF4-FFF2-40B4-BE49-F238E27FC236}">
                <a16:creationId xmlns:a16="http://schemas.microsoft.com/office/drawing/2014/main" id="{4AAF52D4-24F3-4CFA-BA8F-9C06C40CAC86}"/>
              </a:ext>
            </a:extLst>
          </p:cNvPr>
          <p:cNvPicPr>
            <a:picLocks noChangeAspect="1"/>
          </p:cNvPicPr>
          <p:nvPr userDrawn="1"/>
        </p:nvPicPr>
        <p:blipFill rotWithShape="1">
          <a:blip r:embed="rId2"/>
          <a:srcRect l="29361" t="34081" r="5465"/>
          <a:stretch/>
        </p:blipFill>
        <p:spPr>
          <a:xfrm>
            <a:off x="0" y="1514475"/>
            <a:ext cx="12192000" cy="5343525"/>
          </a:xfrm>
          <a:prstGeom prst="rect">
            <a:avLst/>
          </a:prstGeom>
        </p:spPr>
      </p:pic>
      <p:pic>
        <p:nvPicPr>
          <p:cNvPr id="10" name="MS logo gray - EMF" descr="Microsoft logo, gray text version">
            <a:extLst>
              <a:ext uri="{FF2B5EF4-FFF2-40B4-BE49-F238E27FC236}">
                <a16:creationId xmlns:a16="http://schemas.microsoft.com/office/drawing/2014/main" id="{05907948-5050-47FE-BFA9-66C566D8D3F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Rectangle 1">
            <a:extLst>
              <a:ext uri="{FF2B5EF4-FFF2-40B4-BE49-F238E27FC236}">
                <a16:creationId xmlns:a16="http://schemas.microsoft.com/office/drawing/2014/main" id="{369E55D4-F273-4F85-AA22-9110D8FA4D24}"/>
              </a:ext>
            </a:extLst>
          </p:cNvPr>
          <p:cNvSpPr/>
          <p:nvPr userDrawn="1"/>
        </p:nvSpPr>
        <p:spPr bwMode="auto">
          <a:xfrm>
            <a:off x="0" y="2686050"/>
            <a:ext cx="12188944" cy="4171950"/>
          </a:xfrm>
          <a:prstGeom prst="rect">
            <a:avLst/>
          </a:prstGeom>
          <a:gradFill flip="none" rotWithShape="1">
            <a:gsLst>
              <a:gs pos="45000">
                <a:srgbClr val="000000">
                  <a:alpha val="66000"/>
                </a:srgbClr>
              </a:gs>
              <a:gs pos="60000">
                <a:srgbClr val="000000">
                  <a:alpha val="0"/>
                </a:srgbClr>
              </a:gs>
            </a:gsLst>
            <a:lin ang="16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84199" y="4480560"/>
            <a:ext cx="6133471" cy="430887"/>
          </a:xfrm>
          <a:noFill/>
        </p:spPr>
        <p:txBody>
          <a:bodyPr wrap="square" lIns="0" tIns="0" rIns="0" bIns="0" anchor="b" anchorCtr="0">
            <a:spAutoFit/>
          </a:bodyPr>
          <a:lstStyle>
            <a:lvl1pPr>
              <a:defRPr sz="2800" spc="-50" baseline="0">
                <a:solidFill>
                  <a:srgbClr val="FFFF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5264590"/>
            <a:ext cx="497205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1" name="Picture 10">
            <a:extLst>
              <a:ext uri="{FF2B5EF4-FFF2-40B4-BE49-F238E27FC236}">
                <a16:creationId xmlns:a16="http://schemas.microsoft.com/office/drawing/2014/main" id="{27C0F089-493F-4988-9106-5B7279C3FE01}"/>
              </a:ext>
            </a:extLst>
          </p:cNvPr>
          <p:cNvPicPr>
            <a:picLocks noChangeAspect="1"/>
          </p:cNvPicPr>
          <p:nvPr userDrawn="1"/>
        </p:nvPicPr>
        <p:blipFill>
          <a:blip r:embed="rId4"/>
          <a:stretch>
            <a:fillRect/>
          </a:stretch>
        </p:blipFill>
        <p:spPr>
          <a:xfrm>
            <a:off x="9477375" y="585788"/>
            <a:ext cx="2130426" cy="624088"/>
          </a:xfrm>
          <a:prstGeom prst="rect">
            <a:avLst/>
          </a:prstGeom>
        </p:spPr>
      </p:pic>
    </p:spTree>
    <p:extLst>
      <p:ext uri="{BB962C8B-B14F-4D97-AF65-F5344CB8AC3E}">
        <p14:creationId xmlns:p14="http://schemas.microsoft.com/office/powerpoint/2010/main" val="3862279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_NO PHOTOS">
    <p:bg>
      <p:bgRef idx="1001">
        <a:schemeClr val="bg1"/>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05907948-5050-47FE-BFA9-66C566D8D3F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199" y="4480560"/>
            <a:ext cx="6133471" cy="430887"/>
          </a:xfrm>
          <a:noFill/>
        </p:spPr>
        <p:txBody>
          <a:bodyPr wrap="square" lIns="0" tIns="0" rIns="0" bIns="0" anchor="b" anchorCtr="0">
            <a:spAutoFit/>
          </a:bodyPr>
          <a:lstStyle>
            <a:lvl1pPr>
              <a:defRPr sz="2800" spc="-50" baseline="0">
                <a:solidFill>
                  <a:srgbClr val="FFFF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5264590"/>
            <a:ext cx="497205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1" name="Picture 10">
            <a:extLst>
              <a:ext uri="{FF2B5EF4-FFF2-40B4-BE49-F238E27FC236}">
                <a16:creationId xmlns:a16="http://schemas.microsoft.com/office/drawing/2014/main" id="{27C0F089-493F-4988-9106-5B7279C3FE01}"/>
              </a:ext>
            </a:extLst>
          </p:cNvPr>
          <p:cNvPicPr>
            <a:picLocks noChangeAspect="1"/>
          </p:cNvPicPr>
          <p:nvPr userDrawn="1"/>
        </p:nvPicPr>
        <p:blipFill>
          <a:blip r:embed="rId3"/>
          <a:stretch>
            <a:fillRect/>
          </a:stretch>
        </p:blipFill>
        <p:spPr>
          <a:xfrm>
            <a:off x="9477375" y="585788"/>
            <a:ext cx="2130426" cy="624088"/>
          </a:xfrm>
          <a:prstGeom prst="rect">
            <a:avLst/>
          </a:prstGeom>
        </p:spPr>
      </p:pic>
    </p:spTree>
    <p:extLst>
      <p:ext uri="{BB962C8B-B14F-4D97-AF65-F5344CB8AC3E}">
        <p14:creationId xmlns:p14="http://schemas.microsoft.com/office/powerpoint/2010/main" val="30671326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pic>
        <p:nvPicPr>
          <p:cNvPr id="8" name="MS logo gray - EMF" descr="Microsoft logo, gray text version">
            <a:extLst>
              <a:ext uri="{FF2B5EF4-FFF2-40B4-BE49-F238E27FC236}">
                <a16:creationId xmlns:a16="http://schemas.microsoft.com/office/drawing/2014/main" id="{04B495DB-0E2F-4269-BCED-53A6BC0666A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216"/>
            <a:ext cx="1366440" cy="292608"/>
          </a:xfrm>
          <a:prstGeom prst="rect">
            <a:avLst/>
          </a:prstGeom>
        </p:spPr>
      </p:pic>
      <p:sp>
        <p:nvSpPr>
          <p:cNvPr id="9" name="Title 1"/>
          <p:cNvSpPr>
            <a:spLocks noGrp="1"/>
          </p:cNvSpPr>
          <p:nvPr>
            <p:ph type="title" hasCustomPrompt="1"/>
          </p:nvPr>
        </p:nvSpPr>
        <p:spPr>
          <a:xfrm>
            <a:off x="584200" y="2736503"/>
            <a:ext cx="4125910" cy="923330"/>
          </a:xfrm>
          <a:noFill/>
        </p:spPr>
        <p:txBody>
          <a:bodyPr wrap="square" lIns="0" tIns="0" rIns="0" bIns="0" anchor="b" anchorCtr="0">
            <a:spAutoFit/>
          </a:bodyPr>
          <a:lstStyle>
            <a:lvl1pPr>
              <a:defRPr sz="3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74677" y="3962400"/>
            <a:ext cx="412591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11" name="Picture 10">
            <a:extLst>
              <a:ext uri="{FF2B5EF4-FFF2-40B4-BE49-F238E27FC236}">
                <a16:creationId xmlns:a16="http://schemas.microsoft.com/office/drawing/2014/main" id="{4F331499-EB6A-45D6-88DF-18A044C69319}"/>
              </a:ext>
            </a:extLst>
          </p:cNvPr>
          <p:cNvPicPr>
            <a:picLocks noChangeAspect="1"/>
          </p:cNvPicPr>
          <p:nvPr userDrawn="1"/>
        </p:nvPicPr>
        <p:blipFill>
          <a:blip r:embed="rId3"/>
          <a:stretch>
            <a:fillRect/>
          </a:stretch>
        </p:blipFill>
        <p:spPr>
          <a:xfrm>
            <a:off x="2944770" y="559882"/>
            <a:ext cx="1755817" cy="514350"/>
          </a:xfrm>
          <a:prstGeom prst="rect">
            <a:avLst/>
          </a:prstGeom>
        </p:spPr>
      </p:pic>
      <p:pic>
        <p:nvPicPr>
          <p:cNvPr id="7" name="Picture 6" descr="A large brick building with grass in front of a house&#10;&#10;Description automatically generated">
            <a:extLst>
              <a:ext uri="{FF2B5EF4-FFF2-40B4-BE49-F238E27FC236}">
                <a16:creationId xmlns:a16="http://schemas.microsoft.com/office/drawing/2014/main" id="{563F5FE3-CDF0-4727-9777-5D29393FE2B4}"/>
              </a:ext>
            </a:extLst>
          </p:cNvPr>
          <p:cNvPicPr>
            <a:picLocks noChangeAspect="1"/>
          </p:cNvPicPr>
          <p:nvPr userDrawn="1"/>
        </p:nvPicPr>
        <p:blipFill rotWithShape="1">
          <a:blip r:embed="rId4"/>
          <a:srcRect l="2999" t="1047" r="31451"/>
          <a:stretch/>
        </p:blipFill>
        <p:spPr>
          <a:xfrm>
            <a:off x="5334000" y="0"/>
            <a:ext cx="6858000" cy="6858000"/>
          </a:xfrm>
          <a:prstGeom prst="rect">
            <a:avLst/>
          </a:prstGeom>
          <a:ln>
            <a:solidFill>
              <a:schemeClr val="tx1">
                <a:alpha val="16000"/>
              </a:schemeClr>
            </a:solidFill>
          </a:ln>
          <a:effectLst/>
        </p:spPr>
      </p:pic>
    </p:spTree>
    <p:extLst>
      <p:ext uri="{BB962C8B-B14F-4D97-AF65-F5344CB8AC3E}">
        <p14:creationId xmlns:p14="http://schemas.microsoft.com/office/powerpoint/2010/main" val="4283449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3 dark">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736503"/>
            <a:ext cx="4125910" cy="923330"/>
          </a:xfrm>
          <a:noFill/>
        </p:spPr>
        <p:txBody>
          <a:bodyPr wrap="square" lIns="0" tIns="0" rIns="0" bIns="0" anchor="b" anchorCtr="0">
            <a:spAutoFit/>
          </a:bodyPr>
          <a:lstStyle>
            <a:lvl1pPr>
              <a:defRPr sz="3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74677" y="3962400"/>
            <a:ext cx="412591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11" name="Picture 10">
            <a:extLst>
              <a:ext uri="{FF2B5EF4-FFF2-40B4-BE49-F238E27FC236}">
                <a16:creationId xmlns:a16="http://schemas.microsoft.com/office/drawing/2014/main" id="{4F331499-EB6A-45D6-88DF-18A044C69319}"/>
              </a:ext>
            </a:extLst>
          </p:cNvPr>
          <p:cNvPicPr>
            <a:picLocks noChangeAspect="1"/>
          </p:cNvPicPr>
          <p:nvPr userDrawn="1"/>
        </p:nvPicPr>
        <p:blipFill>
          <a:blip r:embed="rId2"/>
          <a:srcRect/>
          <a:stretch/>
        </p:blipFill>
        <p:spPr>
          <a:xfrm>
            <a:off x="2944770" y="560122"/>
            <a:ext cx="1755817" cy="513869"/>
          </a:xfrm>
          <a:prstGeom prst="rect">
            <a:avLst/>
          </a:prstGeom>
        </p:spPr>
      </p:pic>
      <p:pic>
        <p:nvPicPr>
          <p:cNvPr id="7" name="Picture 6" descr="A large brick building with grass in front of a house&#10;&#10;Description automatically generated">
            <a:extLst>
              <a:ext uri="{FF2B5EF4-FFF2-40B4-BE49-F238E27FC236}">
                <a16:creationId xmlns:a16="http://schemas.microsoft.com/office/drawing/2014/main" id="{563F5FE3-CDF0-4727-9777-5D29393FE2B4}"/>
              </a:ext>
            </a:extLst>
          </p:cNvPr>
          <p:cNvPicPr>
            <a:picLocks noChangeAspect="1"/>
          </p:cNvPicPr>
          <p:nvPr userDrawn="1"/>
        </p:nvPicPr>
        <p:blipFill rotWithShape="1">
          <a:blip r:embed="rId3"/>
          <a:srcRect l="2999" t="1047" r="31451"/>
          <a:stretch/>
        </p:blipFill>
        <p:spPr>
          <a:xfrm>
            <a:off x="5334000" y="0"/>
            <a:ext cx="6858000" cy="6858000"/>
          </a:xfrm>
          <a:prstGeom prst="rect">
            <a:avLst/>
          </a:prstGeom>
          <a:ln>
            <a:solidFill>
              <a:schemeClr val="tx1">
                <a:alpha val="16000"/>
              </a:schemeClr>
            </a:solidFill>
          </a:ln>
          <a:effectLst/>
        </p:spPr>
      </p:pic>
      <p:pic>
        <p:nvPicPr>
          <p:cNvPr id="10" name="MS logo white - EMF" descr="Microsoft logo white text version">
            <a:extLst>
              <a:ext uri="{FF2B5EF4-FFF2-40B4-BE49-F238E27FC236}">
                <a16:creationId xmlns:a16="http://schemas.microsoft.com/office/drawing/2014/main" id="{8C3BA349-01BD-4CF7-BCF7-2D05ADD10314}"/>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1537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020495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38597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85716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21100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41055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50357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theme" Target="../theme/theme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image" Target="../media/image18.png"/><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image" Target="../media/image17.emf"/><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theme" Target="../theme/theme3.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5" Type="http://schemas.openxmlformats.org/officeDocument/2006/relationships/slideLayout" Target="../slideLayouts/slideLayout70.xml"/><Relationship Id="rId10" Type="http://schemas.openxmlformats.org/officeDocument/2006/relationships/theme" Target="../theme/theme4.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77.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4" Type="http://schemas.openxmlformats.org/officeDocument/2006/relationships/slideLayout" Target="../slideLayouts/slideLayout78.xml"/><Relationship Id="rId9" Type="http://schemas.openxmlformats.org/officeDocument/2006/relationships/image" Target="../media/image29.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4.xml"/><Relationship Id="rId7" Type="http://schemas.openxmlformats.org/officeDocument/2006/relationships/image" Target="../media/image29.png"/><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theme" Target="../theme/theme6.xml"/><Relationship Id="rId5" Type="http://schemas.openxmlformats.org/officeDocument/2006/relationships/slideLayout" Target="../slideLayouts/slideLayout86.xml"/><Relationship Id="rId4" Type="http://schemas.openxmlformats.org/officeDocument/2006/relationships/slideLayout" Target="../slideLayouts/slideLayout85.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9" Type="http://schemas.openxmlformats.org/officeDocument/2006/relationships/slideLayout" Target="../slideLayouts/slideLayout125.xml"/><Relationship Id="rId21" Type="http://schemas.openxmlformats.org/officeDocument/2006/relationships/slideLayout" Target="../slideLayouts/slideLayout107.xml"/><Relationship Id="rId34" Type="http://schemas.openxmlformats.org/officeDocument/2006/relationships/slideLayout" Target="../slideLayouts/slideLayout120.xml"/><Relationship Id="rId42" Type="http://schemas.openxmlformats.org/officeDocument/2006/relationships/image" Target="../media/image35.emf"/><Relationship Id="rId7" Type="http://schemas.openxmlformats.org/officeDocument/2006/relationships/slideLayout" Target="../slideLayouts/slideLayout9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slideLayout" Target="../slideLayouts/slideLayout115.xml"/><Relationship Id="rId41" Type="http://schemas.openxmlformats.org/officeDocument/2006/relationships/theme" Target="../theme/theme7.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slideLayout" Target="../slideLayouts/slideLayout118.xml"/><Relationship Id="rId37" Type="http://schemas.openxmlformats.org/officeDocument/2006/relationships/slideLayout" Target="../slideLayouts/slideLayout123.xml"/><Relationship Id="rId40" Type="http://schemas.openxmlformats.org/officeDocument/2006/relationships/slideLayout" Target="../slideLayouts/slideLayout126.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36" Type="http://schemas.openxmlformats.org/officeDocument/2006/relationships/slideLayout" Target="../slideLayouts/slideLayout122.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31" Type="http://schemas.openxmlformats.org/officeDocument/2006/relationships/slideLayout" Target="../slideLayouts/slideLayout117.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 Id="rId35" Type="http://schemas.openxmlformats.org/officeDocument/2006/relationships/slideLayout" Target="../slideLayouts/slideLayout121.xml"/><Relationship Id="rId8" Type="http://schemas.openxmlformats.org/officeDocument/2006/relationships/slideLayout" Target="../slideLayouts/slideLayout94.xml"/><Relationship Id="rId3" Type="http://schemas.openxmlformats.org/officeDocument/2006/relationships/slideLayout" Target="../slideLayouts/slideLayout89.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slideLayout" Target="../slideLayouts/slideLayout119.xml"/><Relationship Id="rId38"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theme" Target="../theme/theme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slideLayout" Target="../slideLayouts/slideLayout154.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slideLayout" Target="../slideLayouts/slideLayout153.xml"/><Relationship Id="rId30" Type="http://schemas.openxmlformats.org/officeDocument/2006/relationships/image" Target="../media/image35.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CAD4AF6-BFDE-4248-88B7-B8A32F4C51A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41E4D77-5171-4504-BE81-CCE580A3ADE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F5EB68-DAE3-424B-B9EE-509845A485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7CBC189-D998-4C47-8DDA-AA904C8A30B8}" type="datetimeFigureOut">
              <a:rPr lang="en-US" smtClean="0"/>
              <a:t>6/19/2021</a:t>
            </a:fld>
            <a:endParaRPr lang="en-US"/>
          </a:p>
        </p:txBody>
      </p:sp>
      <p:sp>
        <p:nvSpPr>
          <p:cNvPr id="5" name="Footer Placeholder 4">
            <a:extLst>
              <a:ext uri="{FF2B5EF4-FFF2-40B4-BE49-F238E27FC236}">
                <a16:creationId xmlns:a16="http://schemas.microsoft.com/office/drawing/2014/main" id="{38522189-404E-4509-BFC8-853592BA9EA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C1434A7-F0C0-4170-8B6A-870EC0F8F16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09107B-5CD9-45C5-865F-6828FE75E41C}" type="slidenum">
              <a:rPr lang="en-US" smtClean="0"/>
              <a:t>‹#›</a:t>
            </a:fld>
            <a:endParaRPr lang="en-US"/>
          </a:p>
        </p:txBody>
      </p:sp>
    </p:spTree>
    <p:extLst>
      <p:ext uri="{BB962C8B-B14F-4D97-AF65-F5344CB8AC3E}">
        <p14:creationId xmlns:p14="http://schemas.microsoft.com/office/powerpoint/2010/main" val="19905746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701" r:id="rId14"/>
    <p:sldLayoutId id="2147483761"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58935074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 id="2147483727" r:id="rId25"/>
    <p:sldLayoutId id="2147483728" r:id="rId26"/>
    <p:sldLayoutId id="2147483818" r:id="rId27"/>
    <p:sldLayoutId id="2147483819" r:id="rId2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302551"/>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5"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354450585"/>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 id="2147483817" r:id="rId22"/>
  </p:sldLayoutIdLst>
  <p:transition>
    <p:fade/>
  </p:transition>
  <p:txStyles>
    <p:titleStyle>
      <a:lvl1pPr algn="l" defTabSz="914367" rtl="0" eaLnBrk="1" latinLnBrk="0" hangingPunct="1">
        <a:lnSpc>
          <a:spcPct val="90000"/>
        </a:lnSpc>
        <a:spcBef>
          <a:spcPct val="0"/>
        </a:spcBef>
        <a:buNone/>
        <a:defRPr lang="en-US" sz="3725"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1097534918"/>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9"/>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873393405"/>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494554802"/>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454544155"/>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 id="2147483797" r:id="rId21"/>
    <p:sldLayoutId id="2147483798" r:id="rId22"/>
    <p:sldLayoutId id="2147483799" r:id="rId23"/>
    <p:sldLayoutId id="2147483800" r:id="rId24"/>
    <p:sldLayoutId id="2147483801" r:id="rId25"/>
    <p:sldLayoutId id="2147483802" r:id="rId26"/>
    <p:sldLayoutId id="2147483803" r:id="rId27"/>
    <p:sldLayoutId id="2147483804" r:id="rId28"/>
    <p:sldLayoutId id="2147483805" r:id="rId29"/>
    <p:sldLayoutId id="2147483806" r:id="rId30"/>
    <p:sldLayoutId id="2147483807" r:id="rId31"/>
    <p:sldLayoutId id="2147483808" r:id="rId32"/>
    <p:sldLayoutId id="2147483809" r:id="rId33"/>
    <p:sldLayoutId id="2147483810" r:id="rId34"/>
    <p:sldLayoutId id="2147483811" r:id="rId35"/>
    <p:sldLayoutId id="2147483812" r:id="rId36"/>
    <p:sldLayoutId id="2147483813" r:id="rId37"/>
    <p:sldLayoutId id="2147483814" r:id="rId38"/>
    <p:sldLayoutId id="2147483815" r:id="rId39"/>
    <p:sldLayoutId id="2147483816"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0"/>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605456340"/>
      </p:ext>
    </p:extLst>
  </p:cSld>
  <p:clrMap bg1="dk1" tx1="lt1" bg2="dk2" tx2="lt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 id="2147483834" r:id="rId14"/>
    <p:sldLayoutId id="2147483835" r:id="rId15"/>
    <p:sldLayoutId id="2147483836" r:id="rId16"/>
    <p:sldLayoutId id="2147483837" r:id="rId17"/>
    <p:sldLayoutId id="2147483838" r:id="rId18"/>
    <p:sldLayoutId id="2147483839" r:id="rId19"/>
    <p:sldLayoutId id="2147483840" r:id="rId20"/>
    <p:sldLayoutId id="2147483841" r:id="rId21"/>
    <p:sldLayoutId id="2147483842" r:id="rId22"/>
    <p:sldLayoutId id="2147483843" r:id="rId23"/>
    <p:sldLayoutId id="2147483844" r:id="rId24"/>
    <p:sldLayoutId id="2147483845" r:id="rId25"/>
    <p:sldLayoutId id="2147483846" r:id="rId26"/>
    <p:sldLayoutId id="2147483847" r:id="rId27"/>
    <p:sldLayoutId id="2147483848"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4.xml"/><Relationship Id="rId1" Type="http://schemas.openxmlformats.org/officeDocument/2006/relationships/tags" Target="../tags/tag1.xml"/><Relationship Id="rId4" Type="http://schemas.openxmlformats.org/officeDocument/2006/relationships/image" Target="../media/image3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8" Type="http://schemas.openxmlformats.org/officeDocument/2006/relationships/image" Target="../media/image96.WMF"/><Relationship Id="rId3" Type="http://schemas.openxmlformats.org/officeDocument/2006/relationships/image" Target="../media/image91.jpeg"/><Relationship Id="rId7" Type="http://schemas.openxmlformats.org/officeDocument/2006/relationships/image" Target="../media/image95.PNG"/><Relationship Id="rId12" Type="http://schemas.openxmlformats.org/officeDocument/2006/relationships/image" Target="../media/image100.WMF"/><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image" Target="../media/image94.PNG"/><Relationship Id="rId11" Type="http://schemas.openxmlformats.org/officeDocument/2006/relationships/image" Target="../media/image99.WMF"/><Relationship Id="rId5" Type="http://schemas.openxmlformats.org/officeDocument/2006/relationships/image" Target="../media/image93.jpeg"/><Relationship Id="rId10" Type="http://schemas.openxmlformats.org/officeDocument/2006/relationships/image" Target="../media/image98.jpeg"/><Relationship Id="rId4" Type="http://schemas.openxmlformats.org/officeDocument/2006/relationships/image" Target="../media/image92.JPG"/><Relationship Id="rId9" Type="http://schemas.openxmlformats.org/officeDocument/2006/relationships/image" Target="../media/image97.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101.jpg"/><Relationship Id="rId7" Type="http://schemas.openxmlformats.org/officeDocument/2006/relationships/image" Target="../media/image105.jpg"/><Relationship Id="rId2" Type="http://schemas.openxmlformats.org/officeDocument/2006/relationships/notesSlide" Target="../notesSlides/notesSlide13.xml"/><Relationship Id="rId1" Type="http://schemas.openxmlformats.org/officeDocument/2006/relationships/slideLayout" Target="../slideLayouts/slideLayout119.xml"/><Relationship Id="rId6" Type="http://schemas.openxmlformats.org/officeDocument/2006/relationships/image" Target="../media/image104.jpg"/><Relationship Id="rId5" Type="http://schemas.openxmlformats.org/officeDocument/2006/relationships/image" Target="../media/image103.jpeg"/><Relationship Id="rId4" Type="http://schemas.openxmlformats.org/officeDocument/2006/relationships/image" Target="../media/image102.jpg"/></Relationships>
</file>

<file path=ppt/slides/_rels/slide15.xml.rels><?xml version="1.0" encoding="UTF-8" standalone="yes"?>
<Relationships xmlns="http://schemas.openxmlformats.org/package/2006/relationships"><Relationship Id="rId3" Type="http://schemas.openxmlformats.org/officeDocument/2006/relationships/image" Target="../media/image101.jpg"/><Relationship Id="rId7" Type="http://schemas.openxmlformats.org/officeDocument/2006/relationships/image" Target="../media/image105.jpg"/><Relationship Id="rId2" Type="http://schemas.openxmlformats.org/officeDocument/2006/relationships/notesSlide" Target="../notesSlides/notesSlide14.xml"/><Relationship Id="rId1" Type="http://schemas.openxmlformats.org/officeDocument/2006/relationships/slideLayout" Target="../slideLayouts/slideLayout119.xml"/><Relationship Id="rId6" Type="http://schemas.openxmlformats.org/officeDocument/2006/relationships/image" Target="../media/image104.jpg"/><Relationship Id="rId5" Type="http://schemas.openxmlformats.org/officeDocument/2006/relationships/image" Target="../media/image103.jpeg"/><Relationship Id="rId4" Type="http://schemas.openxmlformats.org/officeDocument/2006/relationships/image" Target="../media/image102.jp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5.xml"/></Relationships>
</file>

<file path=ppt/slides/_rels/slide18.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svg"/><Relationship Id="rId3" Type="http://schemas.openxmlformats.org/officeDocument/2006/relationships/image" Target="../media/image106.png"/><Relationship Id="rId7" Type="http://schemas.openxmlformats.org/officeDocument/2006/relationships/image" Target="../media/image110.png"/><Relationship Id="rId12" Type="http://schemas.openxmlformats.org/officeDocument/2006/relationships/image" Target="../media/image115.png"/><Relationship Id="rId17" Type="http://schemas.openxmlformats.org/officeDocument/2006/relationships/image" Target="../media/image120.svg"/><Relationship Id="rId2" Type="http://schemas.openxmlformats.org/officeDocument/2006/relationships/notesSlide" Target="../notesSlides/notesSlide17.xml"/><Relationship Id="rId16" Type="http://schemas.openxmlformats.org/officeDocument/2006/relationships/image" Target="../media/image119.png"/><Relationship Id="rId1" Type="http://schemas.openxmlformats.org/officeDocument/2006/relationships/slideLayout" Target="../slideLayouts/slideLayout135.xml"/><Relationship Id="rId6" Type="http://schemas.openxmlformats.org/officeDocument/2006/relationships/image" Target="../media/image109.svg"/><Relationship Id="rId11" Type="http://schemas.openxmlformats.org/officeDocument/2006/relationships/image" Target="../media/image114.svg"/><Relationship Id="rId5" Type="http://schemas.openxmlformats.org/officeDocument/2006/relationships/image" Target="../media/image108.png"/><Relationship Id="rId15" Type="http://schemas.openxmlformats.org/officeDocument/2006/relationships/image" Target="../media/image118.emf"/><Relationship Id="rId10" Type="http://schemas.openxmlformats.org/officeDocument/2006/relationships/image" Target="../media/image113.png"/><Relationship Id="rId4" Type="http://schemas.openxmlformats.org/officeDocument/2006/relationships/image" Target="../media/image107.svg"/><Relationship Id="rId9" Type="http://schemas.openxmlformats.org/officeDocument/2006/relationships/image" Target="../media/image112.svg"/><Relationship Id="rId14" Type="http://schemas.openxmlformats.org/officeDocument/2006/relationships/image" Target="../media/image117.png"/></Relationships>
</file>

<file path=ppt/slides/_rels/slide19.xml.rels><?xml version="1.0" encoding="UTF-8" standalone="yes"?>
<Relationships xmlns="http://schemas.openxmlformats.org/package/2006/relationships"><Relationship Id="rId13" Type="http://schemas.openxmlformats.org/officeDocument/2006/relationships/image" Target="../media/image128.png"/><Relationship Id="rId18" Type="http://schemas.openxmlformats.org/officeDocument/2006/relationships/image" Target="../media/image131.png"/><Relationship Id="rId26" Type="http://schemas.openxmlformats.org/officeDocument/2006/relationships/image" Target="../media/image110.png"/><Relationship Id="rId3" Type="http://schemas.openxmlformats.org/officeDocument/2006/relationships/image" Target="../media/image121.jpeg"/><Relationship Id="rId21" Type="http://schemas.openxmlformats.org/officeDocument/2006/relationships/image" Target="../media/image134.png"/><Relationship Id="rId34" Type="http://schemas.openxmlformats.org/officeDocument/2006/relationships/image" Target="../media/image118.emf"/><Relationship Id="rId7" Type="http://schemas.openxmlformats.org/officeDocument/2006/relationships/image" Target="../media/image124.png"/><Relationship Id="rId12" Type="http://schemas.openxmlformats.org/officeDocument/2006/relationships/image" Target="../media/image127.png"/><Relationship Id="rId17" Type="http://schemas.openxmlformats.org/officeDocument/2006/relationships/image" Target="../media/image130.png"/><Relationship Id="rId25" Type="http://schemas.openxmlformats.org/officeDocument/2006/relationships/image" Target="../media/image109.svg"/><Relationship Id="rId33" Type="http://schemas.openxmlformats.org/officeDocument/2006/relationships/image" Target="../media/image117.png"/><Relationship Id="rId2" Type="http://schemas.openxmlformats.org/officeDocument/2006/relationships/notesSlide" Target="../notesSlides/notesSlide18.xml"/><Relationship Id="rId16" Type="http://schemas.microsoft.com/office/2007/relationships/hdphoto" Target="../media/hdphoto5.wdp"/><Relationship Id="rId20" Type="http://schemas.openxmlformats.org/officeDocument/2006/relationships/image" Target="../media/image133.jpeg"/><Relationship Id="rId29" Type="http://schemas.openxmlformats.org/officeDocument/2006/relationships/image" Target="../media/image113.png"/><Relationship Id="rId1" Type="http://schemas.openxmlformats.org/officeDocument/2006/relationships/slideLayout" Target="../slideLayouts/slideLayout135.xml"/><Relationship Id="rId6" Type="http://schemas.openxmlformats.org/officeDocument/2006/relationships/image" Target="../media/image123.png"/><Relationship Id="rId11" Type="http://schemas.microsoft.com/office/2007/relationships/hdphoto" Target="../media/hdphoto3.wdp"/><Relationship Id="rId24" Type="http://schemas.openxmlformats.org/officeDocument/2006/relationships/image" Target="../media/image108.png"/><Relationship Id="rId32" Type="http://schemas.openxmlformats.org/officeDocument/2006/relationships/image" Target="../media/image116.svg"/><Relationship Id="rId5" Type="http://schemas.microsoft.com/office/2007/relationships/hdphoto" Target="../media/hdphoto1.wdp"/><Relationship Id="rId15" Type="http://schemas.openxmlformats.org/officeDocument/2006/relationships/image" Target="../media/image129.png"/><Relationship Id="rId23" Type="http://schemas.openxmlformats.org/officeDocument/2006/relationships/image" Target="../media/image107.svg"/><Relationship Id="rId28" Type="http://schemas.openxmlformats.org/officeDocument/2006/relationships/image" Target="../media/image112.svg"/><Relationship Id="rId36" Type="http://schemas.openxmlformats.org/officeDocument/2006/relationships/image" Target="../media/image120.svg"/><Relationship Id="rId10" Type="http://schemas.openxmlformats.org/officeDocument/2006/relationships/image" Target="../media/image126.png"/><Relationship Id="rId19" Type="http://schemas.openxmlformats.org/officeDocument/2006/relationships/image" Target="../media/image132.png"/><Relationship Id="rId31" Type="http://schemas.openxmlformats.org/officeDocument/2006/relationships/image" Target="../media/image115.png"/><Relationship Id="rId4" Type="http://schemas.openxmlformats.org/officeDocument/2006/relationships/image" Target="../media/image122.png"/><Relationship Id="rId9" Type="http://schemas.openxmlformats.org/officeDocument/2006/relationships/image" Target="../media/image125.png"/><Relationship Id="rId14" Type="http://schemas.microsoft.com/office/2007/relationships/hdphoto" Target="../media/hdphoto4.wdp"/><Relationship Id="rId22" Type="http://schemas.openxmlformats.org/officeDocument/2006/relationships/image" Target="../media/image106.png"/><Relationship Id="rId27" Type="http://schemas.openxmlformats.org/officeDocument/2006/relationships/image" Target="../media/image111.png"/><Relationship Id="rId30" Type="http://schemas.openxmlformats.org/officeDocument/2006/relationships/image" Target="../media/image114.svg"/><Relationship Id="rId35" Type="http://schemas.openxmlformats.org/officeDocument/2006/relationships/image" Target="../media/image119.png"/><Relationship Id="rId8" Type="http://schemas.microsoft.com/office/2007/relationships/hdphoto" Target="../media/hdphoto2.wdp"/></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tags" Target="../tags/tag2.xml"/></Relationships>
</file>

<file path=ppt/slides/_rels/slide20.xml.rels><?xml version="1.0" encoding="UTF-8" standalone="yes"?>
<Relationships xmlns="http://schemas.openxmlformats.org/package/2006/relationships"><Relationship Id="rId8" Type="http://schemas.openxmlformats.org/officeDocument/2006/relationships/image" Target="../media/image138.png"/><Relationship Id="rId13" Type="http://schemas.openxmlformats.org/officeDocument/2006/relationships/image" Target="../media/image112.svg"/><Relationship Id="rId18" Type="http://schemas.openxmlformats.org/officeDocument/2006/relationships/image" Target="../media/image117.png"/><Relationship Id="rId3" Type="http://schemas.openxmlformats.org/officeDocument/2006/relationships/image" Target="../media/image135.png"/><Relationship Id="rId21" Type="http://schemas.openxmlformats.org/officeDocument/2006/relationships/image" Target="../media/image142.svg"/><Relationship Id="rId7" Type="http://schemas.openxmlformats.org/officeDocument/2006/relationships/image" Target="../media/image137.emf"/><Relationship Id="rId12" Type="http://schemas.openxmlformats.org/officeDocument/2006/relationships/image" Target="../media/image111.png"/><Relationship Id="rId17" Type="http://schemas.openxmlformats.org/officeDocument/2006/relationships/image" Target="../media/image141.svg"/><Relationship Id="rId2" Type="http://schemas.openxmlformats.org/officeDocument/2006/relationships/notesSlide" Target="../notesSlides/notesSlide19.xml"/><Relationship Id="rId16" Type="http://schemas.openxmlformats.org/officeDocument/2006/relationships/image" Target="../media/image115.png"/><Relationship Id="rId20" Type="http://schemas.openxmlformats.org/officeDocument/2006/relationships/image" Target="../media/image119.png"/><Relationship Id="rId1" Type="http://schemas.openxmlformats.org/officeDocument/2006/relationships/slideLayout" Target="../slideLayouts/slideLayout135.xml"/><Relationship Id="rId6" Type="http://schemas.openxmlformats.org/officeDocument/2006/relationships/image" Target="../media/image107.svg"/><Relationship Id="rId11" Type="http://schemas.openxmlformats.org/officeDocument/2006/relationships/image" Target="../media/image110.png"/><Relationship Id="rId5" Type="http://schemas.openxmlformats.org/officeDocument/2006/relationships/image" Target="../media/image106.png"/><Relationship Id="rId15" Type="http://schemas.openxmlformats.org/officeDocument/2006/relationships/image" Target="../media/image114.svg"/><Relationship Id="rId23" Type="http://schemas.openxmlformats.org/officeDocument/2006/relationships/image" Target="../media/image144.svg"/><Relationship Id="rId10" Type="http://schemas.openxmlformats.org/officeDocument/2006/relationships/image" Target="../media/image140.emf"/><Relationship Id="rId19" Type="http://schemas.openxmlformats.org/officeDocument/2006/relationships/image" Target="../media/image118.emf"/><Relationship Id="rId4" Type="http://schemas.openxmlformats.org/officeDocument/2006/relationships/image" Target="../media/image136.svg"/><Relationship Id="rId9" Type="http://schemas.openxmlformats.org/officeDocument/2006/relationships/image" Target="../media/image139.svg"/><Relationship Id="rId14" Type="http://schemas.openxmlformats.org/officeDocument/2006/relationships/image" Target="../media/image113.png"/><Relationship Id="rId22" Type="http://schemas.openxmlformats.org/officeDocument/2006/relationships/image" Target="../media/image143.png"/></Relationships>
</file>

<file path=ppt/slides/_rels/slide21.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hyperlink" Target="https://www.youtube.com/watch?v=pL-c00M2CnI" TargetMode="External"/><Relationship Id="rId1" Type="http://schemas.openxmlformats.org/officeDocument/2006/relationships/slideLayout" Target="../slideLayouts/slideLayout43.xml"/><Relationship Id="rId4" Type="http://schemas.openxmlformats.org/officeDocument/2006/relationships/image" Target="../media/image55.svg"/></Relationships>
</file>

<file path=ppt/slides/_rels/slide23.xml.rels><?xml version="1.0" encoding="UTF-8" standalone="yes"?>
<Relationships xmlns="http://schemas.openxmlformats.org/package/2006/relationships"><Relationship Id="rId3" Type="http://schemas.openxmlformats.org/officeDocument/2006/relationships/image" Target="../media/image147.jp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38.xml"/><Relationship Id="rId1" Type="http://schemas.openxmlformats.org/officeDocument/2006/relationships/tags" Target="../tags/tag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tags" Target="../tags/tag6.xml"/><Relationship Id="rId7" Type="http://schemas.openxmlformats.org/officeDocument/2006/relationships/notesSlide" Target="../notesSlides/notesSlide23.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slideLayout" Target="../slideLayouts/slideLayout42.xml"/><Relationship Id="rId5" Type="http://schemas.openxmlformats.org/officeDocument/2006/relationships/tags" Target="../tags/tag8.xml"/><Relationship Id="rId4" Type="http://schemas.openxmlformats.org/officeDocument/2006/relationships/tags" Target="../tags/tag7.xml"/></Relationships>
</file>

<file path=ppt/slides/_rels/slide28.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image" Target="../media/image149.png"/><Relationship Id="rId7" Type="http://schemas.openxmlformats.org/officeDocument/2006/relationships/image" Target="../media/image153.png"/><Relationship Id="rId2" Type="http://schemas.openxmlformats.org/officeDocument/2006/relationships/notesSlide" Target="../notesSlides/notesSlide24.xml"/><Relationship Id="rId1" Type="http://schemas.openxmlformats.org/officeDocument/2006/relationships/slideLayout" Target="../slideLayouts/slideLayout50.xml"/><Relationship Id="rId6" Type="http://schemas.openxmlformats.org/officeDocument/2006/relationships/image" Target="../media/image152.png"/><Relationship Id="rId5" Type="http://schemas.openxmlformats.org/officeDocument/2006/relationships/image" Target="../media/image151.png"/><Relationship Id="rId10" Type="http://schemas.openxmlformats.org/officeDocument/2006/relationships/image" Target="../media/image156.png"/><Relationship Id="rId4" Type="http://schemas.openxmlformats.org/officeDocument/2006/relationships/image" Target="../media/image150.png"/><Relationship Id="rId9" Type="http://schemas.openxmlformats.org/officeDocument/2006/relationships/image" Target="../media/image155.png"/></Relationships>
</file>

<file path=ppt/slides/_rels/slide29.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slideLayout" Target="../slideLayouts/slideLayout29.xml"/><Relationship Id="rId1" Type="http://schemas.openxmlformats.org/officeDocument/2006/relationships/tags" Target="../tags/tag9.xml"/></Relationships>
</file>

<file path=ppt/slides/_rels/slide3.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4.xml"/><Relationship Id="rId1" Type="http://schemas.openxmlformats.org/officeDocument/2006/relationships/tags" Target="../tags/tag10.xml"/><Relationship Id="rId6" Type="http://schemas.openxmlformats.org/officeDocument/2006/relationships/image" Target="../media/image160.jpg"/><Relationship Id="rId5" Type="http://schemas.openxmlformats.org/officeDocument/2006/relationships/image" Target="../media/image159.jpg"/><Relationship Id="rId4" Type="http://schemas.openxmlformats.org/officeDocument/2006/relationships/image" Target="../media/image158.jp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31.xml"/><Relationship Id="rId1" Type="http://schemas.openxmlformats.org/officeDocument/2006/relationships/slideLayout" Target="../slideLayouts/slideLayout38.xml"/><Relationship Id="rId4" Type="http://schemas.openxmlformats.org/officeDocument/2006/relationships/image" Target="../media/image162.svg"/></Relationships>
</file>

<file path=ppt/slides/_rels/slide37.xml.rels><?xml version="1.0" encoding="UTF-8" standalone="yes"?>
<Relationships xmlns="http://schemas.openxmlformats.org/package/2006/relationships"><Relationship Id="rId8" Type="http://schemas.openxmlformats.org/officeDocument/2006/relationships/image" Target="../media/image166.png"/><Relationship Id="rId3" Type="http://schemas.openxmlformats.org/officeDocument/2006/relationships/notesSlide" Target="../notesSlides/notesSlide32.xml"/><Relationship Id="rId7" Type="http://schemas.openxmlformats.org/officeDocument/2006/relationships/image" Target="../media/image165.svg"/><Relationship Id="rId2" Type="http://schemas.openxmlformats.org/officeDocument/2006/relationships/slideLayout" Target="../slideLayouts/slideLayout9.xml"/><Relationship Id="rId1" Type="http://schemas.openxmlformats.org/officeDocument/2006/relationships/tags" Target="../tags/tag11.xml"/><Relationship Id="rId6" Type="http://schemas.openxmlformats.org/officeDocument/2006/relationships/image" Target="../media/image164.png"/><Relationship Id="rId11" Type="http://schemas.openxmlformats.org/officeDocument/2006/relationships/image" Target="../media/image169.svg"/><Relationship Id="rId5" Type="http://schemas.microsoft.com/office/2007/relationships/hdphoto" Target="../media/hdphoto6.wdp"/><Relationship Id="rId10" Type="http://schemas.openxmlformats.org/officeDocument/2006/relationships/image" Target="../media/image168.png"/><Relationship Id="rId4" Type="http://schemas.openxmlformats.org/officeDocument/2006/relationships/image" Target="../media/image163.png"/><Relationship Id="rId9" Type="http://schemas.openxmlformats.org/officeDocument/2006/relationships/image" Target="../media/image167.svg"/></Relationships>
</file>

<file path=ppt/slides/_rels/slide38.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slideLayout" Target="../slideLayouts/slideLayout9.xml"/><Relationship Id="rId1" Type="http://schemas.openxmlformats.org/officeDocument/2006/relationships/tags" Target="../tags/tag12.xml"/><Relationship Id="rId4" Type="http://schemas.microsoft.com/office/2007/relationships/hdphoto" Target="../media/hdphoto6.wdp"/></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3.xml"/><Relationship Id="rId1" Type="http://schemas.openxmlformats.org/officeDocument/2006/relationships/slideLayout" Target="../slideLayouts/slideLayout4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hyperlink" Target="https://www.youtube.com/watch?v=R2mC-NUAmMk" TargetMode="External"/><Relationship Id="rId1" Type="http://schemas.openxmlformats.org/officeDocument/2006/relationships/slideLayout" Target="../slideLayouts/slideLayout6.xml"/><Relationship Id="rId4" Type="http://schemas.openxmlformats.org/officeDocument/2006/relationships/image" Target="../media/image55.svg"/></Relationships>
</file>

<file path=ppt/slides/_rels/slide40.xml.rels><?xml version="1.0" encoding="UTF-8" standalone="yes"?>
<Relationships xmlns="http://schemas.openxmlformats.org/package/2006/relationships"><Relationship Id="rId8" Type="http://schemas.openxmlformats.org/officeDocument/2006/relationships/image" Target="../media/image180.png"/><Relationship Id="rId13" Type="http://schemas.openxmlformats.org/officeDocument/2006/relationships/image" Target="../media/image185.pn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184.png"/><Relationship Id="rId2" Type="http://schemas.openxmlformats.org/officeDocument/2006/relationships/notesSlide" Target="../notesSlides/notesSlide34.xml"/><Relationship Id="rId16" Type="http://schemas.openxmlformats.org/officeDocument/2006/relationships/image" Target="../media/image188.png"/><Relationship Id="rId1" Type="http://schemas.openxmlformats.org/officeDocument/2006/relationships/slideLayout" Target="../slideLayouts/slideLayout26.xml"/><Relationship Id="rId6" Type="http://schemas.openxmlformats.org/officeDocument/2006/relationships/diagramColors" Target="../diagrams/colors2.xml"/><Relationship Id="rId11" Type="http://schemas.openxmlformats.org/officeDocument/2006/relationships/image" Target="../media/image183.png"/><Relationship Id="rId5" Type="http://schemas.openxmlformats.org/officeDocument/2006/relationships/diagramQuickStyle" Target="../diagrams/quickStyle2.xml"/><Relationship Id="rId15" Type="http://schemas.openxmlformats.org/officeDocument/2006/relationships/image" Target="../media/image187.png"/><Relationship Id="rId10" Type="http://schemas.openxmlformats.org/officeDocument/2006/relationships/image" Target="../media/image182.png"/><Relationship Id="rId4" Type="http://schemas.openxmlformats.org/officeDocument/2006/relationships/diagramLayout" Target="../diagrams/layout2.xml"/><Relationship Id="rId9" Type="http://schemas.openxmlformats.org/officeDocument/2006/relationships/image" Target="../media/image181.png"/><Relationship Id="rId14" Type="http://schemas.openxmlformats.org/officeDocument/2006/relationships/image" Target="../media/image186.png"/></Relationships>
</file>

<file path=ppt/slides/_rels/slide41.xml.rels><?xml version="1.0" encoding="UTF-8" standalone="yes"?>
<Relationships xmlns="http://schemas.openxmlformats.org/package/2006/relationships"><Relationship Id="rId8" Type="http://schemas.openxmlformats.org/officeDocument/2006/relationships/image" Target="../media/image194.png"/><Relationship Id="rId3" Type="http://schemas.openxmlformats.org/officeDocument/2006/relationships/image" Target="../media/image189.PNG"/><Relationship Id="rId7" Type="http://schemas.openxmlformats.org/officeDocument/2006/relationships/image" Target="../media/image193.png"/><Relationship Id="rId2" Type="http://schemas.openxmlformats.org/officeDocument/2006/relationships/notesSlide" Target="../notesSlides/notesSlide35.xml"/><Relationship Id="rId1" Type="http://schemas.openxmlformats.org/officeDocument/2006/relationships/slideLayout" Target="../slideLayouts/slideLayout40.xml"/><Relationship Id="rId6" Type="http://schemas.openxmlformats.org/officeDocument/2006/relationships/image" Target="../media/image192.png"/><Relationship Id="rId11" Type="http://schemas.openxmlformats.org/officeDocument/2006/relationships/image" Target="../media/image197.png"/><Relationship Id="rId5" Type="http://schemas.openxmlformats.org/officeDocument/2006/relationships/image" Target="../media/image191.png"/><Relationship Id="rId10" Type="http://schemas.openxmlformats.org/officeDocument/2006/relationships/image" Target="../media/image196.jpeg"/><Relationship Id="rId4" Type="http://schemas.openxmlformats.org/officeDocument/2006/relationships/image" Target="../media/image190.png"/><Relationship Id="rId9" Type="http://schemas.openxmlformats.org/officeDocument/2006/relationships/image" Target="../media/image195.jpeg"/></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39.xml"/><Relationship Id="rId1" Type="http://schemas.openxmlformats.org/officeDocument/2006/relationships/tags" Target="../tags/tag13.xml"/></Relationships>
</file>

<file path=ppt/slides/_rels/slide43.xml.rels><?xml version="1.0" encoding="UTF-8" standalone="yes"?>
<Relationships xmlns="http://schemas.openxmlformats.org/package/2006/relationships"><Relationship Id="rId3" Type="http://schemas.openxmlformats.org/officeDocument/2006/relationships/hyperlink" Target="https://azure.microsoft.com/en-us/updates/azure-machine-learning-managed-online-and-batch-endpoints-now-in-public-preview-build-2021/" TargetMode="External"/><Relationship Id="rId2" Type="http://schemas.openxmlformats.org/officeDocument/2006/relationships/hyperlink" Target="https://azure.microsoft.com/en-us/updates/azure-machine-learning-public-preview-announcement-build-may-2021/" TargetMode="External"/><Relationship Id="rId1" Type="http://schemas.openxmlformats.org/officeDocument/2006/relationships/slideLayout" Target="../slideLayouts/slideLayout31.xml"/><Relationship Id="rId4" Type="http://schemas.openxmlformats.org/officeDocument/2006/relationships/image" Target="../media/image198.png"/></Relationships>
</file>

<file path=ppt/slides/_rels/slide44.xml.rels><?xml version="1.0" encoding="UTF-8" standalone="yes"?>
<Relationships xmlns="http://schemas.openxmlformats.org/package/2006/relationships"><Relationship Id="rId3" Type="http://schemas.openxmlformats.org/officeDocument/2006/relationships/image" Target="../media/image200.svg"/><Relationship Id="rId2" Type="http://schemas.openxmlformats.org/officeDocument/2006/relationships/image" Target="../media/image199.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hyperlink" Target="https://medium.com/analytics-vidhya/automated-machine-learning-end-to-end-open-hack-303d88923b76" TargetMode="External"/><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hyperlink" Target="https://github.com/balakreshnan/AutomatedML/blob/main/Beginner/Intro.md" TargetMode="External"/></Relationships>
</file>

<file path=ppt/slides/_rels/slide46.xml.rels><?xml version="1.0" encoding="UTF-8" standalone="yes"?>
<Relationships xmlns="http://schemas.openxmlformats.org/package/2006/relationships"><Relationship Id="rId8" Type="http://schemas.openxmlformats.org/officeDocument/2006/relationships/hyperlink" Target="https://aka.ms/automatedmlsamples" TargetMode="External"/><Relationship Id="rId13" Type="http://schemas.openxmlformats.org/officeDocument/2006/relationships/hyperlink" Target="https://github.com/balakreshnan/AzurePercept/blob/main/Analytics/synapseint.md" TargetMode="External"/><Relationship Id="rId3" Type="http://schemas.openxmlformats.org/officeDocument/2006/relationships/notesSlide" Target="../notesSlides/notesSlide37.xml"/><Relationship Id="rId7" Type="http://schemas.openxmlformats.org/officeDocument/2006/relationships/hyperlink" Target="https://aka.ms/automatedmldocs" TargetMode="External"/><Relationship Id="rId12" Type="http://schemas.openxmlformats.org/officeDocument/2006/relationships/hyperlink" Target="https://github.com/balakreshnan/sdd/blob/master/covidproject.md" TargetMode="External"/><Relationship Id="rId2" Type="http://schemas.openxmlformats.org/officeDocument/2006/relationships/slideLayout" Target="../slideLayouts/slideLayout60.xml"/><Relationship Id="rId1" Type="http://schemas.openxmlformats.org/officeDocument/2006/relationships/tags" Target="../tags/tag14.xml"/><Relationship Id="rId6" Type="http://schemas.openxmlformats.org/officeDocument/2006/relationships/image" Target="../media/image202.png"/><Relationship Id="rId11" Type="http://schemas.openxmlformats.org/officeDocument/2006/relationships/hyperlink" Target="https://github.com/balakreshnan/WorkplaceSafety" TargetMode="External"/><Relationship Id="rId5" Type="http://schemas.openxmlformats.org/officeDocument/2006/relationships/image" Target="../media/image201.png"/><Relationship Id="rId10" Type="http://schemas.openxmlformats.org/officeDocument/2006/relationships/hyperlink" Target="mailto:AskAutomatedML@microsoft.com?subject=Automated%20ML%20Feedback" TargetMode="External"/><Relationship Id="rId4" Type="http://schemas.openxmlformats.org/officeDocument/2006/relationships/hyperlink" Target="http://aka.ms/amlfree" TargetMode="External"/><Relationship Id="rId9" Type="http://schemas.openxmlformats.org/officeDocument/2006/relationships/hyperlink" Target="https://aka.ms/AutomatedML" TargetMode="Externa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hyperlink" Target="https://papers.ssrn.com/sol3/papers.cfm?abstract_id=3859672" TargetMode="External"/><Relationship Id="rId2" Type="http://schemas.openxmlformats.org/officeDocument/2006/relationships/slideLayout" Target="../slideLayouts/slideLayout60.xml"/><Relationship Id="rId1" Type="http://schemas.openxmlformats.org/officeDocument/2006/relationships/tags" Target="../tags/tag15.xml"/><Relationship Id="rId6" Type="http://schemas.openxmlformats.org/officeDocument/2006/relationships/hyperlink" Target="https://www.sciencedirect.com/science/article/pii/S2351978920310556" TargetMode="External"/><Relationship Id="rId5" Type="http://schemas.openxmlformats.org/officeDocument/2006/relationships/image" Target="../media/image202.png"/><Relationship Id="rId4" Type="http://schemas.openxmlformats.org/officeDocument/2006/relationships/image" Target="../media/image201.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65.xml"/><Relationship Id="rId1" Type="http://schemas.openxmlformats.org/officeDocument/2006/relationships/tags" Target="../tags/tag16.xml"/></Relationships>
</file>

<file path=ppt/slides/_rels/slide5.xml.rels><?xml version="1.0" encoding="UTF-8" standalone="yes"?>
<Relationships xmlns="http://schemas.openxmlformats.org/package/2006/relationships"><Relationship Id="rId8" Type="http://schemas.openxmlformats.org/officeDocument/2006/relationships/image" Target="../media/image61.jpeg"/><Relationship Id="rId13" Type="http://schemas.openxmlformats.org/officeDocument/2006/relationships/image" Target="../media/image66.jpeg"/><Relationship Id="rId3" Type="http://schemas.openxmlformats.org/officeDocument/2006/relationships/image" Target="../media/image56.jpeg"/><Relationship Id="rId7" Type="http://schemas.openxmlformats.org/officeDocument/2006/relationships/image" Target="../media/image60.jpeg"/><Relationship Id="rId12" Type="http://schemas.openxmlformats.org/officeDocument/2006/relationships/image" Target="../media/image65.jpe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59.jpeg"/><Relationship Id="rId11" Type="http://schemas.openxmlformats.org/officeDocument/2006/relationships/image" Target="../media/image64.jpeg"/><Relationship Id="rId5" Type="http://schemas.openxmlformats.org/officeDocument/2006/relationships/image" Target="../media/image58.jpeg"/><Relationship Id="rId10" Type="http://schemas.openxmlformats.org/officeDocument/2006/relationships/image" Target="../media/image63.jpeg"/><Relationship Id="rId4" Type="http://schemas.openxmlformats.org/officeDocument/2006/relationships/image" Target="../media/image57.jpeg"/><Relationship Id="rId9" Type="http://schemas.openxmlformats.org/officeDocument/2006/relationships/image" Target="../media/image62.jpeg"/><Relationship Id="rId14" Type="http://schemas.openxmlformats.org/officeDocument/2006/relationships/image" Target="../media/image67.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notesSlide" Target="../notesSlides/notesSlide7.xml"/><Relationship Id="rId1" Type="http://schemas.openxmlformats.org/officeDocument/2006/relationships/slideLayout" Target="../slideLayouts/slideLayout77.xml"/><Relationship Id="rId5" Type="http://schemas.openxmlformats.org/officeDocument/2006/relationships/image" Target="../media/image70.emf"/><Relationship Id="rId4" Type="http://schemas.openxmlformats.org/officeDocument/2006/relationships/image" Target="../media/image69.emf"/></Relationships>
</file>

<file path=ppt/slides/_rels/slide9.xml.rels><?xml version="1.0" encoding="UTF-8" standalone="yes"?>
<Relationships xmlns="http://schemas.openxmlformats.org/package/2006/relationships"><Relationship Id="rId8" Type="http://schemas.openxmlformats.org/officeDocument/2006/relationships/image" Target="../media/image76.emf"/><Relationship Id="rId13" Type="http://schemas.openxmlformats.org/officeDocument/2006/relationships/image" Target="../media/image81.emf"/><Relationship Id="rId18" Type="http://schemas.openxmlformats.org/officeDocument/2006/relationships/image" Target="../media/image86.emf"/><Relationship Id="rId3" Type="http://schemas.openxmlformats.org/officeDocument/2006/relationships/image" Target="../media/image71.emf"/><Relationship Id="rId21" Type="http://schemas.openxmlformats.org/officeDocument/2006/relationships/image" Target="../media/image89.emf"/><Relationship Id="rId7" Type="http://schemas.openxmlformats.org/officeDocument/2006/relationships/image" Target="../media/image75.emf"/><Relationship Id="rId12" Type="http://schemas.openxmlformats.org/officeDocument/2006/relationships/image" Target="../media/image80.emf"/><Relationship Id="rId17" Type="http://schemas.openxmlformats.org/officeDocument/2006/relationships/image" Target="../media/image85.emf"/><Relationship Id="rId2" Type="http://schemas.openxmlformats.org/officeDocument/2006/relationships/notesSlide" Target="../notesSlides/notesSlide8.xml"/><Relationship Id="rId16" Type="http://schemas.openxmlformats.org/officeDocument/2006/relationships/image" Target="../media/image84.emf"/><Relationship Id="rId20" Type="http://schemas.openxmlformats.org/officeDocument/2006/relationships/image" Target="../media/image88.emf"/><Relationship Id="rId1" Type="http://schemas.openxmlformats.org/officeDocument/2006/relationships/slideLayout" Target="../slideLayouts/slideLayout84.xml"/><Relationship Id="rId6" Type="http://schemas.openxmlformats.org/officeDocument/2006/relationships/image" Target="../media/image74.emf"/><Relationship Id="rId11" Type="http://schemas.openxmlformats.org/officeDocument/2006/relationships/image" Target="../media/image79.emf"/><Relationship Id="rId5" Type="http://schemas.openxmlformats.org/officeDocument/2006/relationships/image" Target="../media/image73.emf"/><Relationship Id="rId15" Type="http://schemas.openxmlformats.org/officeDocument/2006/relationships/image" Target="../media/image83.emf"/><Relationship Id="rId10" Type="http://schemas.openxmlformats.org/officeDocument/2006/relationships/image" Target="../media/image78.emf"/><Relationship Id="rId19" Type="http://schemas.openxmlformats.org/officeDocument/2006/relationships/image" Target="../media/image87.emf"/><Relationship Id="rId4" Type="http://schemas.openxmlformats.org/officeDocument/2006/relationships/image" Target="../media/image72.emf"/><Relationship Id="rId9" Type="http://schemas.openxmlformats.org/officeDocument/2006/relationships/image" Target="../media/image77.emf"/><Relationship Id="rId14" Type="http://schemas.openxmlformats.org/officeDocument/2006/relationships/image" Target="../media/image82.emf"/><Relationship Id="rId22" Type="http://schemas.openxmlformats.org/officeDocument/2006/relationships/image" Target="../media/image9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txBox="1">
            <a:spLocks/>
          </p:cNvSpPr>
          <p:nvPr/>
        </p:nvSpPr>
        <p:spPr bwMode="auto">
          <a:xfrm>
            <a:off x="270129" y="3312586"/>
            <a:ext cx="6270274" cy="692465"/>
          </a:xfrm>
          <a:prstGeom prst="rect">
            <a:avLst/>
          </a:prstGeom>
        </p:spPr>
        <p:txBody>
          <a:bodyPr vert="horz" wrap="square" lIns="164569" tIns="109712" rIns="164569" bIns="109712" rtlCol="0" anchor="t">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3200" kern="1200" spc="0" baseline="0">
                <a:gradFill>
                  <a:gsLst>
                    <a:gs pos="1307">
                      <a:srgbClr val="353535"/>
                    </a:gs>
                    <a:gs pos="30000">
                      <a:srgbClr val="353535"/>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defRPr/>
            </a:pPr>
            <a:r>
              <a:rPr lang="en-US" sz="1800" dirty="0">
                <a:solidFill>
                  <a:srgbClr val="000000"/>
                </a:solidFill>
                <a:effectLst/>
                <a:latin typeface="Calibri" panose="020F0502020204030204" pitchFamily="34" charset="0"/>
                <a:ea typeface="Times New Roman" panose="02020603050405020304" pitchFamily="18" charset="0"/>
              </a:rPr>
              <a:t>Milwaukee Tech Hub Summer 2021 Pre-Internship program </a:t>
            </a:r>
            <a:r>
              <a:rPr lang="en-US" sz="1600" dirty="0">
                <a:solidFill>
                  <a:schemeClr val="tx1"/>
                </a:solidFill>
                <a:latin typeface="Segoe UI Semilight"/>
              </a:rPr>
              <a:t>Azure Machine Learning for Beginners</a:t>
            </a:r>
            <a:endParaRPr lang="en-US" sz="1568" dirty="0">
              <a:solidFill>
                <a:schemeClr val="tx1"/>
              </a:solidFill>
              <a:latin typeface="Segoe UI Semilight"/>
            </a:endParaRPr>
          </a:p>
        </p:txBody>
      </p:sp>
      <p:sp>
        <p:nvSpPr>
          <p:cNvPr id="2" name="Title 1">
            <a:extLst>
              <a:ext uri="{FF2B5EF4-FFF2-40B4-BE49-F238E27FC236}">
                <a16:creationId xmlns:a16="http://schemas.microsoft.com/office/drawing/2014/main" id="{D73084B9-E37E-4841-ADE3-D1614D06A84A}"/>
              </a:ext>
            </a:extLst>
          </p:cNvPr>
          <p:cNvSpPr>
            <a:spLocks noGrp="1"/>
          </p:cNvSpPr>
          <p:nvPr>
            <p:ph type="title"/>
          </p:nvPr>
        </p:nvSpPr>
        <p:spPr>
          <a:xfrm>
            <a:off x="270129" y="2086844"/>
            <a:ext cx="8132296" cy="1108586"/>
          </a:xfrm>
        </p:spPr>
        <p:txBody>
          <a:bodyPr>
            <a:normAutofit/>
          </a:bodyPr>
          <a:lstStyle/>
          <a:p>
            <a:r>
              <a:rPr lang="en-US" sz="2800" dirty="0">
                <a:solidFill>
                  <a:srgbClr val="000000"/>
                </a:solidFill>
                <a:effectLst/>
                <a:latin typeface="Calibri" panose="020F0502020204030204" pitchFamily="34" charset="0"/>
                <a:ea typeface="Times New Roman" panose="02020603050405020304" pitchFamily="18" charset="0"/>
              </a:rPr>
              <a:t>Art of Machine Learning for Beginners: Azure Machine Learning Automated ML</a:t>
            </a:r>
            <a:endParaRPr lang="en-US" sz="2800" dirty="0"/>
          </a:p>
        </p:txBody>
      </p:sp>
      <p:sp>
        <p:nvSpPr>
          <p:cNvPr id="3" name="TextBox 2">
            <a:extLst>
              <a:ext uri="{FF2B5EF4-FFF2-40B4-BE49-F238E27FC236}">
                <a16:creationId xmlns:a16="http://schemas.microsoft.com/office/drawing/2014/main" id="{F4D3D436-64D9-40BB-9875-36170145FC9A}"/>
              </a:ext>
            </a:extLst>
          </p:cNvPr>
          <p:cNvSpPr txBox="1"/>
          <p:nvPr/>
        </p:nvSpPr>
        <p:spPr>
          <a:xfrm>
            <a:off x="407503" y="4164496"/>
            <a:ext cx="7310231" cy="369332"/>
          </a:xfrm>
          <a:prstGeom prst="rect">
            <a:avLst/>
          </a:prstGeom>
          <a:noFill/>
        </p:spPr>
        <p:txBody>
          <a:bodyPr wrap="square" rtlCol="0">
            <a:spAutoFit/>
          </a:bodyPr>
          <a:lstStyle/>
          <a:p>
            <a:r>
              <a:rPr lang="en-US" dirty="0"/>
              <a:t>Balamurugan Balakreshnan – Cloud Solution Architect (Data and AI)</a:t>
            </a:r>
          </a:p>
        </p:txBody>
      </p:sp>
      <p:pic>
        <p:nvPicPr>
          <p:cNvPr id="8" name="Picture 7" descr="A picture containing lit, dark, computer, traffic&#10;&#10;Description automatically generated">
            <a:extLst>
              <a:ext uri="{FF2B5EF4-FFF2-40B4-BE49-F238E27FC236}">
                <a16:creationId xmlns:a16="http://schemas.microsoft.com/office/drawing/2014/main" id="{6929DA99-65EA-42EE-B0D5-26FABC429E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160570"/>
            <a:ext cx="2290970" cy="671118"/>
          </a:xfrm>
          <a:prstGeom prst="rect">
            <a:avLst/>
          </a:prstGeom>
        </p:spPr>
      </p:pic>
    </p:spTree>
    <p:custDataLst>
      <p:tags r:id="rId1"/>
    </p:custDataLst>
    <p:extLst>
      <p:ext uri="{BB962C8B-B14F-4D97-AF65-F5344CB8AC3E}">
        <p14:creationId xmlns:p14="http://schemas.microsoft.com/office/powerpoint/2010/main" val="130803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9514" y="182216"/>
            <a:ext cx="11524432" cy="696090"/>
          </a:xfrm>
        </p:spPr>
        <p:txBody>
          <a:bodyPr/>
          <a:lstStyle/>
          <a:p>
            <a:r>
              <a:rPr lang="en-US" dirty="0"/>
              <a:t>Supervised Learning</a:t>
            </a:r>
          </a:p>
        </p:txBody>
      </p:sp>
      <p:sp>
        <p:nvSpPr>
          <p:cNvPr id="3" name="Content Placeholder 2"/>
          <p:cNvSpPr>
            <a:spLocks noGrp="1"/>
          </p:cNvSpPr>
          <p:nvPr>
            <p:ph sz="quarter" idx="10"/>
          </p:nvPr>
        </p:nvSpPr>
        <p:spPr>
          <a:xfrm>
            <a:off x="379412" y="878305"/>
            <a:ext cx="9526587" cy="5702969"/>
          </a:xfrm>
        </p:spPr>
        <p:txBody>
          <a:bodyPr/>
          <a:lstStyle/>
          <a:p>
            <a:pPr marL="457200" indent="-457200">
              <a:buFont typeface="+mj-lt"/>
              <a:buAutoNum type="arabicPeriod"/>
            </a:pPr>
            <a:r>
              <a:rPr lang="en-US" sz="2200" dirty="0"/>
              <a:t>Used when you want to predict unknown answers from answers you already have – requires data which shows the answers you can get now</a:t>
            </a:r>
          </a:p>
          <a:p>
            <a:pPr marL="457200" indent="-457200">
              <a:buFont typeface="+mj-lt"/>
              <a:buAutoNum type="arabicPeriod"/>
            </a:pPr>
            <a:r>
              <a:rPr lang="en-US" sz="2200" dirty="0"/>
              <a:t>Data is divided into two parts: the data you will use to “teach” the system (</a:t>
            </a:r>
            <a:r>
              <a:rPr lang="en-US" sz="2200" i="1" dirty="0"/>
              <a:t>data set</a:t>
            </a:r>
            <a:r>
              <a:rPr lang="en-US" sz="2200" dirty="0"/>
              <a:t>), and the data you will use to see if the computer’s algorithms are accurate (</a:t>
            </a:r>
            <a:r>
              <a:rPr lang="en-US" sz="2200" i="1" dirty="0"/>
              <a:t>test set</a:t>
            </a:r>
            <a:r>
              <a:rPr lang="en-US" sz="2200" dirty="0"/>
              <a:t>)</a:t>
            </a:r>
          </a:p>
          <a:p>
            <a:pPr marL="457200" indent="-457200">
              <a:buFont typeface="+mj-lt"/>
              <a:buAutoNum type="arabicPeriod"/>
            </a:pPr>
            <a:r>
              <a:rPr lang="en-US" sz="2200" dirty="0"/>
              <a:t>After you select and clean the data, you select data points that show the right relationships in the data. The answers are “labels”, the categories/columns/attributes are “features” and the values are…values.</a:t>
            </a:r>
          </a:p>
          <a:p>
            <a:pPr marL="457200" indent="-457200">
              <a:buFont typeface="+mj-lt"/>
              <a:buAutoNum type="arabicPeriod"/>
            </a:pPr>
            <a:r>
              <a:rPr lang="en-US" sz="2200" dirty="0"/>
              <a:t>Then you select an algorithm to compute </a:t>
            </a:r>
            <a:r>
              <a:rPr lang="en-US" sz="2200"/>
              <a:t>the </a:t>
            </a:r>
            <a:r>
              <a:rPr lang="en-US" sz="2200" i="1"/>
              <a:t>outcome</a:t>
            </a:r>
            <a:r>
              <a:rPr lang="en-US" sz="2200"/>
              <a:t>. </a:t>
            </a:r>
            <a:r>
              <a:rPr lang="en-US" sz="2200" dirty="0"/>
              <a:t>(Often you choose more than one)</a:t>
            </a:r>
          </a:p>
          <a:p>
            <a:pPr marL="457200" indent="-457200">
              <a:buFont typeface="+mj-lt"/>
              <a:buAutoNum type="arabicPeriod"/>
            </a:pPr>
            <a:r>
              <a:rPr lang="en-US" sz="2200" dirty="0"/>
              <a:t>You run the program on the data set, and check to see if you got the right answer from the test set.</a:t>
            </a:r>
          </a:p>
          <a:p>
            <a:pPr marL="457200" indent="-457200">
              <a:buFont typeface="+mj-lt"/>
              <a:buAutoNum type="arabicPeriod"/>
            </a:pPr>
            <a:r>
              <a:rPr lang="en-US" sz="2200" dirty="0"/>
              <a:t>Once you perform the experiment, you select the best </a:t>
            </a:r>
            <a:r>
              <a:rPr lang="en-US" sz="2200" i="1" dirty="0"/>
              <a:t>model</a:t>
            </a:r>
            <a:r>
              <a:rPr lang="en-US" sz="2200" dirty="0"/>
              <a:t>. This is the final output – the model is then used against more data to get the answers you need</a:t>
            </a:r>
          </a:p>
        </p:txBody>
      </p:sp>
    </p:spTree>
    <p:extLst>
      <p:ext uri="{BB962C8B-B14F-4D97-AF65-F5344CB8AC3E}">
        <p14:creationId xmlns:p14="http://schemas.microsoft.com/office/powerpoint/2010/main" val="3850463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9514" y="182216"/>
            <a:ext cx="11524432" cy="696090"/>
          </a:xfrm>
        </p:spPr>
        <p:txBody>
          <a:bodyPr/>
          <a:lstStyle/>
          <a:p>
            <a:r>
              <a:rPr lang="en-US" dirty="0"/>
              <a:t>Supervised Learning</a:t>
            </a:r>
          </a:p>
        </p:txBody>
      </p:sp>
      <p:sp>
        <p:nvSpPr>
          <p:cNvPr id="3" name="Content Placeholder 2"/>
          <p:cNvSpPr>
            <a:spLocks noGrp="1"/>
          </p:cNvSpPr>
          <p:nvPr>
            <p:ph sz="quarter" idx="10"/>
          </p:nvPr>
        </p:nvSpPr>
        <p:spPr>
          <a:xfrm>
            <a:off x="379413" y="878305"/>
            <a:ext cx="9414292" cy="5702969"/>
          </a:xfrm>
        </p:spPr>
        <p:txBody>
          <a:bodyPr/>
          <a:lstStyle/>
          <a:p>
            <a:pPr marL="457200" indent="-457200">
              <a:buFont typeface="+mj-lt"/>
              <a:buAutoNum type="arabicPeriod"/>
            </a:pPr>
            <a:r>
              <a:rPr lang="en-US" sz="2200" dirty="0"/>
              <a:t>Car</a:t>
            </a:r>
          </a:p>
          <a:p>
            <a:pPr marL="457200" indent="-457200">
              <a:buFont typeface="+mj-lt"/>
              <a:buAutoNum type="arabicPeriod"/>
            </a:pPr>
            <a:endParaRPr lang="en-US" sz="2200" dirty="0"/>
          </a:p>
          <a:p>
            <a:pPr marL="457200" indent="-457200">
              <a:buFont typeface="+mj-lt"/>
              <a:buAutoNum type="arabicPeriod"/>
            </a:pPr>
            <a:endParaRPr lang="en-US" sz="2200" dirty="0"/>
          </a:p>
          <a:p>
            <a:pPr marL="457200" indent="-457200">
              <a:buFont typeface="+mj-lt"/>
              <a:buAutoNum type="arabicPeriod"/>
            </a:pPr>
            <a:endParaRPr lang="en-US" sz="2200" dirty="0"/>
          </a:p>
          <a:p>
            <a:pPr marL="457200" indent="-457200">
              <a:buFont typeface="+mj-lt"/>
              <a:buAutoNum type="arabicPeriod"/>
            </a:pPr>
            <a:endParaRPr lang="en-US" sz="2200" dirty="0"/>
          </a:p>
          <a:p>
            <a:pPr marL="0" indent="0">
              <a:buNone/>
            </a:pPr>
            <a:endParaRPr lang="en-US" sz="2200" dirty="0"/>
          </a:p>
          <a:p>
            <a:pPr marL="457200" indent="-457200">
              <a:buFont typeface="+mj-lt"/>
              <a:buAutoNum type="arabicPeriod" startAt="2"/>
            </a:pPr>
            <a:r>
              <a:rPr lang="en-US" sz="2200" dirty="0"/>
              <a:t>Not Car</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40253" y="896817"/>
            <a:ext cx="1664746" cy="1664746"/>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00919" y="1519312"/>
            <a:ext cx="1771954" cy="1263994"/>
          </a:xfrm>
          <a:prstGeom prst="rect">
            <a:avLst/>
          </a:prstGeom>
        </p:spPr>
      </p:pic>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27019" y="2663085"/>
            <a:ext cx="2397162" cy="1712259"/>
          </a:xfrm>
          <a:prstGeom prst="rect">
            <a:avLst/>
          </a:prstGeom>
        </p:spPr>
      </p:pic>
      <p:pic>
        <p:nvPicPr>
          <p:cNvPr id="19" name="Picture 1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6958" y="2375869"/>
            <a:ext cx="1833127" cy="1082054"/>
          </a:xfrm>
          <a:prstGeom prst="rect">
            <a:avLst/>
          </a:prstGeom>
        </p:spPr>
      </p:pic>
      <p:pic>
        <p:nvPicPr>
          <p:cNvPr id="20" name="Picture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32959" y="2783307"/>
            <a:ext cx="2348277" cy="1341873"/>
          </a:xfrm>
          <a:prstGeom prst="rect">
            <a:avLst/>
          </a:prstGeom>
        </p:spPr>
      </p:pic>
      <p:pic>
        <p:nvPicPr>
          <p:cNvPr id="21" name="Picture 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41730" y="1080167"/>
            <a:ext cx="1841500" cy="1171575"/>
          </a:xfrm>
          <a:prstGeom prst="rect">
            <a:avLst/>
          </a:prstGeom>
        </p:spPr>
      </p:pic>
      <p:pic>
        <p:nvPicPr>
          <p:cNvPr id="22" name="Picture 2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4704" y="4629374"/>
            <a:ext cx="2125381" cy="1505478"/>
          </a:xfrm>
          <a:prstGeom prst="rect">
            <a:avLst/>
          </a:prstGeom>
        </p:spPr>
      </p:pic>
      <p:pic>
        <p:nvPicPr>
          <p:cNvPr id="23" name="Picture 2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560084" y="4711849"/>
            <a:ext cx="2022609" cy="2022609"/>
          </a:xfrm>
          <a:prstGeom prst="rect">
            <a:avLst/>
          </a:prstGeom>
        </p:spPr>
      </p:pic>
      <p:pic>
        <p:nvPicPr>
          <p:cNvPr id="24" name="Picture 2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172690" y="3954193"/>
            <a:ext cx="1385588" cy="842301"/>
          </a:xfrm>
          <a:prstGeom prst="rect">
            <a:avLst/>
          </a:prstGeom>
        </p:spPr>
      </p:pic>
      <p:pic>
        <p:nvPicPr>
          <p:cNvPr id="25" name="Picture 2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713937" y="4482637"/>
            <a:ext cx="1348475" cy="1652215"/>
          </a:xfrm>
          <a:prstGeom prst="rect">
            <a:avLst/>
          </a:prstGeom>
        </p:spPr>
      </p:pic>
    </p:spTree>
    <p:extLst>
      <p:ext uri="{BB962C8B-B14F-4D97-AF65-F5344CB8AC3E}">
        <p14:creationId xmlns:p14="http://schemas.microsoft.com/office/powerpoint/2010/main" val="799023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animEffect transition="in" filter="fade">
                                      <p:cBhvr>
                                        <p:cTn id="35" dur="500"/>
                                        <p:tgtEl>
                                          <p:spTgt spid="3">
                                            <p:txEl>
                                              <p:pRg st="6" end="6"/>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23"/>
                                        </p:tgtEl>
                                        <p:attrNameLst>
                                          <p:attrName>style.visibility</p:attrName>
                                        </p:attrNameLst>
                                      </p:cBhvr>
                                      <p:to>
                                        <p:strVal val="visible"/>
                                      </p:to>
                                    </p:set>
                                    <p:animEffect transition="in" filter="fade">
                                      <p:cBhvr>
                                        <p:cTn id="43" dur="500"/>
                                        <p:tgtEl>
                                          <p:spTgt spid="23"/>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500"/>
                                        <p:tgtEl>
                                          <p:spTgt spid="25"/>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500"/>
                                        <p:tgtEl>
                                          <p:spTgt spid="18"/>
                                        </p:tgtEl>
                                      </p:cBhvr>
                                    </p:animEffect>
                                  </p:childTnLst>
                                </p:cTn>
                              </p:par>
                              <p:par>
                                <p:cTn id="54" presetID="10" presetClass="entr" presetSubtype="0"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9514" y="182216"/>
            <a:ext cx="11524432" cy="696090"/>
          </a:xfrm>
        </p:spPr>
        <p:txBody>
          <a:bodyPr/>
          <a:lstStyle/>
          <a:p>
            <a:r>
              <a:rPr lang="en-US" dirty="0"/>
              <a:t>Unsupervised Learning</a:t>
            </a:r>
          </a:p>
        </p:txBody>
      </p:sp>
      <p:sp>
        <p:nvSpPr>
          <p:cNvPr id="3" name="Content Placeholder 2"/>
          <p:cNvSpPr>
            <a:spLocks noGrp="1"/>
          </p:cNvSpPr>
          <p:nvPr>
            <p:ph sz="quarter" idx="10"/>
          </p:nvPr>
        </p:nvSpPr>
        <p:spPr>
          <a:xfrm>
            <a:off x="379413" y="878305"/>
            <a:ext cx="9414292" cy="5702969"/>
          </a:xfrm>
        </p:spPr>
        <p:txBody>
          <a:bodyPr/>
          <a:lstStyle/>
          <a:p>
            <a:pPr marL="457200" indent="-457200">
              <a:buFont typeface="+mj-lt"/>
              <a:buAutoNum type="arabicPeriod"/>
            </a:pPr>
            <a:r>
              <a:rPr lang="en-US" dirty="0"/>
              <a:t>Used when you want to find unknown answers – mostly groupings - directly from data</a:t>
            </a:r>
          </a:p>
          <a:p>
            <a:pPr marL="457200" indent="-457200">
              <a:buFont typeface="+mj-lt"/>
              <a:buAutoNum type="arabicPeriod"/>
            </a:pPr>
            <a:r>
              <a:rPr lang="en-US" dirty="0"/>
              <a:t>No simple way to evaluate accuracy of what you learn</a:t>
            </a:r>
          </a:p>
          <a:p>
            <a:pPr marL="457200" indent="-457200">
              <a:buFont typeface="+mj-lt"/>
              <a:buAutoNum type="arabicPeriod"/>
            </a:pPr>
            <a:r>
              <a:rPr lang="en-US" dirty="0"/>
              <a:t>Evaluates more vectors, groups into sets or classifications</a:t>
            </a:r>
          </a:p>
          <a:p>
            <a:pPr marL="457200" indent="-457200">
              <a:buFont typeface="+mj-lt"/>
              <a:buAutoNum type="arabicPeriod"/>
            </a:pPr>
            <a:r>
              <a:rPr lang="en-US" dirty="0"/>
              <a:t>Start with the data</a:t>
            </a:r>
          </a:p>
          <a:p>
            <a:pPr marL="457200" indent="-457200">
              <a:buFont typeface="+mj-lt"/>
              <a:buAutoNum type="arabicPeriod"/>
            </a:pPr>
            <a:r>
              <a:rPr lang="en-US" dirty="0"/>
              <a:t>Apply algorithm</a:t>
            </a:r>
          </a:p>
          <a:p>
            <a:pPr marL="457200" indent="-457200">
              <a:buFont typeface="+mj-lt"/>
              <a:buAutoNum type="arabicPeriod"/>
            </a:pPr>
            <a:r>
              <a:rPr lang="en-US" dirty="0"/>
              <a:t>Evaluate groups</a:t>
            </a:r>
          </a:p>
        </p:txBody>
      </p:sp>
    </p:spTree>
    <p:extLst>
      <p:ext uri="{BB962C8B-B14F-4D97-AF65-F5344CB8AC3E}">
        <p14:creationId xmlns:p14="http://schemas.microsoft.com/office/powerpoint/2010/main" val="4213055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9514" y="182216"/>
            <a:ext cx="11524432" cy="696090"/>
          </a:xfrm>
        </p:spPr>
        <p:txBody>
          <a:bodyPr/>
          <a:lstStyle/>
          <a:p>
            <a:r>
              <a:rPr lang="en-US" dirty="0"/>
              <a:t>Unsupervised Learning</a:t>
            </a:r>
          </a:p>
        </p:txBody>
      </p:sp>
      <p:sp>
        <p:nvSpPr>
          <p:cNvPr id="3" name="Content Placeholder 2"/>
          <p:cNvSpPr>
            <a:spLocks noGrp="1"/>
          </p:cNvSpPr>
          <p:nvPr>
            <p:ph sz="quarter" idx="10"/>
          </p:nvPr>
        </p:nvSpPr>
        <p:spPr>
          <a:xfrm>
            <a:off x="379413" y="878305"/>
            <a:ext cx="9414292" cy="5702969"/>
          </a:xfrm>
        </p:spPr>
        <p:txBody>
          <a:bodyPr/>
          <a:lstStyle/>
          <a:p>
            <a:pPr marL="0" indent="0" algn="ctr">
              <a:buNone/>
            </a:pPr>
            <a:endParaRPr lang="en-US" sz="4000" dirty="0">
              <a:solidFill>
                <a:schemeClr val="accent1"/>
              </a:solidFill>
            </a:endParaRPr>
          </a:p>
          <a:p>
            <a:pPr marL="0" indent="0" algn="ctr">
              <a:buNone/>
            </a:pPr>
            <a:r>
              <a:rPr lang="en-US" sz="4000" dirty="0">
                <a:solidFill>
                  <a:schemeClr val="accent1"/>
                </a:solidFill>
              </a:rPr>
              <a:t>Example 1     </a:t>
            </a:r>
            <a:r>
              <a:rPr lang="en-US" sz="4000" dirty="0">
                <a:solidFill>
                  <a:schemeClr val="accent2"/>
                </a:solidFill>
              </a:rPr>
              <a:t>example A</a:t>
            </a:r>
            <a:r>
              <a:rPr lang="en-US" sz="4000" dirty="0"/>
              <a:t>    </a:t>
            </a:r>
            <a:r>
              <a:rPr lang="en-US" sz="4000" dirty="0">
                <a:solidFill>
                  <a:schemeClr val="accent1"/>
                </a:solidFill>
              </a:rPr>
              <a:t>Example 2  </a:t>
            </a:r>
            <a:r>
              <a:rPr lang="en-US" sz="4000" dirty="0">
                <a:solidFill>
                  <a:schemeClr val="accent2"/>
                </a:solidFill>
              </a:rPr>
              <a:t>example B     </a:t>
            </a:r>
            <a:r>
              <a:rPr lang="en-US" sz="4000" dirty="0">
                <a:solidFill>
                  <a:schemeClr val="accent1"/>
                </a:solidFill>
              </a:rPr>
              <a:t>Example 3    </a:t>
            </a:r>
            <a:r>
              <a:rPr lang="en-US" sz="4000" dirty="0">
                <a:solidFill>
                  <a:schemeClr val="accent2"/>
                </a:solidFill>
              </a:rPr>
              <a:t>example C</a:t>
            </a:r>
          </a:p>
          <a:p>
            <a:pPr marL="0" indent="0">
              <a:buNone/>
            </a:pPr>
            <a:endParaRPr lang="en-US" dirty="0"/>
          </a:p>
          <a:p>
            <a:pPr marL="0" indent="0">
              <a:buNone/>
            </a:pPr>
            <a:endParaRPr lang="en-US" dirty="0"/>
          </a:p>
        </p:txBody>
      </p:sp>
      <p:graphicFrame>
        <p:nvGraphicFramePr>
          <p:cNvPr id="5" name="Table 4"/>
          <p:cNvGraphicFramePr>
            <a:graphicFrameLocks noGrp="1"/>
          </p:cNvGraphicFramePr>
          <p:nvPr/>
        </p:nvGraphicFramePr>
        <p:xfrm>
          <a:off x="1020012" y="4040382"/>
          <a:ext cx="8127999" cy="1280160"/>
        </p:xfrm>
        <a:graphic>
          <a:graphicData uri="http://schemas.openxmlformats.org/drawingml/2006/table">
            <a:tbl>
              <a:tblPr firstRow="1" bandRow="1">
                <a:tableStyleId>{5940675A-B579-460E-94D1-54222C63F5DA}</a:tableStyleId>
              </a:tblPr>
              <a:tblGrid>
                <a:gridCol w="2709333">
                  <a:extLst>
                    <a:ext uri="{9D8B030D-6E8A-4147-A177-3AD203B41FA5}">
                      <a16:colId xmlns:a16="http://schemas.microsoft.com/office/drawing/2014/main" val="20000"/>
                    </a:ext>
                  </a:extLst>
                </a:gridCol>
                <a:gridCol w="2709333">
                  <a:extLst>
                    <a:ext uri="{9D8B030D-6E8A-4147-A177-3AD203B41FA5}">
                      <a16:colId xmlns:a16="http://schemas.microsoft.com/office/drawing/2014/main" val="20001"/>
                    </a:ext>
                  </a:extLst>
                </a:gridCol>
                <a:gridCol w="2709333">
                  <a:extLst>
                    <a:ext uri="{9D8B030D-6E8A-4147-A177-3AD203B41FA5}">
                      <a16:colId xmlns:a16="http://schemas.microsoft.com/office/drawing/2014/main" val="20002"/>
                    </a:ext>
                  </a:extLst>
                </a:gridCol>
              </a:tblGrid>
              <a:tr h="370840">
                <a:tc>
                  <a:txBody>
                    <a:bodyPr/>
                    <a:lstStyle/>
                    <a:p>
                      <a:pPr algn="ctr"/>
                      <a:r>
                        <a:rPr lang="en-US" sz="3600" dirty="0">
                          <a:solidFill>
                            <a:schemeClr val="accent2"/>
                          </a:solidFill>
                        </a:rPr>
                        <a:t>example A</a:t>
                      </a:r>
                      <a:endParaRPr lang="en-US" sz="3600" b="0" dirty="0">
                        <a:solidFill>
                          <a:schemeClr val="accent2"/>
                        </a:solidFill>
                      </a:endParaRPr>
                    </a:p>
                  </a:txBody>
                  <a:tcPr/>
                </a:tc>
                <a:tc>
                  <a:txBody>
                    <a:bodyPr/>
                    <a:lstStyle/>
                    <a:p>
                      <a:pPr algn="ctr"/>
                      <a:r>
                        <a:rPr lang="en-US" sz="3600" dirty="0">
                          <a:solidFill>
                            <a:schemeClr val="accent2"/>
                          </a:solidFill>
                        </a:rPr>
                        <a:t>example B</a:t>
                      </a:r>
                      <a:endParaRPr lang="en-US" sz="3600" b="0" dirty="0">
                        <a:solidFill>
                          <a:schemeClr val="accent2"/>
                        </a:solidFill>
                      </a:endParaRPr>
                    </a:p>
                  </a:txBody>
                  <a:tcPr/>
                </a:tc>
                <a:tc>
                  <a:txBody>
                    <a:bodyPr/>
                    <a:lstStyle/>
                    <a:p>
                      <a:pPr marL="0" marR="0" indent="0" algn="ctr" defTabSz="914088" rtl="0" eaLnBrk="1" fontAlgn="auto" latinLnBrk="0" hangingPunct="1">
                        <a:lnSpc>
                          <a:spcPct val="100000"/>
                        </a:lnSpc>
                        <a:spcBef>
                          <a:spcPts val="0"/>
                        </a:spcBef>
                        <a:spcAft>
                          <a:spcPts val="0"/>
                        </a:spcAft>
                        <a:buClrTx/>
                        <a:buSzTx/>
                        <a:buFontTx/>
                        <a:buNone/>
                        <a:tabLst/>
                        <a:defRPr/>
                      </a:pPr>
                      <a:r>
                        <a:rPr lang="en-US" sz="3600" dirty="0">
                          <a:solidFill>
                            <a:schemeClr val="accent2"/>
                          </a:solidFill>
                        </a:rPr>
                        <a:t>example C</a:t>
                      </a:r>
                      <a:endParaRPr lang="en-US" sz="3600" b="0" dirty="0">
                        <a:solidFill>
                          <a:schemeClr val="accent2"/>
                        </a:solidFill>
                      </a:endParaRPr>
                    </a:p>
                  </a:txBody>
                  <a:tcPr/>
                </a:tc>
                <a:extLst>
                  <a:ext uri="{0D108BD9-81ED-4DB2-BD59-A6C34878D82A}">
                    <a16:rowId xmlns:a16="http://schemas.microsoft.com/office/drawing/2014/main" val="10000"/>
                  </a:ext>
                </a:extLst>
              </a:tr>
              <a:tr h="370840">
                <a:tc>
                  <a:txBody>
                    <a:bodyPr/>
                    <a:lstStyle/>
                    <a:p>
                      <a:pPr algn="ctr"/>
                      <a:r>
                        <a:rPr lang="en-US" sz="3600" dirty="0">
                          <a:solidFill>
                            <a:schemeClr val="accent1"/>
                          </a:solidFill>
                        </a:rPr>
                        <a:t>Example 1</a:t>
                      </a:r>
                    </a:p>
                  </a:txBody>
                  <a:tcPr/>
                </a:tc>
                <a:tc>
                  <a:txBody>
                    <a:bodyPr/>
                    <a:lstStyle/>
                    <a:p>
                      <a:pPr algn="ctr"/>
                      <a:r>
                        <a:rPr lang="en-US" sz="3600" dirty="0">
                          <a:solidFill>
                            <a:schemeClr val="accent1"/>
                          </a:solidFill>
                        </a:rPr>
                        <a:t>Example 2 </a:t>
                      </a:r>
                    </a:p>
                  </a:txBody>
                  <a:tcPr/>
                </a:tc>
                <a:tc>
                  <a:txBody>
                    <a:bodyPr/>
                    <a:lstStyle/>
                    <a:p>
                      <a:pPr algn="ctr"/>
                      <a:r>
                        <a:rPr lang="en-US" sz="3600" dirty="0">
                          <a:solidFill>
                            <a:schemeClr val="accent1"/>
                          </a:solidFill>
                        </a:rPr>
                        <a:t>Example 3</a:t>
                      </a: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4604327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Sustainability photo">
            <a:extLst>
              <a:ext uri="{FF2B5EF4-FFF2-40B4-BE49-F238E27FC236}">
                <a16:creationId xmlns:a16="http://schemas.microsoft.com/office/drawing/2014/main" id="{3C1BEAB0-E066-4FC3-9E6B-90CCE870B18D}"/>
              </a:ext>
            </a:extLst>
          </p:cNvPr>
          <p:cNvPicPr>
            <a:picLocks noChangeAspect="1"/>
          </p:cNvPicPr>
          <p:nvPr/>
        </p:nvPicPr>
        <p:blipFill rotWithShape="1">
          <a:blip r:embed="rId3">
            <a:extLst>
              <a:ext uri="{28A0092B-C50C-407E-A947-70E740481C1C}">
                <a14:useLocalDpi xmlns:a14="http://schemas.microsoft.com/office/drawing/2010/main" val="0"/>
              </a:ext>
            </a:extLst>
          </a:blip>
          <a:srcRect l="35112" t="37" r="41384" b="37"/>
          <a:stretch/>
        </p:blipFill>
        <p:spPr>
          <a:xfrm>
            <a:off x="9768840" y="19051"/>
            <a:ext cx="2423160" cy="6819900"/>
          </a:xfrm>
          <a:prstGeom prst="rect">
            <a:avLst/>
          </a:prstGeom>
        </p:spPr>
      </p:pic>
      <p:pic>
        <p:nvPicPr>
          <p:cNvPr id="16" name="Workforce photo">
            <a:extLst>
              <a:ext uri="{FF2B5EF4-FFF2-40B4-BE49-F238E27FC236}">
                <a16:creationId xmlns:a16="http://schemas.microsoft.com/office/drawing/2014/main" id="{3592C131-1447-4456-B22E-CDBEB82A2DA7}"/>
              </a:ext>
            </a:extLst>
          </p:cNvPr>
          <p:cNvPicPr>
            <a:picLocks noChangeAspect="1"/>
          </p:cNvPicPr>
          <p:nvPr/>
        </p:nvPicPr>
        <p:blipFill rotWithShape="1">
          <a:blip r:embed="rId4"/>
          <a:srcRect l="24679" t="1432" r="54545" b="439"/>
          <a:stretch/>
        </p:blipFill>
        <p:spPr>
          <a:xfrm>
            <a:off x="7326630" y="860"/>
            <a:ext cx="2423160" cy="6856281"/>
          </a:xfrm>
          <a:prstGeom prst="rect">
            <a:avLst/>
          </a:prstGeom>
        </p:spPr>
      </p:pic>
      <p:pic>
        <p:nvPicPr>
          <p:cNvPr id="18" name="Ethics for AI photo" descr="A large crowd of people&#10;&#10;Description automatically generated">
            <a:extLst>
              <a:ext uri="{FF2B5EF4-FFF2-40B4-BE49-F238E27FC236}">
                <a16:creationId xmlns:a16="http://schemas.microsoft.com/office/drawing/2014/main" id="{A6E9CF9A-D96A-471E-84DE-ABFFEA8B6E6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948" r="78951" b="19111"/>
          <a:stretch/>
        </p:blipFill>
        <p:spPr>
          <a:xfrm>
            <a:off x="4884420" y="-4572"/>
            <a:ext cx="2423160" cy="6867144"/>
          </a:xfrm>
          <a:prstGeom prst="rect">
            <a:avLst/>
          </a:prstGeom>
        </p:spPr>
      </p:pic>
      <p:pic>
        <p:nvPicPr>
          <p:cNvPr id="25" name="Security photo">
            <a:extLst>
              <a:ext uri="{FF2B5EF4-FFF2-40B4-BE49-F238E27FC236}">
                <a16:creationId xmlns:a16="http://schemas.microsoft.com/office/drawing/2014/main" id="{D758B3FA-7A43-4F53-8DB5-2FBD34C0F083}"/>
              </a:ext>
            </a:extLst>
          </p:cNvPr>
          <p:cNvPicPr>
            <a:picLocks noChangeAspect="1"/>
          </p:cNvPicPr>
          <p:nvPr/>
        </p:nvPicPr>
        <p:blipFill rotWithShape="1">
          <a:blip r:embed="rId6"/>
          <a:srcRect l="35725" t="384" r="44869" b="1929"/>
          <a:stretch/>
        </p:blipFill>
        <p:spPr>
          <a:xfrm>
            <a:off x="2442210" y="0"/>
            <a:ext cx="2423160" cy="6858000"/>
          </a:xfrm>
          <a:prstGeom prst="rect">
            <a:avLst/>
          </a:prstGeom>
        </p:spPr>
      </p:pic>
      <p:pic>
        <p:nvPicPr>
          <p:cNvPr id="28" name="Privacy photo">
            <a:extLst>
              <a:ext uri="{FF2B5EF4-FFF2-40B4-BE49-F238E27FC236}">
                <a16:creationId xmlns:a16="http://schemas.microsoft.com/office/drawing/2014/main" id="{666EBF38-79CC-4C43-97E6-CFEA2A9D7C38}"/>
              </a:ext>
            </a:extLst>
          </p:cNvPr>
          <p:cNvPicPr>
            <a:picLocks noChangeAspect="1"/>
          </p:cNvPicPr>
          <p:nvPr/>
        </p:nvPicPr>
        <p:blipFill rotWithShape="1">
          <a:blip r:embed="rId7"/>
          <a:srcRect l="8818" t="16556" r="41136" b="9407"/>
          <a:stretch/>
        </p:blipFill>
        <p:spPr>
          <a:xfrm>
            <a:off x="-666750" y="0"/>
            <a:ext cx="3089910" cy="6858000"/>
          </a:xfrm>
          <a:prstGeom prst="rect">
            <a:avLst/>
          </a:prstGeom>
        </p:spPr>
      </p:pic>
      <p:sp>
        <p:nvSpPr>
          <p:cNvPr id="2" name="photo Tint 5">
            <a:extLst>
              <a:ext uri="{FF2B5EF4-FFF2-40B4-BE49-F238E27FC236}">
                <a16:creationId xmlns:a16="http://schemas.microsoft.com/office/drawing/2014/main" id="{F17A15AC-7577-42A8-BC0A-4034DCF8F452}"/>
              </a:ext>
            </a:extLst>
          </p:cNvPr>
          <p:cNvSpPr/>
          <p:nvPr/>
        </p:nvSpPr>
        <p:spPr bwMode="auto">
          <a:xfrm>
            <a:off x="9768840" y="-4573"/>
            <a:ext cx="2420690" cy="6858000"/>
          </a:xfrm>
          <a:prstGeom prst="rect">
            <a:avLst/>
          </a:prstGeom>
          <a:solidFill>
            <a:srgbClr val="000000">
              <a:alpha val="2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photo Tint 4">
            <a:extLst>
              <a:ext uri="{FF2B5EF4-FFF2-40B4-BE49-F238E27FC236}">
                <a16:creationId xmlns:a16="http://schemas.microsoft.com/office/drawing/2014/main" id="{CA95A019-B7F1-4415-91EC-9DAF765EF461}"/>
              </a:ext>
            </a:extLst>
          </p:cNvPr>
          <p:cNvSpPr/>
          <p:nvPr/>
        </p:nvSpPr>
        <p:spPr bwMode="auto">
          <a:xfrm>
            <a:off x="7328276" y="-4573"/>
            <a:ext cx="2420690" cy="6858000"/>
          </a:xfrm>
          <a:prstGeom prst="rect">
            <a:avLst/>
          </a:prstGeom>
          <a:solidFill>
            <a:srgbClr val="000000">
              <a:alpha val="2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hoto Tint 3">
            <a:extLst>
              <a:ext uri="{FF2B5EF4-FFF2-40B4-BE49-F238E27FC236}">
                <a16:creationId xmlns:a16="http://schemas.microsoft.com/office/drawing/2014/main" id="{4A4D9B90-98D3-48A1-9841-58D3B91B1423}"/>
              </a:ext>
            </a:extLst>
          </p:cNvPr>
          <p:cNvSpPr/>
          <p:nvPr/>
        </p:nvSpPr>
        <p:spPr bwMode="auto">
          <a:xfrm>
            <a:off x="4885243" y="-4573"/>
            <a:ext cx="2420690" cy="6858000"/>
          </a:xfrm>
          <a:prstGeom prst="rect">
            <a:avLst/>
          </a:prstGeom>
          <a:solidFill>
            <a:srgbClr val="000000">
              <a:alpha val="2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photo Tint 2">
            <a:extLst>
              <a:ext uri="{FF2B5EF4-FFF2-40B4-BE49-F238E27FC236}">
                <a16:creationId xmlns:a16="http://schemas.microsoft.com/office/drawing/2014/main" id="{EF9BCA44-F87E-4E6E-8911-9DB1AD6B0517}"/>
              </a:ext>
            </a:extLst>
          </p:cNvPr>
          <p:cNvSpPr/>
          <p:nvPr/>
        </p:nvSpPr>
        <p:spPr bwMode="auto">
          <a:xfrm>
            <a:off x="2442210" y="-4573"/>
            <a:ext cx="2420690" cy="6858000"/>
          </a:xfrm>
          <a:prstGeom prst="rect">
            <a:avLst/>
          </a:prstGeom>
          <a:solidFill>
            <a:srgbClr val="000000">
              <a:alpha val="2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photo Tint 1">
            <a:extLst>
              <a:ext uri="{FF2B5EF4-FFF2-40B4-BE49-F238E27FC236}">
                <a16:creationId xmlns:a16="http://schemas.microsoft.com/office/drawing/2014/main" id="{ACFA331F-9704-454B-9686-4A078329CBEE}"/>
              </a:ext>
            </a:extLst>
          </p:cNvPr>
          <p:cNvSpPr/>
          <p:nvPr/>
        </p:nvSpPr>
        <p:spPr bwMode="auto">
          <a:xfrm>
            <a:off x="-666751" y="-4573"/>
            <a:ext cx="3089911" cy="6858000"/>
          </a:xfrm>
          <a:prstGeom prst="rect">
            <a:avLst/>
          </a:prstGeom>
          <a:solidFill>
            <a:srgbClr val="000000">
              <a:alpha val="2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nt">
            <a:extLst>
              <a:ext uri="{FF2B5EF4-FFF2-40B4-BE49-F238E27FC236}">
                <a16:creationId xmlns:a16="http://schemas.microsoft.com/office/drawing/2014/main" id="{96281F54-BFBB-4AA4-8BEA-9ED7B3375D8B}"/>
              </a:ext>
            </a:extLst>
          </p:cNvPr>
          <p:cNvSpPr/>
          <p:nvPr/>
        </p:nvSpPr>
        <p:spPr>
          <a:xfrm>
            <a:off x="-669222" y="0"/>
            <a:ext cx="12904383" cy="6858000"/>
          </a:xfrm>
          <a:prstGeom prst="rect">
            <a:avLst/>
          </a:prstGeom>
          <a:gradFill flip="none" rotWithShape="1">
            <a:gsLst>
              <a:gs pos="9000">
                <a:srgbClr val="000000">
                  <a:alpha val="87000"/>
                </a:srgbClr>
              </a:gs>
              <a:gs pos="45000">
                <a:srgbClr val="000000">
                  <a:alpha val="0"/>
                </a:srgbClr>
              </a:gs>
            </a:gsLst>
            <a:lin ang="16200000" scaled="1"/>
            <a:tileRect/>
          </a:gradFill>
        </p:spPr>
        <p:txBody>
          <a:bodyPr wrap="square" tIns="91440" bIns="1005840" anchor="b" anchorCtr="0">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19" name="Sustainability text">
            <a:extLst>
              <a:ext uri="{FF2B5EF4-FFF2-40B4-BE49-F238E27FC236}">
                <a16:creationId xmlns:a16="http://schemas.microsoft.com/office/drawing/2014/main" id="{098322AD-9803-46BD-AB20-3DFB4BB973F6}"/>
              </a:ext>
            </a:extLst>
          </p:cNvPr>
          <p:cNvSpPr/>
          <p:nvPr/>
        </p:nvSpPr>
        <p:spPr>
          <a:xfrm>
            <a:off x="9785420" y="5425738"/>
            <a:ext cx="2363540" cy="461665"/>
          </a:xfrm>
          <a:prstGeom prst="rect">
            <a:avLst/>
          </a:prstGeom>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Sustainability</a:t>
            </a:r>
          </a:p>
        </p:txBody>
      </p:sp>
      <p:sp>
        <p:nvSpPr>
          <p:cNvPr id="14" name="Workforce text">
            <a:extLst>
              <a:ext uri="{FF2B5EF4-FFF2-40B4-BE49-F238E27FC236}">
                <a16:creationId xmlns:a16="http://schemas.microsoft.com/office/drawing/2014/main" id="{8E699A35-4136-4770-B106-4F168D45AA0F}"/>
              </a:ext>
            </a:extLst>
          </p:cNvPr>
          <p:cNvSpPr/>
          <p:nvPr/>
        </p:nvSpPr>
        <p:spPr>
          <a:xfrm>
            <a:off x="7343210" y="5425738"/>
            <a:ext cx="2423159" cy="461665"/>
          </a:xfrm>
          <a:prstGeom prst="rect">
            <a:avLst/>
          </a:prstGeom>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Workforce</a:t>
            </a:r>
          </a:p>
        </p:txBody>
      </p:sp>
      <p:sp>
        <p:nvSpPr>
          <p:cNvPr id="24" name="Ethics for AI text">
            <a:extLst>
              <a:ext uri="{FF2B5EF4-FFF2-40B4-BE49-F238E27FC236}">
                <a16:creationId xmlns:a16="http://schemas.microsoft.com/office/drawing/2014/main" id="{BB424416-5CFD-4394-BEFA-9FB40ECCB274}"/>
              </a:ext>
            </a:extLst>
          </p:cNvPr>
          <p:cNvSpPr/>
          <p:nvPr/>
        </p:nvSpPr>
        <p:spPr>
          <a:xfrm>
            <a:off x="4884420" y="5425738"/>
            <a:ext cx="2420690" cy="461665"/>
          </a:xfrm>
          <a:prstGeom prst="rect">
            <a:avLst/>
          </a:prstGeom>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Ethics for AI</a:t>
            </a:r>
          </a:p>
        </p:txBody>
      </p:sp>
      <p:sp>
        <p:nvSpPr>
          <p:cNvPr id="23" name="Security text">
            <a:extLst>
              <a:ext uri="{FF2B5EF4-FFF2-40B4-BE49-F238E27FC236}">
                <a16:creationId xmlns:a16="http://schemas.microsoft.com/office/drawing/2014/main" id="{A99CEFA9-13C0-46C5-9EFB-3850157B903D}"/>
              </a:ext>
            </a:extLst>
          </p:cNvPr>
          <p:cNvSpPr/>
          <p:nvPr/>
        </p:nvSpPr>
        <p:spPr>
          <a:xfrm>
            <a:off x="2423159" y="5428063"/>
            <a:ext cx="2420690" cy="461665"/>
          </a:xfrm>
          <a:prstGeom prst="rect">
            <a:avLst/>
          </a:prstGeom>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Security</a:t>
            </a:r>
          </a:p>
        </p:txBody>
      </p:sp>
      <p:sp>
        <p:nvSpPr>
          <p:cNvPr id="20" name="Privacy text">
            <a:extLst>
              <a:ext uri="{FF2B5EF4-FFF2-40B4-BE49-F238E27FC236}">
                <a16:creationId xmlns:a16="http://schemas.microsoft.com/office/drawing/2014/main" id="{E77D7052-8404-4CF9-9C4B-E12F6FEF049B}"/>
              </a:ext>
            </a:extLst>
          </p:cNvPr>
          <p:cNvSpPr/>
          <p:nvPr/>
        </p:nvSpPr>
        <p:spPr>
          <a:xfrm>
            <a:off x="0" y="5428063"/>
            <a:ext cx="2423159" cy="461665"/>
          </a:xfrm>
          <a:prstGeom prst="rect">
            <a:avLst/>
          </a:prstGeom>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Privacy</a:t>
            </a:r>
            <a:endParaRPr kumimoji="0" lang="en-US" sz="2800"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4" name="Rectangle 3">
            <a:extLst>
              <a:ext uri="{FF2B5EF4-FFF2-40B4-BE49-F238E27FC236}">
                <a16:creationId xmlns:a16="http://schemas.microsoft.com/office/drawing/2014/main" id="{9EE8AB4C-BA6B-495F-81B2-4FAB8FC69E93}"/>
              </a:ext>
            </a:extLst>
          </p:cNvPr>
          <p:cNvSpPr/>
          <p:nvPr/>
        </p:nvSpPr>
        <p:spPr bwMode="auto">
          <a:xfrm>
            <a:off x="-428624" y="2804339"/>
            <a:ext cx="12734924" cy="1249322"/>
          </a:xfrm>
          <a:prstGeom prst="rect">
            <a:avLst/>
          </a:prstGeom>
          <a:gradFill flip="none" rotWithShape="1">
            <a:gsLst>
              <a:gs pos="46000">
                <a:srgbClr val="243A5E"/>
              </a:gs>
              <a:gs pos="100000">
                <a:srgbClr val="243A5E">
                  <a:alpha val="77000"/>
                </a:srgb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a:extLst>
              <a:ext uri="{FF2B5EF4-FFF2-40B4-BE49-F238E27FC236}">
                <a16:creationId xmlns:a16="http://schemas.microsoft.com/office/drawing/2014/main" id="{BAB98348-2758-4AF5-BB78-FC1AAD6896BC}"/>
              </a:ext>
            </a:extLst>
          </p:cNvPr>
          <p:cNvSpPr txBox="1">
            <a:spLocks/>
          </p:cNvSpPr>
          <p:nvPr/>
        </p:nvSpPr>
        <p:spPr>
          <a:xfrm>
            <a:off x="2382750" y="3175813"/>
            <a:ext cx="7426501" cy="506374"/>
          </a:xfrm>
          <a:prstGeom prst="rect">
            <a:avLst/>
          </a:prstGeom>
        </p:spPr>
        <p:txBody>
          <a:bodyPr anchor="ct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50E6FF"/>
                </a:solidFill>
                <a:effectLst/>
                <a:uLnTx/>
                <a:uFillTx/>
                <a:latin typeface="Segoe UI Semibold"/>
                <a:ea typeface="+mn-ea"/>
                <a:cs typeface="Segoe UI" pitchFamily="34" charset="0"/>
              </a:rPr>
              <a:t>AI </a:t>
            </a: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hallenges</a:t>
            </a:r>
          </a:p>
        </p:txBody>
      </p:sp>
      <p:sp>
        <p:nvSpPr>
          <p:cNvPr id="5" name="animation timing box">
            <a:extLst>
              <a:ext uri="{FF2B5EF4-FFF2-40B4-BE49-F238E27FC236}">
                <a16:creationId xmlns:a16="http://schemas.microsoft.com/office/drawing/2014/main" id="{398EC635-DB2E-450F-9157-7B378372D0E0}"/>
              </a:ext>
            </a:extLst>
          </p:cNvPr>
          <p:cNvSpPr/>
          <p:nvPr/>
        </p:nvSpPr>
        <p:spPr bwMode="auto">
          <a:xfrm>
            <a:off x="5238750" y="-752475"/>
            <a:ext cx="438150" cy="438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56056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 presetClass="emph" presetSubtype="0" accel="100000" autoRev="1" fill="hold" grpId="1" nodeType="withEffect">
                                  <p:stCondLst>
                                    <p:cond delay="0"/>
                                  </p:stCondLst>
                                  <p:childTnLst>
                                    <p:animScale>
                                      <p:cBhvr>
                                        <p:cTn id="9" dur="500" fill="hold"/>
                                        <p:tgtEl>
                                          <p:spTgt spid="15"/>
                                        </p:tgtEl>
                                      </p:cBhvr>
                                      <p:by x="85000" y="85000"/>
                                    </p:animScale>
                                  </p:childTnLst>
                                </p:cTn>
                              </p:par>
                              <p:par>
                                <p:cTn id="10" presetID="10" presetClass="entr" presetSubtype="0" fill="hold" grpId="0" nodeType="withEffect">
                                  <p:stCondLst>
                                    <p:cond delay="5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6" presetClass="emph" presetSubtype="0" accel="100000" autoRev="1" fill="hold" grpId="1" nodeType="withEffect">
                                  <p:stCondLst>
                                    <p:cond delay="0"/>
                                  </p:stCondLst>
                                  <p:childTnLst>
                                    <p:animScale>
                                      <p:cBhvr>
                                        <p:cTn id="14" dur="500" fill="hold"/>
                                        <p:tgtEl>
                                          <p:spTgt spid="4"/>
                                        </p:tgtEl>
                                      </p:cBhvr>
                                      <p:by x="85000" y="85000"/>
                                    </p:animScale>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250"/>
                                        <p:tgtEl>
                                          <p:spTgt spid="5"/>
                                        </p:tgtEl>
                                      </p:cBhvr>
                                    </p:animEffect>
                                  </p:childTnLst>
                                </p:cTn>
                              </p:par>
                              <p:par>
                                <p:cTn id="19" presetID="10" presetClass="entr" presetSubtype="0" fill="hold" grpId="0" nodeType="withEffect">
                                  <p:stCondLst>
                                    <p:cond delay="25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700"/>
                                        <p:tgtEl>
                                          <p:spTgt spid="11"/>
                                        </p:tgtEl>
                                      </p:cBhvr>
                                    </p:animEffect>
                                  </p:childTnLst>
                                </p:cTn>
                              </p:par>
                              <p:par>
                                <p:cTn id="22" presetID="35" presetClass="path" presetSubtype="0" decel="100000" fill="hold" grpId="1" nodeType="withEffect">
                                  <p:stCondLst>
                                    <p:cond delay="0"/>
                                  </p:stCondLst>
                                  <p:childTnLst>
                                    <p:animMotion origin="layout" path="M 1.25E-6 0 L 0.08633 -0.00046 " pathEditMode="relative" rAng="0" ptsTypes="AA">
                                      <p:cBhvr>
                                        <p:cTn id="23" dur="1000" spd="-100000" fill="hold"/>
                                        <p:tgtEl>
                                          <p:spTgt spid="11"/>
                                        </p:tgtEl>
                                        <p:attrNameLst>
                                          <p:attrName>ppt_x</p:attrName>
                                          <p:attrName>ppt_y</p:attrName>
                                        </p:attrNameLst>
                                      </p:cBhvr>
                                      <p:rCtr x="4310" y="-23"/>
                                    </p:animMotion>
                                  </p:childTnLst>
                                </p:cTn>
                              </p:par>
                              <p:par>
                                <p:cTn id="24" presetID="10" presetClass="entr" presetSubtype="0" fill="hold" grpId="0" nodeType="withEffect">
                                  <p:stCondLst>
                                    <p:cond delay="20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700"/>
                                        <p:tgtEl>
                                          <p:spTgt spid="20"/>
                                        </p:tgtEl>
                                      </p:cBhvr>
                                    </p:animEffect>
                                  </p:childTnLst>
                                </p:cTn>
                              </p:par>
                              <p:par>
                                <p:cTn id="27" presetID="35" presetClass="path" presetSubtype="0" decel="100000" fill="hold" grpId="1" nodeType="withEffect">
                                  <p:stCondLst>
                                    <p:cond delay="0"/>
                                  </p:stCondLst>
                                  <p:childTnLst>
                                    <p:animMotion origin="layout" path="M 3.75E-6 3.7037E-7 L 0.08632 -0.00046 " pathEditMode="relative" rAng="0" ptsTypes="AA">
                                      <p:cBhvr>
                                        <p:cTn id="28" dur="1000" spd="-100000" fill="hold"/>
                                        <p:tgtEl>
                                          <p:spTgt spid="20"/>
                                        </p:tgtEl>
                                        <p:attrNameLst>
                                          <p:attrName>ppt_x</p:attrName>
                                          <p:attrName>ppt_y</p:attrName>
                                        </p:attrNameLst>
                                      </p:cBhvr>
                                      <p:rCtr x="4310" y="-23"/>
                                    </p:animMotion>
                                  </p:childTnLst>
                                </p:cTn>
                              </p:par>
                              <p:par>
                                <p:cTn id="29" presetID="10" presetClass="entr" presetSubtype="0" fill="hold" nodeType="withEffect">
                                  <p:stCondLst>
                                    <p:cond delay="20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700"/>
                                        <p:tgtEl>
                                          <p:spTgt spid="28"/>
                                        </p:tgtEl>
                                      </p:cBhvr>
                                    </p:animEffect>
                                  </p:childTnLst>
                                </p:cTn>
                              </p:par>
                              <p:par>
                                <p:cTn id="32" presetID="35" presetClass="path" presetSubtype="0" decel="100000" fill="hold" nodeType="withEffect">
                                  <p:stCondLst>
                                    <p:cond delay="0"/>
                                  </p:stCondLst>
                                  <p:childTnLst>
                                    <p:animMotion origin="layout" path="M -1.45833E-6 0 L 0.08633 -0.00046 " pathEditMode="relative" rAng="0" ptsTypes="AA">
                                      <p:cBhvr>
                                        <p:cTn id="33" dur="1000" spd="-100000" fill="hold"/>
                                        <p:tgtEl>
                                          <p:spTgt spid="28"/>
                                        </p:tgtEl>
                                        <p:attrNameLst>
                                          <p:attrName>ppt_x</p:attrName>
                                          <p:attrName>ppt_y</p:attrName>
                                        </p:attrNameLst>
                                      </p:cBhvr>
                                      <p:rCtr x="4310" y="-23"/>
                                    </p:animMotion>
                                  </p:childTnLst>
                                </p:cTn>
                              </p:par>
                              <p:par>
                                <p:cTn id="34" presetID="10" presetClass="entr" presetSubtype="0" fill="hold" grpId="0" nodeType="withEffect">
                                  <p:stCondLst>
                                    <p:cond delay="35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700"/>
                                        <p:tgtEl>
                                          <p:spTgt spid="29"/>
                                        </p:tgtEl>
                                      </p:cBhvr>
                                    </p:animEffect>
                                  </p:childTnLst>
                                </p:cTn>
                              </p:par>
                              <p:par>
                                <p:cTn id="37" presetID="35" presetClass="path" presetSubtype="0" decel="100000" fill="hold" grpId="1" nodeType="withEffect">
                                  <p:stCondLst>
                                    <p:cond delay="150"/>
                                  </p:stCondLst>
                                  <p:childTnLst>
                                    <p:animMotion origin="layout" path="M 4.79167E-6 4.44444E-6 L 0.08632 -0.00047 " pathEditMode="relative" rAng="0" ptsTypes="AA">
                                      <p:cBhvr>
                                        <p:cTn id="38" dur="1000" spd="-100000" fill="hold"/>
                                        <p:tgtEl>
                                          <p:spTgt spid="29"/>
                                        </p:tgtEl>
                                        <p:attrNameLst>
                                          <p:attrName>ppt_x</p:attrName>
                                          <p:attrName>ppt_y</p:attrName>
                                        </p:attrNameLst>
                                      </p:cBhvr>
                                      <p:rCtr x="4310" y="-23"/>
                                    </p:animMotion>
                                  </p:childTnLst>
                                </p:cTn>
                              </p:par>
                              <p:par>
                                <p:cTn id="39" presetID="10" presetClass="entr" presetSubtype="0" fill="hold" grpId="0" nodeType="withEffect">
                                  <p:stCondLst>
                                    <p:cond delay="350"/>
                                  </p:stCondLst>
                                  <p:childTnLst>
                                    <p:set>
                                      <p:cBhvr>
                                        <p:cTn id="40" dur="1" fill="hold">
                                          <p:stCondLst>
                                            <p:cond delay="0"/>
                                          </p:stCondLst>
                                        </p:cTn>
                                        <p:tgtEl>
                                          <p:spTgt spid="23"/>
                                        </p:tgtEl>
                                        <p:attrNameLst>
                                          <p:attrName>style.visibility</p:attrName>
                                        </p:attrNameLst>
                                      </p:cBhvr>
                                      <p:to>
                                        <p:strVal val="visible"/>
                                      </p:to>
                                    </p:set>
                                    <p:animEffect transition="in" filter="fade">
                                      <p:cBhvr>
                                        <p:cTn id="41" dur="700"/>
                                        <p:tgtEl>
                                          <p:spTgt spid="23"/>
                                        </p:tgtEl>
                                      </p:cBhvr>
                                    </p:animEffect>
                                  </p:childTnLst>
                                </p:cTn>
                              </p:par>
                              <p:par>
                                <p:cTn id="42" presetID="35" presetClass="path" presetSubtype="0" decel="100000" fill="hold" grpId="1" nodeType="withEffect">
                                  <p:stCondLst>
                                    <p:cond delay="150"/>
                                  </p:stCondLst>
                                  <p:childTnLst>
                                    <p:animMotion origin="layout" path="M 3.75E-6 3.7037E-7 L 0.08632 -0.00046 " pathEditMode="relative" rAng="0" ptsTypes="AA">
                                      <p:cBhvr>
                                        <p:cTn id="43" dur="1000" spd="-100000" fill="hold"/>
                                        <p:tgtEl>
                                          <p:spTgt spid="23"/>
                                        </p:tgtEl>
                                        <p:attrNameLst>
                                          <p:attrName>ppt_x</p:attrName>
                                          <p:attrName>ppt_y</p:attrName>
                                        </p:attrNameLst>
                                      </p:cBhvr>
                                      <p:rCtr x="4310" y="-23"/>
                                    </p:animMotion>
                                  </p:childTnLst>
                                </p:cTn>
                              </p:par>
                              <p:par>
                                <p:cTn id="44" presetID="10" presetClass="entr" presetSubtype="0" fill="hold" nodeType="withEffect">
                                  <p:stCondLst>
                                    <p:cond delay="350"/>
                                  </p:stCondLst>
                                  <p:childTnLst>
                                    <p:set>
                                      <p:cBhvr>
                                        <p:cTn id="45" dur="1" fill="hold">
                                          <p:stCondLst>
                                            <p:cond delay="0"/>
                                          </p:stCondLst>
                                        </p:cTn>
                                        <p:tgtEl>
                                          <p:spTgt spid="25"/>
                                        </p:tgtEl>
                                        <p:attrNameLst>
                                          <p:attrName>style.visibility</p:attrName>
                                        </p:attrNameLst>
                                      </p:cBhvr>
                                      <p:to>
                                        <p:strVal val="visible"/>
                                      </p:to>
                                    </p:set>
                                    <p:animEffect transition="in" filter="fade">
                                      <p:cBhvr>
                                        <p:cTn id="46" dur="700"/>
                                        <p:tgtEl>
                                          <p:spTgt spid="25"/>
                                        </p:tgtEl>
                                      </p:cBhvr>
                                    </p:animEffect>
                                  </p:childTnLst>
                                </p:cTn>
                              </p:par>
                              <p:par>
                                <p:cTn id="47" presetID="35" presetClass="path" presetSubtype="0" decel="100000" fill="hold" nodeType="withEffect">
                                  <p:stCondLst>
                                    <p:cond delay="150"/>
                                  </p:stCondLst>
                                  <p:childTnLst>
                                    <p:animMotion origin="layout" path="M -1.45833E-6 0 L 0.08633 -0.00046 " pathEditMode="relative" rAng="0" ptsTypes="AA">
                                      <p:cBhvr>
                                        <p:cTn id="48" dur="1000" spd="-100000" fill="hold"/>
                                        <p:tgtEl>
                                          <p:spTgt spid="25"/>
                                        </p:tgtEl>
                                        <p:attrNameLst>
                                          <p:attrName>ppt_x</p:attrName>
                                          <p:attrName>ppt_y</p:attrName>
                                        </p:attrNameLst>
                                      </p:cBhvr>
                                      <p:rCtr x="4310" y="-23"/>
                                    </p:animMotion>
                                  </p:childTnLst>
                                </p:cTn>
                              </p:par>
                              <p:par>
                                <p:cTn id="49" presetID="10" presetClass="entr" presetSubtype="0" fill="hold" grpId="0" nodeType="withEffect">
                                  <p:stCondLst>
                                    <p:cond delay="350"/>
                                  </p:stCondLst>
                                  <p:childTnLst>
                                    <p:set>
                                      <p:cBhvr>
                                        <p:cTn id="50" dur="1" fill="hold">
                                          <p:stCondLst>
                                            <p:cond delay="0"/>
                                          </p:stCondLst>
                                        </p:cTn>
                                        <p:tgtEl>
                                          <p:spTgt spid="26"/>
                                        </p:tgtEl>
                                        <p:attrNameLst>
                                          <p:attrName>style.visibility</p:attrName>
                                        </p:attrNameLst>
                                      </p:cBhvr>
                                      <p:to>
                                        <p:strVal val="visible"/>
                                      </p:to>
                                    </p:set>
                                    <p:animEffect transition="in" filter="fade">
                                      <p:cBhvr>
                                        <p:cTn id="51" dur="700"/>
                                        <p:tgtEl>
                                          <p:spTgt spid="26"/>
                                        </p:tgtEl>
                                      </p:cBhvr>
                                    </p:animEffect>
                                  </p:childTnLst>
                                </p:cTn>
                              </p:par>
                              <p:par>
                                <p:cTn id="52" presetID="35" presetClass="path" presetSubtype="0" decel="100000" fill="hold" grpId="1" nodeType="withEffect">
                                  <p:stCondLst>
                                    <p:cond delay="150"/>
                                  </p:stCondLst>
                                  <p:childTnLst>
                                    <p:animMotion origin="layout" path="M 8.33333E-7 4.44444E-6 L 0.08633 -0.00047 " pathEditMode="relative" rAng="0" ptsTypes="AA">
                                      <p:cBhvr>
                                        <p:cTn id="53" dur="1000" spd="-100000" fill="hold"/>
                                        <p:tgtEl>
                                          <p:spTgt spid="26"/>
                                        </p:tgtEl>
                                        <p:attrNameLst>
                                          <p:attrName>ppt_x</p:attrName>
                                          <p:attrName>ppt_y</p:attrName>
                                        </p:attrNameLst>
                                      </p:cBhvr>
                                      <p:rCtr x="4310" y="-23"/>
                                    </p:animMotion>
                                  </p:childTnLst>
                                </p:cTn>
                              </p:par>
                              <p:par>
                                <p:cTn id="54" presetID="10" presetClass="entr" presetSubtype="0" fill="hold" grpId="0" nodeType="withEffect">
                                  <p:stCondLst>
                                    <p:cond delay="50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700"/>
                                        <p:tgtEl>
                                          <p:spTgt spid="24"/>
                                        </p:tgtEl>
                                      </p:cBhvr>
                                    </p:animEffect>
                                  </p:childTnLst>
                                </p:cTn>
                              </p:par>
                              <p:par>
                                <p:cTn id="57" presetID="35" presetClass="path" presetSubtype="0" decel="100000" fill="hold" grpId="1" nodeType="withEffect">
                                  <p:stCondLst>
                                    <p:cond delay="300"/>
                                  </p:stCondLst>
                                  <p:childTnLst>
                                    <p:animMotion origin="layout" path="M 3.75E-6 3.7037E-7 L 0.08632 -0.00046 " pathEditMode="relative" rAng="0" ptsTypes="AA">
                                      <p:cBhvr>
                                        <p:cTn id="58" dur="1000" spd="-100000" fill="hold"/>
                                        <p:tgtEl>
                                          <p:spTgt spid="24"/>
                                        </p:tgtEl>
                                        <p:attrNameLst>
                                          <p:attrName>ppt_x</p:attrName>
                                          <p:attrName>ppt_y</p:attrName>
                                        </p:attrNameLst>
                                      </p:cBhvr>
                                      <p:rCtr x="4310" y="-23"/>
                                    </p:animMotion>
                                  </p:childTnLst>
                                </p:cTn>
                              </p:par>
                              <p:par>
                                <p:cTn id="59" presetID="10" presetClass="entr" presetSubtype="0" fill="hold" nodeType="withEffect">
                                  <p:stCondLst>
                                    <p:cond delay="500"/>
                                  </p:stCondLst>
                                  <p:childTnLst>
                                    <p:set>
                                      <p:cBhvr>
                                        <p:cTn id="60" dur="1" fill="hold">
                                          <p:stCondLst>
                                            <p:cond delay="0"/>
                                          </p:stCondLst>
                                        </p:cTn>
                                        <p:tgtEl>
                                          <p:spTgt spid="18"/>
                                        </p:tgtEl>
                                        <p:attrNameLst>
                                          <p:attrName>style.visibility</p:attrName>
                                        </p:attrNameLst>
                                      </p:cBhvr>
                                      <p:to>
                                        <p:strVal val="visible"/>
                                      </p:to>
                                    </p:set>
                                    <p:animEffect transition="in" filter="fade">
                                      <p:cBhvr>
                                        <p:cTn id="61" dur="700"/>
                                        <p:tgtEl>
                                          <p:spTgt spid="18"/>
                                        </p:tgtEl>
                                      </p:cBhvr>
                                    </p:animEffect>
                                  </p:childTnLst>
                                </p:cTn>
                              </p:par>
                              <p:par>
                                <p:cTn id="62" presetID="35" presetClass="path" presetSubtype="0" decel="100000" fill="hold" nodeType="withEffect">
                                  <p:stCondLst>
                                    <p:cond delay="300"/>
                                  </p:stCondLst>
                                  <p:childTnLst>
                                    <p:animMotion origin="layout" path="M -1.45833E-6 0 L 0.08633 -0.00046 " pathEditMode="relative" rAng="0" ptsTypes="AA">
                                      <p:cBhvr>
                                        <p:cTn id="63" dur="1000" spd="-100000" fill="hold"/>
                                        <p:tgtEl>
                                          <p:spTgt spid="18"/>
                                        </p:tgtEl>
                                        <p:attrNameLst>
                                          <p:attrName>ppt_x</p:attrName>
                                          <p:attrName>ppt_y</p:attrName>
                                        </p:attrNameLst>
                                      </p:cBhvr>
                                      <p:rCtr x="4310" y="-23"/>
                                    </p:animMotion>
                                  </p:childTnLst>
                                </p:cTn>
                              </p:par>
                              <p:par>
                                <p:cTn id="64" presetID="10" presetClass="entr" presetSubtype="0" fill="hold" grpId="0" nodeType="withEffect">
                                  <p:stCondLst>
                                    <p:cond delay="50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700"/>
                                        <p:tgtEl>
                                          <p:spTgt spid="22"/>
                                        </p:tgtEl>
                                      </p:cBhvr>
                                    </p:animEffect>
                                  </p:childTnLst>
                                </p:cTn>
                              </p:par>
                              <p:par>
                                <p:cTn id="67" presetID="35" presetClass="path" presetSubtype="0" decel="100000" fill="hold" grpId="1" nodeType="withEffect">
                                  <p:stCondLst>
                                    <p:cond delay="300"/>
                                  </p:stCondLst>
                                  <p:childTnLst>
                                    <p:animMotion origin="layout" path="M 2.08333E-7 4.44444E-6 L 0.08633 -0.00047 " pathEditMode="relative" rAng="0" ptsTypes="AA">
                                      <p:cBhvr>
                                        <p:cTn id="68" dur="1000" spd="-100000" fill="hold"/>
                                        <p:tgtEl>
                                          <p:spTgt spid="22"/>
                                        </p:tgtEl>
                                        <p:attrNameLst>
                                          <p:attrName>ppt_x</p:attrName>
                                          <p:attrName>ppt_y</p:attrName>
                                        </p:attrNameLst>
                                      </p:cBhvr>
                                      <p:rCtr x="4310" y="-23"/>
                                    </p:animMotion>
                                  </p:childTnLst>
                                </p:cTn>
                              </p:par>
                              <p:par>
                                <p:cTn id="69" presetID="10" presetClass="entr" presetSubtype="0" fill="hold" grpId="0" nodeType="withEffect">
                                  <p:stCondLst>
                                    <p:cond delay="650"/>
                                  </p:stCondLst>
                                  <p:childTnLst>
                                    <p:set>
                                      <p:cBhvr>
                                        <p:cTn id="70" dur="1" fill="hold">
                                          <p:stCondLst>
                                            <p:cond delay="0"/>
                                          </p:stCondLst>
                                        </p:cTn>
                                        <p:tgtEl>
                                          <p:spTgt spid="14"/>
                                        </p:tgtEl>
                                        <p:attrNameLst>
                                          <p:attrName>style.visibility</p:attrName>
                                        </p:attrNameLst>
                                      </p:cBhvr>
                                      <p:to>
                                        <p:strVal val="visible"/>
                                      </p:to>
                                    </p:set>
                                    <p:animEffect transition="in" filter="fade">
                                      <p:cBhvr>
                                        <p:cTn id="71" dur="700"/>
                                        <p:tgtEl>
                                          <p:spTgt spid="14"/>
                                        </p:tgtEl>
                                      </p:cBhvr>
                                    </p:animEffect>
                                  </p:childTnLst>
                                </p:cTn>
                              </p:par>
                              <p:par>
                                <p:cTn id="72" presetID="35" presetClass="path" presetSubtype="0" decel="100000" fill="hold" grpId="1" nodeType="withEffect">
                                  <p:stCondLst>
                                    <p:cond delay="450"/>
                                  </p:stCondLst>
                                  <p:childTnLst>
                                    <p:animMotion origin="layout" path="M 3.75E-6 3.7037E-7 L 0.08632 -0.00046 " pathEditMode="relative" rAng="0" ptsTypes="AA">
                                      <p:cBhvr>
                                        <p:cTn id="73" dur="1000" spd="-100000" fill="hold"/>
                                        <p:tgtEl>
                                          <p:spTgt spid="14"/>
                                        </p:tgtEl>
                                        <p:attrNameLst>
                                          <p:attrName>ppt_x</p:attrName>
                                          <p:attrName>ppt_y</p:attrName>
                                        </p:attrNameLst>
                                      </p:cBhvr>
                                      <p:rCtr x="4310" y="-23"/>
                                    </p:animMotion>
                                  </p:childTnLst>
                                </p:cTn>
                              </p:par>
                              <p:par>
                                <p:cTn id="74" presetID="10" presetClass="entr" presetSubtype="0" fill="hold" nodeType="withEffect">
                                  <p:stCondLst>
                                    <p:cond delay="650"/>
                                  </p:stCondLst>
                                  <p:childTnLst>
                                    <p:set>
                                      <p:cBhvr>
                                        <p:cTn id="75" dur="1" fill="hold">
                                          <p:stCondLst>
                                            <p:cond delay="0"/>
                                          </p:stCondLst>
                                        </p:cTn>
                                        <p:tgtEl>
                                          <p:spTgt spid="16"/>
                                        </p:tgtEl>
                                        <p:attrNameLst>
                                          <p:attrName>style.visibility</p:attrName>
                                        </p:attrNameLst>
                                      </p:cBhvr>
                                      <p:to>
                                        <p:strVal val="visible"/>
                                      </p:to>
                                    </p:set>
                                    <p:animEffect transition="in" filter="fade">
                                      <p:cBhvr>
                                        <p:cTn id="76" dur="700"/>
                                        <p:tgtEl>
                                          <p:spTgt spid="16"/>
                                        </p:tgtEl>
                                      </p:cBhvr>
                                    </p:animEffect>
                                  </p:childTnLst>
                                </p:cTn>
                              </p:par>
                              <p:par>
                                <p:cTn id="77" presetID="35" presetClass="path" presetSubtype="0" decel="100000" fill="hold" nodeType="withEffect">
                                  <p:stCondLst>
                                    <p:cond delay="450"/>
                                  </p:stCondLst>
                                  <p:childTnLst>
                                    <p:animMotion origin="layout" path="M -1.45833E-6 0 L 0.08633 -0.00046 " pathEditMode="relative" rAng="0" ptsTypes="AA">
                                      <p:cBhvr>
                                        <p:cTn id="78" dur="1000" spd="-100000" fill="hold"/>
                                        <p:tgtEl>
                                          <p:spTgt spid="16"/>
                                        </p:tgtEl>
                                        <p:attrNameLst>
                                          <p:attrName>ppt_x</p:attrName>
                                          <p:attrName>ppt_y</p:attrName>
                                        </p:attrNameLst>
                                      </p:cBhvr>
                                      <p:rCtr x="4310" y="-23"/>
                                    </p:animMotion>
                                  </p:childTnLst>
                                </p:cTn>
                              </p:par>
                              <p:par>
                                <p:cTn id="79" presetID="10" presetClass="entr" presetSubtype="0" fill="hold" grpId="0" nodeType="withEffect">
                                  <p:stCondLst>
                                    <p:cond delay="650"/>
                                  </p:stCondLst>
                                  <p:childTnLst>
                                    <p:set>
                                      <p:cBhvr>
                                        <p:cTn id="80" dur="1" fill="hold">
                                          <p:stCondLst>
                                            <p:cond delay="0"/>
                                          </p:stCondLst>
                                        </p:cTn>
                                        <p:tgtEl>
                                          <p:spTgt spid="17"/>
                                        </p:tgtEl>
                                        <p:attrNameLst>
                                          <p:attrName>style.visibility</p:attrName>
                                        </p:attrNameLst>
                                      </p:cBhvr>
                                      <p:to>
                                        <p:strVal val="visible"/>
                                      </p:to>
                                    </p:set>
                                    <p:animEffect transition="in" filter="fade">
                                      <p:cBhvr>
                                        <p:cTn id="81" dur="700"/>
                                        <p:tgtEl>
                                          <p:spTgt spid="17"/>
                                        </p:tgtEl>
                                      </p:cBhvr>
                                    </p:animEffect>
                                  </p:childTnLst>
                                </p:cTn>
                              </p:par>
                              <p:par>
                                <p:cTn id="82" presetID="35" presetClass="path" presetSubtype="0" decel="100000" fill="hold" grpId="1" nodeType="withEffect">
                                  <p:stCondLst>
                                    <p:cond delay="450"/>
                                  </p:stCondLst>
                                  <p:childTnLst>
                                    <p:animMotion origin="layout" path="M -1.45833E-6 0 L 0.08633 -0.00046 " pathEditMode="relative" rAng="0" ptsTypes="AA">
                                      <p:cBhvr>
                                        <p:cTn id="83" dur="1000" spd="-100000" fill="hold"/>
                                        <p:tgtEl>
                                          <p:spTgt spid="17"/>
                                        </p:tgtEl>
                                        <p:attrNameLst>
                                          <p:attrName>ppt_x</p:attrName>
                                          <p:attrName>ppt_y</p:attrName>
                                        </p:attrNameLst>
                                      </p:cBhvr>
                                      <p:rCtr x="4310" y="-23"/>
                                    </p:animMotion>
                                  </p:childTnLst>
                                </p:cTn>
                              </p:par>
                              <p:par>
                                <p:cTn id="84" presetID="10" presetClass="entr" presetSubtype="0" fill="hold" grpId="0" nodeType="withEffect">
                                  <p:stCondLst>
                                    <p:cond delay="800"/>
                                  </p:stCondLst>
                                  <p:childTnLst>
                                    <p:set>
                                      <p:cBhvr>
                                        <p:cTn id="85" dur="1" fill="hold">
                                          <p:stCondLst>
                                            <p:cond delay="0"/>
                                          </p:stCondLst>
                                        </p:cTn>
                                        <p:tgtEl>
                                          <p:spTgt spid="19"/>
                                        </p:tgtEl>
                                        <p:attrNameLst>
                                          <p:attrName>style.visibility</p:attrName>
                                        </p:attrNameLst>
                                      </p:cBhvr>
                                      <p:to>
                                        <p:strVal val="visible"/>
                                      </p:to>
                                    </p:set>
                                    <p:animEffect transition="in" filter="fade">
                                      <p:cBhvr>
                                        <p:cTn id="86" dur="700"/>
                                        <p:tgtEl>
                                          <p:spTgt spid="19"/>
                                        </p:tgtEl>
                                      </p:cBhvr>
                                    </p:animEffect>
                                  </p:childTnLst>
                                </p:cTn>
                              </p:par>
                              <p:par>
                                <p:cTn id="87" presetID="35" presetClass="path" presetSubtype="0" decel="100000" fill="hold" grpId="1" nodeType="withEffect">
                                  <p:stCondLst>
                                    <p:cond delay="600"/>
                                  </p:stCondLst>
                                  <p:childTnLst>
                                    <p:animMotion origin="layout" path="M 3.75E-6 3.7037E-7 L 0.08632 -0.00046 " pathEditMode="relative" rAng="0" ptsTypes="AA">
                                      <p:cBhvr>
                                        <p:cTn id="88" dur="1000" spd="-100000" fill="hold"/>
                                        <p:tgtEl>
                                          <p:spTgt spid="19"/>
                                        </p:tgtEl>
                                        <p:attrNameLst>
                                          <p:attrName>ppt_x</p:attrName>
                                          <p:attrName>ppt_y</p:attrName>
                                        </p:attrNameLst>
                                      </p:cBhvr>
                                      <p:rCtr x="4310" y="-23"/>
                                    </p:animMotion>
                                  </p:childTnLst>
                                </p:cTn>
                              </p:par>
                              <p:par>
                                <p:cTn id="89" presetID="10" presetClass="entr" presetSubtype="0" fill="hold" nodeType="withEffect">
                                  <p:stCondLst>
                                    <p:cond delay="800"/>
                                  </p:stCondLst>
                                  <p:childTnLst>
                                    <p:set>
                                      <p:cBhvr>
                                        <p:cTn id="90" dur="1" fill="hold">
                                          <p:stCondLst>
                                            <p:cond delay="0"/>
                                          </p:stCondLst>
                                        </p:cTn>
                                        <p:tgtEl>
                                          <p:spTgt spid="3"/>
                                        </p:tgtEl>
                                        <p:attrNameLst>
                                          <p:attrName>style.visibility</p:attrName>
                                        </p:attrNameLst>
                                      </p:cBhvr>
                                      <p:to>
                                        <p:strVal val="visible"/>
                                      </p:to>
                                    </p:set>
                                    <p:animEffect transition="in" filter="fade">
                                      <p:cBhvr>
                                        <p:cTn id="91" dur="700"/>
                                        <p:tgtEl>
                                          <p:spTgt spid="3"/>
                                        </p:tgtEl>
                                      </p:cBhvr>
                                    </p:animEffect>
                                  </p:childTnLst>
                                </p:cTn>
                              </p:par>
                              <p:par>
                                <p:cTn id="92" presetID="35" presetClass="path" presetSubtype="0" decel="100000" fill="hold" nodeType="withEffect">
                                  <p:stCondLst>
                                    <p:cond delay="600"/>
                                  </p:stCondLst>
                                  <p:childTnLst>
                                    <p:animMotion origin="layout" path="M -1.45833E-6 0 L 0.08633 -0.00046 " pathEditMode="relative" rAng="0" ptsTypes="AA">
                                      <p:cBhvr>
                                        <p:cTn id="93" dur="1000" spd="-100000" fill="hold"/>
                                        <p:tgtEl>
                                          <p:spTgt spid="3"/>
                                        </p:tgtEl>
                                        <p:attrNameLst>
                                          <p:attrName>ppt_x</p:attrName>
                                          <p:attrName>ppt_y</p:attrName>
                                        </p:attrNameLst>
                                      </p:cBhvr>
                                      <p:rCtr x="4310" y="-23"/>
                                    </p:animMotion>
                                  </p:childTnLst>
                                </p:cTn>
                              </p:par>
                              <p:par>
                                <p:cTn id="94" presetID="10" presetClass="entr" presetSubtype="0" fill="hold" grpId="0" nodeType="withEffect">
                                  <p:stCondLst>
                                    <p:cond delay="800"/>
                                  </p:stCondLst>
                                  <p:childTnLst>
                                    <p:set>
                                      <p:cBhvr>
                                        <p:cTn id="95" dur="1" fill="hold">
                                          <p:stCondLst>
                                            <p:cond delay="0"/>
                                          </p:stCondLst>
                                        </p:cTn>
                                        <p:tgtEl>
                                          <p:spTgt spid="2"/>
                                        </p:tgtEl>
                                        <p:attrNameLst>
                                          <p:attrName>style.visibility</p:attrName>
                                        </p:attrNameLst>
                                      </p:cBhvr>
                                      <p:to>
                                        <p:strVal val="visible"/>
                                      </p:to>
                                    </p:set>
                                    <p:animEffect transition="in" filter="fade">
                                      <p:cBhvr>
                                        <p:cTn id="96" dur="700"/>
                                        <p:tgtEl>
                                          <p:spTgt spid="2"/>
                                        </p:tgtEl>
                                      </p:cBhvr>
                                    </p:animEffect>
                                  </p:childTnLst>
                                </p:cTn>
                              </p:par>
                              <p:par>
                                <p:cTn id="97" presetID="35" presetClass="path" presetSubtype="0" decel="100000" fill="hold" grpId="1" nodeType="withEffect">
                                  <p:stCondLst>
                                    <p:cond delay="600"/>
                                  </p:stCondLst>
                                  <p:childTnLst>
                                    <p:animMotion origin="layout" path="M -8.33333E-7 4.44444E-6 L 0.08633 -0.00047 " pathEditMode="relative" rAng="0" ptsTypes="AA">
                                      <p:cBhvr>
                                        <p:cTn id="98" dur="1000" spd="-100000" fill="hold"/>
                                        <p:tgtEl>
                                          <p:spTgt spid="2"/>
                                        </p:tgtEl>
                                        <p:attrNameLst>
                                          <p:attrName>ppt_x</p:attrName>
                                          <p:attrName>ppt_y</p:attrName>
                                        </p:attrNameLst>
                                      </p:cBhvr>
                                      <p:rCtr x="4310"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17" grpId="0" animBg="1"/>
      <p:bldP spid="17" grpId="1" animBg="1"/>
      <p:bldP spid="22" grpId="0" animBg="1"/>
      <p:bldP spid="22" grpId="1" animBg="1"/>
      <p:bldP spid="26" grpId="0" animBg="1"/>
      <p:bldP spid="26" grpId="1" animBg="1"/>
      <p:bldP spid="29" grpId="0" animBg="1"/>
      <p:bldP spid="29" grpId="1" animBg="1"/>
      <p:bldP spid="11" grpId="0" animBg="1"/>
      <p:bldP spid="11" grpId="1" animBg="1"/>
      <p:bldP spid="19" grpId="0"/>
      <p:bldP spid="19" grpId="1"/>
      <p:bldP spid="14" grpId="0"/>
      <p:bldP spid="14" grpId="1"/>
      <p:bldP spid="24" grpId="0"/>
      <p:bldP spid="24" grpId="1"/>
      <p:bldP spid="23" grpId="0"/>
      <p:bldP spid="23" grpId="1"/>
      <p:bldP spid="20" grpId="0"/>
      <p:bldP spid="20" grpId="1"/>
      <p:bldP spid="4" grpId="0" animBg="1"/>
      <p:bldP spid="4" grpId="1" animBg="1"/>
      <p:bldP spid="15" grpId="0"/>
      <p:bldP spid="15" grpId="1"/>
      <p:bldP spid="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Sustainability photo">
            <a:extLst>
              <a:ext uri="{FF2B5EF4-FFF2-40B4-BE49-F238E27FC236}">
                <a16:creationId xmlns:a16="http://schemas.microsoft.com/office/drawing/2014/main" id="{3C1BEAB0-E066-4FC3-9E6B-90CCE870B18D}"/>
              </a:ext>
            </a:extLst>
          </p:cNvPr>
          <p:cNvPicPr>
            <a:picLocks noChangeAspect="1"/>
          </p:cNvPicPr>
          <p:nvPr/>
        </p:nvPicPr>
        <p:blipFill rotWithShape="1">
          <a:blip r:embed="rId3">
            <a:extLst>
              <a:ext uri="{28A0092B-C50C-407E-A947-70E740481C1C}">
                <a14:useLocalDpi xmlns:a14="http://schemas.microsoft.com/office/drawing/2010/main" val="0"/>
              </a:ext>
            </a:extLst>
          </a:blip>
          <a:srcRect l="35112" t="37" r="41384" b="37"/>
          <a:stretch/>
        </p:blipFill>
        <p:spPr>
          <a:xfrm>
            <a:off x="9768840" y="19051"/>
            <a:ext cx="2423160" cy="6819900"/>
          </a:xfrm>
          <a:prstGeom prst="rect">
            <a:avLst/>
          </a:prstGeom>
        </p:spPr>
      </p:pic>
      <p:pic>
        <p:nvPicPr>
          <p:cNvPr id="16" name="Workforce photo">
            <a:extLst>
              <a:ext uri="{FF2B5EF4-FFF2-40B4-BE49-F238E27FC236}">
                <a16:creationId xmlns:a16="http://schemas.microsoft.com/office/drawing/2014/main" id="{3592C131-1447-4456-B22E-CDBEB82A2DA7}"/>
              </a:ext>
            </a:extLst>
          </p:cNvPr>
          <p:cNvPicPr>
            <a:picLocks noChangeAspect="1"/>
          </p:cNvPicPr>
          <p:nvPr/>
        </p:nvPicPr>
        <p:blipFill rotWithShape="1">
          <a:blip r:embed="rId4"/>
          <a:srcRect l="24679" t="1432" r="54545" b="439"/>
          <a:stretch/>
        </p:blipFill>
        <p:spPr>
          <a:xfrm>
            <a:off x="7326630" y="860"/>
            <a:ext cx="2423160" cy="6856281"/>
          </a:xfrm>
          <a:prstGeom prst="rect">
            <a:avLst/>
          </a:prstGeom>
        </p:spPr>
      </p:pic>
      <p:pic>
        <p:nvPicPr>
          <p:cNvPr id="18" name="Ethics for AI photo" descr="A large crowd of people&#10;&#10;Description automatically generated">
            <a:extLst>
              <a:ext uri="{FF2B5EF4-FFF2-40B4-BE49-F238E27FC236}">
                <a16:creationId xmlns:a16="http://schemas.microsoft.com/office/drawing/2014/main" id="{A6E9CF9A-D96A-471E-84DE-ABFFEA8B6E6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948" r="78951" b="19111"/>
          <a:stretch/>
        </p:blipFill>
        <p:spPr>
          <a:xfrm>
            <a:off x="4884420" y="-4572"/>
            <a:ext cx="2423160" cy="6867144"/>
          </a:xfrm>
          <a:prstGeom prst="rect">
            <a:avLst/>
          </a:prstGeom>
        </p:spPr>
      </p:pic>
      <p:pic>
        <p:nvPicPr>
          <p:cNvPr id="25" name="Security photo">
            <a:extLst>
              <a:ext uri="{FF2B5EF4-FFF2-40B4-BE49-F238E27FC236}">
                <a16:creationId xmlns:a16="http://schemas.microsoft.com/office/drawing/2014/main" id="{D758B3FA-7A43-4F53-8DB5-2FBD34C0F083}"/>
              </a:ext>
            </a:extLst>
          </p:cNvPr>
          <p:cNvPicPr>
            <a:picLocks noChangeAspect="1"/>
          </p:cNvPicPr>
          <p:nvPr/>
        </p:nvPicPr>
        <p:blipFill rotWithShape="1">
          <a:blip r:embed="rId6"/>
          <a:srcRect l="35725" t="384" r="44869" b="1929"/>
          <a:stretch/>
        </p:blipFill>
        <p:spPr>
          <a:xfrm>
            <a:off x="2442210" y="0"/>
            <a:ext cx="2423160" cy="6858000"/>
          </a:xfrm>
          <a:prstGeom prst="rect">
            <a:avLst/>
          </a:prstGeom>
        </p:spPr>
      </p:pic>
      <p:pic>
        <p:nvPicPr>
          <p:cNvPr id="28" name="Privacy photo">
            <a:extLst>
              <a:ext uri="{FF2B5EF4-FFF2-40B4-BE49-F238E27FC236}">
                <a16:creationId xmlns:a16="http://schemas.microsoft.com/office/drawing/2014/main" id="{666EBF38-79CC-4C43-97E6-CFEA2A9D7C38}"/>
              </a:ext>
            </a:extLst>
          </p:cNvPr>
          <p:cNvPicPr>
            <a:picLocks noChangeAspect="1"/>
          </p:cNvPicPr>
          <p:nvPr/>
        </p:nvPicPr>
        <p:blipFill rotWithShape="1">
          <a:blip r:embed="rId7"/>
          <a:srcRect l="8818" t="16556" r="41136" b="9407"/>
          <a:stretch/>
        </p:blipFill>
        <p:spPr>
          <a:xfrm>
            <a:off x="-666750" y="0"/>
            <a:ext cx="3089910" cy="6858000"/>
          </a:xfrm>
          <a:prstGeom prst="rect">
            <a:avLst/>
          </a:prstGeom>
        </p:spPr>
      </p:pic>
      <p:sp>
        <p:nvSpPr>
          <p:cNvPr id="2" name="photo Tint 5">
            <a:extLst>
              <a:ext uri="{FF2B5EF4-FFF2-40B4-BE49-F238E27FC236}">
                <a16:creationId xmlns:a16="http://schemas.microsoft.com/office/drawing/2014/main" id="{F17A15AC-7577-42A8-BC0A-4034DCF8F452}"/>
              </a:ext>
            </a:extLst>
          </p:cNvPr>
          <p:cNvSpPr/>
          <p:nvPr/>
        </p:nvSpPr>
        <p:spPr bwMode="auto">
          <a:xfrm>
            <a:off x="9768840" y="-4573"/>
            <a:ext cx="2420690" cy="6858000"/>
          </a:xfrm>
          <a:prstGeom prst="rect">
            <a:avLst/>
          </a:prstGeom>
          <a:solidFill>
            <a:srgbClr val="000000">
              <a:alpha val="2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photo Tint 4">
            <a:extLst>
              <a:ext uri="{FF2B5EF4-FFF2-40B4-BE49-F238E27FC236}">
                <a16:creationId xmlns:a16="http://schemas.microsoft.com/office/drawing/2014/main" id="{CA95A019-B7F1-4415-91EC-9DAF765EF461}"/>
              </a:ext>
            </a:extLst>
          </p:cNvPr>
          <p:cNvSpPr/>
          <p:nvPr/>
        </p:nvSpPr>
        <p:spPr bwMode="auto">
          <a:xfrm>
            <a:off x="7328276" y="-4573"/>
            <a:ext cx="2420690" cy="6858000"/>
          </a:xfrm>
          <a:prstGeom prst="rect">
            <a:avLst/>
          </a:prstGeom>
          <a:solidFill>
            <a:srgbClr val="000000">
              <a:alpha val="2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hoto Tint 3">
            <a:extLst>
              <a:ext uri="{FF2B5EF4-FFF2-40B4-BE49-F238E27FC236}">
                <a16:creationId xmlns:a16="http://schemas.microsoft.com/office/drawing/2014/main" id="{4A4D9B90-98D3-48A1-9841-58D3B91B1423}"/>
              </a:ext>
            </a:extLst>
          </p:cNvPr>
          <p:cNvSpPr/>
          <p:nvPr/>
        </p:nvSpPr>
        <p:spPr bwMode="auto">
          <a:xfrm>
            <a:off x="4885243" y="-4573"/>
            <a:ext cx="2420690" cy="6858000"/>
          </a:xfrm>
          <a:prstGeom prst="rect">
            <a:avLst/>
          </a:prstGeom>
          <a:solidFill>
            <a:srgbClr val="000000">
              <a:alpha val="2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photo Tint 2">
            <a:extLst>
              <a:ext uri="{FF2B5EF4-FFF2-40B4-BE49-F238E27FC236}">
                <a16:creationId xmlns:a16="http://schemas.microsoft.com/office/drawing/2014/main" id="{EF9BCA44-F87E-4E6E-8911-9DB1AD6B0517}"/>
              </a:ext>
            </a:extLst>
          </p:cNvPr>
          <p:cNvSpPr/>
          <p:nvPr/>
        </p:nvSpPr>
        <p:spPr bwMode="auto">
          <a:xfrm>
            <a:off x="2442210" y="-4573"/>
            <a:ext cx="2420690" cy="6858000"/>
          </a:xfrm>
          <a:prstGeom prst="rect">
            <a:avLst/>
          </a:prstGeom>
          <a:solidFill>
            <a:srgbClr val="000000">
              <a:alpha val="2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photo Tint 1">
            <a:extLst>
              <a:ext uri="{FF2B5EF4-FFF2-40B4-BE49-F238E27FC236}">
                <a16:creationId xmlns:a16="http://schemas.microsoft.com/office/drawing/2014/main" id="{ACFA331F-9704-454B-9686-4A078329CBEE}"/>
              </a:ext>
            </a:extLst>
          </p:cNvPr>
          <p:cNvSpPr/>
          <p:nvPr/>
        </p:nvSpPr>
        <p:spPr bwMode="auto">
          <a:xfrm>
            <a:off x="-666751" y="-4573"/>
            <a:ext cx="3089911" cy="6858000"/>
          </a:xfrm>
          <a:prstGeom prst="rect">
            <a:avLst/>
          </a:prstGeom>
          <a:solidFill>
            <a:srgbClr val="000000">
              <a:alpha val="2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nt">
            <a:extLst>
              <a:ext uri="{FF2B5EF4-FFF2-40B4-BE49-F238E27FC236}">
                <a16:creationId xmlns:a16="http://schemas.microsoft.com/office/drawing/2014/main" id="{96281F54-BFBB-4AA4-8BEA-9ED7B3375D8B}"/>
              </a:ext>
            </a:extLst>
          </p:cNvPr>
          <p:cNvSpPr/>
          <p:nvPr/>
        </p:nvSpPr>
        <p:spPr>
          <a:xfrm>
            <a:off x="-669222" y="0"/>
            <a:ext cx="12904383" cy="6858000"/>
          </a:xfrm>
          <a:prstGeom prst="rect">
            <a:avLst/>
          </a:prstGeom>
          <a:gradFill flip="none" rotWithShape="1">
            <a:gsLst>
              <a:gs pos="9000">
                <a:srgbClr val="000000">
                  <a:alpha val="87000"/>
                </a:srgbClr>
              </a:gs>
              <a:gs pos="45000">
                <a:srgbClr val="000000">
                  <a:alpha val="0"/>
                </a:srgbClr>
              </a:gs>
            </a:gsLst>
            <a:lin ang="16200000" scaled="1"/>
            <a:tileRect/>
          </a:gradFill>
        </p:spPr>
        <p:txBody>
          <a:bodyPr wrap="square" tIns="91440" bIns="1005840" anchor="b" anchorCtr="0">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19" name="Sustainability text">
            <a:extLst>
              <a:ext uri="{FF2B5EF4-FFF2-40B4-BE49-F238E27FC236}">
                <a16:creationId xmlns:a16="http://schemas.microsoft.com/office/drawing/2014/main" id="{098322AD-9803-46BD-AB20-3DFB4BB973F6}"/>
              </a:ext>
            </a:extLst>
          </p:cNvPr>
          <p:cNvSpPr/>
          <p:nvPr/>
        </p:nvSpPr>
        <p:spPr>
          <a:xfrm>
            <a:off x="9785420" y="5425738"/>
            <a:ext cx="2363540" cy="461665"/>
          </a:xfrm>
          <a:prstGeom prst="rect">
            <a:avLst/>
          </a:prstGeom>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Sustainability</a:t>
            </a:r>
          </a:p>
        </p:txBody>
      </p:sp>
      <p:sp>
        <p:nvSpPr>
          <p:cNvPr id="14" name="Workforce text">
            <a:extLst>
              <a:ext uri="{FF2B5EF4-FFF2-40B4-BE49-F238E27FC236}">
                <a16:creationId xmlns:a16="http://schemas.microsoft.com/office/drawing/2014/main" id="{8E699A35-4136-4770-B106-4F168D45AA0F}"/>
              </a:ext>
            </a:extLst>
          </p:cNvPr>
          <p:cNvSpPr/>
          <p:nvPr/>
        </p:nvSpPr>
        <p:spPr>
          <a:xfrm>
            <a:off x="7343210" y="5425738"/>
            <a:ext cx="2423159" cy="461665"/>
          </a:xfrm>
          <a:prstGeom prst="rect">
            <a:avLst/>
          </a:prstGeom>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Workforce</a:t>
            </a:r>
          </a:p>
        </p:txBody>
      </p:sp>
      <p:sp>
        <p:nvSpPr>
          <p:cNvPr id="24" name="Ethics for AI text">
            <a:extLst>
              <a:ext uri="{FF2B5EF4-FFF2-40B4-BE49-F238E27FC236}">
                <a16:creationId xmlns:a16="http://schemas.microsoft.com/office/drawing/2014/main" id="{BB424416-5CFD-4394-BEFA-9FB40ECCB274}"/>
              </a:ext>
            </a:extLst>
          </p:cNvPr>
          <p:cNvSpPr/>
          <p:nvPr/>
        </p:nvSpPr>
        <p:spPr>
          <a:xfrm>
            <a:off x="4884420" y="5425738"/>
            <a:ext cx="2420690" cy="461665"/>
          </a:xfrm>
          <a:prstGeom prst="rect">
            <a:avLst/>
          </a:prstGeom>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Ethics for AI</a:t>
            </a:r>
          </a:p>
        </p:txBody>
      </p:sp>
      <p:sp>
        <p:nvSpPr>
          <p:cNvPr id="23" name="Security text">
            <a:extLst>
              <a:ext uri="{FF2B5EF4-FFF2-40B4-BE49-F238E27FC236}">
                <a16:creationId xmlns:a16="http://schemas.microsoft.com/office/drawing/2014/main" id="{A99CEFA9-13C0-46C5-9EFB-3850157B903D}"/>
              </a:ext>
            </a:extLst>
          </p:cNvPr>
          <p:cNvSpPr/>
          <p:nvPr/>
        </p:nvSpPr>
        <p:spPr>
          <a:xfrm>
            <a:off x="2423159" y="5428063"/>
            <a:ext cx="2420690" cy="461665"/>
          </a:xfrm>
          <a:prstGeom prst="rect">
            <a:avLst/>
          </a:prstGeom>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Security</a:t>
            </a:r>
          </a:p>
        </p:txBody>
      </p:sp>
      <p:sp>
        <p:nvSpPr>
          <p:cNvPr id="20" name="Privacy text">
            <a:extLst>
              <a:ext uri="{FF2B5EF4-FFF2-40B4-BE49-F238E27FC236}">
                <a16:creationId xmlns:a16="http://schemas.microsoft.com/office/drawing/2014/main" id="{E77D7052-8404-4CF9-9C4B-E12F6FEF049B}"/>
              </a:ext>
            </a:extLst>
          </p:cNvPr>
          <p:cNvSpPr/>
          <p:nvPr/>
        </p:nvSpPr>
        <p:spPr>
          <a:xfrm>
            <a:off x="0" y="5428063"/>
            <a:ext cx="2423159" cy="461665"/>
          </a:xfrm>
          <a:prstGeom prst="rect">
            <a:avLst/>
          </a:prstGeom>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Privacy</a:t>
            </a:r>
            <a:endParaRPr kumimoji="0" lang="en-US" sz="2800"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4" name="Rectangle 3">
            <a:extLst>
              <a:ext uri="{FF2B5EF4-FFF2-40B4-BE49-F238E27FC236}">
                <a16:creationId xmlns:a16="http://schemas.microsoft.com/office/drawing/2014/main" id="{9EE8AB4C-BA6B-495F-81B2-4FAB8FC69E93}"/>
              </a:ext>
            </a:extLst>
          </p:cNvPr>
          <p:cNvSpPr/>
          <p:nvPr/>
        </p:nvSpPr>
        <p:spPr bwMode="auto">
          <a:xfrm>
            <a:off x="-428624" y="2804339"/>
            <a:ext cx="12734924" cy="1249322"/>
          </a:xfrm>
          <a:prstGeom prst="rect">
            <a:avLst/>
          </a:prstGeom>
          <a:gradFill flip="none" rotWithShape="1">
            <a:gsLst>
              <a:gs pos="46000">
                <a:srgbClr val="243A5E"/>
              </a:gs>
              <a:gs pos="100000">
                <a:srgbClr val="243A5E">
                  <a:alpha val="77000"/>
                </a:srgb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a:extLst>
              <a:ext uri="{FF2B5EF4-FFF2-40B4-BE49-F238E27FC236}">
                <a16:creationId xmlns:a16="http://schemas.microsoft.com/office/drawing/2014/main" id="{BAB98348-2758-4AF5-BB78-FC1AAD6896BC}"/>
              </a:ext>
            </a:extLst>
          </p:cNvPr>
          <p:cNvSpPr txBox="1">
            <a:spLocks/>
          </p:cNvSpPr>
          <p:nvPr/>
        </p:nvSpPr>
        <p:spPr>
          <a:xfrm>
            <a:off x="2382750" y="3175813"/>
            <a:ext cx="7426501" cy="506374"/>
          </a:xfrm>
          <a:prstGeom prst="rect">
            <a:avLst/>
          </a:prstGeom>
        </p:spPr>
        <p:txBody>
          <a:bodyPr anchor="ct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50E6FF"/>
                </a:solidFill>
                <a:effectLst/>
                <a:uLnTx/>
                <a:uFillTx/>
                <a:latin typeface="Segoe UI Semibold"/>
                <a:ea typeface="+mn-ea"/>
                <a:cs typeface="Segoe UI" pitchFamily="34" charset="0"/>
              </a:rPr>
              <a:t>Addressing broader </a:t>
            </a: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hallenges</a:t>
            </a:r>
          </a:p>
        </p:txBody>
      </p:sp>
      <p:sp>
        <p:nvSpPr>
          <p:cNvPr id="5" name="animation timing box">
            <a:extLst>
              <a:ext uri="{FF2B5EF4-FFF2-40B4-BE49-F238E27FC236}">
                <a16:creationId xmlns:a16="http://schemas.microsoft.com/office/drawing/2014/main" id="{398EC635-DB2E-450F-9157-7B378372D0E0}"/>
              </a:ext>
            </a:extLst>
          </p:cNvPr>
          <p:cNvSpPr/>
          <p:nvPr/>
        </p:nvSpPr>
        <p:spPr bwMode="auto">
          <a:xfrm>
            <a:off x="5238750" y="-752475"/>
            <a:ext cx="438150" cy="438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57097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 presetClass="emph" presetSubtype="0" accel="100000" autoRev="1" fill="hold" grpId="1" nodeType="withEffect">
                                  <p:stCondLst>
                                    <p:cond delay="0"/>
                                  </p:stCondLst>
                                  <p:childTnLst>
                                    <p:animScale>
                                      <p:cBhvr>
                                        <p:cTn id="9" dur="500" fill="hold"/>
                                        <p:tgtEl>
                                          <p:spTgt spid="15"/>
                                        </p:tgtEl>
                                      </p:cBhvr>
                                      <p:by x="85000" y="85000"/>
                                    </p:animScale>
                                  </p:childTnLst>
                                </p:cTn>
                              </p:par>
                              <p:par>
                                <p:cTn id="10" presetID="10" presetClass="entr" presetSubtype="0" fill="hold" grpId="0" nodeType="withEffect">
                                  <p:stCondLst>
                                    <p:cond delay="5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6" presetClass="emph" presetSubtype="0" accel="100000" autoRev="1" fill="hold" grpId="1" nodeType="withEffect">
                                  <p:stCondLst>
                                    <p:cond delay="0"/>
                                  </p:stCondLst>
                                  <p:childTnLst>
                                    <p:animScale>
                                      <p:cBhvr>
                                        <p:cTn id="14" dur="500" fill="hold"/>
                                        <p:tgtEl>
                                          <p:spTgt spid="4"/>
                                        </p:tgtEl>
                                      </p:cBhvr>
                                      <p:by x="85000" y="85000"/>
                                    </p:animScale>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250"/>
                                        <p:tgtEl>
                                          <p:spTgt spid="5"/>
                                        </p:tgtEl>
                                      </p:cBhvr>
                                    </p:animEffect>
                                  </p:childTnLst>
                                </p:cTn>
                              </p:par>
                              <p:par>
                                <p:cTn id="19" presetID="10" presetClass="entr" presetSubtype="0" fill="hold" grpId="0" nodeType="withEffect">
                                  <p:stCondLst>
                                    <p:cond delay="25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700"/>
                                        <p:tgtEl>
                                          <p:spTgt spid="11"/>
                                        </p:tgtEl>
                                      </p:cBhvr>
                                    </p:animEffect>
                                  </p:childTnLst>
                                </p:cTn>
                              </p:par>
                              <p:par>
                                <p:cTn id="22" presetID="35" presetClass="path" presetSubtype="0" decel="100000" fill="hold" grpId="1" nodeType="withEffect">
                                  <p:stCondLst>
                                    <p:cond delay="0"/>
                                  </p:stCondLst>
                                  <p:childTnLst>
                                    <p:animMotion origin="layout" path="M 1.25E-6 0 L 0.08633 -0.00046 " pathEditMode="relative" rAng="0" ptsTypes="AA">
                                      <p:cBhvr>
                                        <p:cTn id="23" dur="1000" spd="-100000" fill="hold"/>
                                        <p:tgtEl>
                                          <p:spTgt spid="11"/>
                                        </p:tgtEl>
                                        <p:attrNameLst>
                                          <p:attrName>ppt_x</p:attrName>
                                          <p:attrName>ppt_y</p:attrName>
                                        </p:attrNameLst>
                                      </p:cBhvr>
                                      <p:rCtr x="4310" y="-23"/>
                                    </p:animMotion>
                                  </p:childTnLst>
                                </p:cTn>
                              </p:par>
                              <p:par>
                                <p:cTn id="24" presetID="10" presetClass="entr" presetSubtype="0" fill="hold" grpId="0" nodeType="withEffect">
                                  <p:stCondLst>
                                    <p:cond delay="20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700"/>
                                        <p:tgtEl>
                                          <p:spTgt spid="20"/>
                                        </p:tgtEl>
                                      </p:cBhvr>
                                    </p:animEffect>
                                  </p:childTnLst>
                                </p:cTn>
                              </p:par>
                              <p:par>
                                <p:cTn id="27" presetID="35" presetClass="path" presetSubtype="0" decel="100000" fill="hold" grpId="1" nodeType="withEffect">
                                  <p:stCondLst>
                                    <p:cond delay="0"/>
                                  </p:stCondLst>
                                  <p:childTnLst>
                                    <p:animMotion origin="layout" path="M 3.75E-6 3.7037E-7 L 0.08632 -0.00046 " pathEditMode="relative" rAng="0" ptsTypes="AA">
                                      <p:cBhvr>
                                        <p:cTn id="28" dur="1000" spd="-100000" fill="hold"/>
                                        <p:tgtEl>
                                          <p:spTgt spid="20"/>
                                        </p:tgtEl>
                                        <p:attrNameLst>
                                          <p:attrName>ppt_x</p:attrName>
                                          <p:attrName>ppt_y</p:attrName>
                                        </p:attrNameLst>
                                      </p:cBhvr>
                                      <p:rCtr x="4310" y="-23"/>
                                    </p:animMotion>
                                  </p:childTnLst>
                                </p:cTn>
                              </p:par>
                              <p:par>
                                <p:cTn id="29" presetID="10" presetClass="entr" presetSubtype="0" fill="hold" nodeType="withEffect">
                                  <p:stCondLst>
                                    <p:cond delay="20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700"/>
                                        <p:tgtEl>
                                          <p:spTgt spid="28"/>
                                        </p:tgtEl>
                                      </p:cBhvr>
                                    </p:animEffect>
                                  </p:childTnLst>
                                </p:cTn>
                              </p:par>
                              <p:par>
                                <p:cTn id="32" presetID="35" presetClass="path" presetSubtype="0" decel="100000" fill="hold" nodeType="withEffect">
                                  <p:stCondLst>
                                    <p:cond delay="0"/>
                                  </p:stCondLst>
                                  <p:childTnLst>
                                    <p:animMotion origin="layout" path="M -1.45833E-6 0 L 0.08633 -0.00046 " pathEditMode="relative" rAng="0" ptsTypes="AA">
                                      <p:cBhvr>
                                        <p:cTn id="33" dur="1000" spd="-100000" fill="hold"/>
                                        <p:tgtEl>
                                          <p:spTgt spid="28"/>
                                        </p:tgtEl>
                                        <p:attrNameLst>
                                          <p:attrName>ppt_x</p:attrName>
                                          <p:attrName>ppt_y</p:attrName>
                                        </p:attrNameLst>
                                      </p:cBhvr>
                                      <p:rCtr x="4310" y="-23"/>
                                    </p:animMotion>
                                  </p:childTnLst>
                                </p:cTn>
                              </p:par>
                              <p:par>
                                <p:cTn id="34" presetID="10" presetClass="entr" presetSubtype="0" fill="hold" grpId="0" nodeType="withEffect">
                                  <p:stCondLst>
                                    <p:cond delay="35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700"/>
                                        <p:tgtEl>
                                          <p:spTgt spid="29"/>
                                        </p:tgtEl>
                                      </p:cBhvr>
                                    </p:animEffect>
                                  </p:childTnLst>
                                </p:cTn>
                              </p:par>
                              <p:par>
                                <p:cTn id="37" presetID="35" presetClass="path" presetSubtype="0" decel="100000" fill="hold" grpId="1" nodeType="withEffect">
                                  <p:stCondLst>
                                    <p:cond delay="150"/>
                                  </p:stCondLst>
                                  <p:childTnLst>
                                    <p:animMotion origin="layout" path="M 4.79167E-6 4.44444E-6 L 0.08632 -0.00047 " pathEditMode="relative" rAng="0" ptsTypes="AA">
                                      <p:cBhvr>
                                        <p:cTn id="38" dur="1000" spd="-100000" fill="hold"/>
                                        <p:tgtEl>
                                          <p:spTgt spid="29"/>
                                        </p:tgtEl>
                                        <p:attrNameLst>
                                          <p:attrName>ppt_x</p:attrName>
                                          <p:attrName>ppt_y</p:attrName>
                                        </p:attrNameLst>
                                      </p:cBhvr>
                                      <p:rCtr x="4310" y="-23"/>
                                    </p:animMotion>
                                  </p:childTnLst>
                                </p:cTn>
                              </p:par>
                              <p:par>
                                <p:cTn id="39" presetID="10" presetClass="entr" presetSubtype="0" fill="hold" grpId="0" nodeType="withEffect">
                                  <p:stCondLst>
                                    <p:cond delay="350"/>
                                  </p:stCondLst>
                                  <p:childTnLst>
                                    <p:set>
                                      <p:cBhvr>
                                        <p:cTn id="40" dur="1" fill="hold">
                                          <p:stCondLst>
                                            <p:cond delay="0"/>
                                          </p:stCondLst>
                                        </p:cTn>
                                        <p:tgtEl>
                                          <p:spTgt spid="23"/>
                                        </p:tgtEl>
                                        <p:attrNameLst>
                                          <p:attrName>style.visibility</p:attrName>
                                        </p:attrNameLst>
                                      </p:cBhvr>
                                      <p:to>
                                        <p:strVal val="visible"/>
                                      </p:to>
                                    </p:set>
                                    <p:animEffect transition="in" filter="fade">
                                      <p:cBhvr>
                                        <p:cTn id="41" dur="700"/>
                                        <p:tgtEl>
                                          <p:spTgt spid="23"/>
                                        </p:tgtEl>
                                      </p:cBhvr>
                                    </p:animEffect>
                                  </p:childTnLst>
                                </p:cTn>
                              </p:par>
                              <p:par>
                                <p:cTn id="42" presetID="35" presetClass="path" presetSubtype="0" decel="100000" fill="hold" grpId="1" nodeType="withEffect">
                                  <p:stCondLst>
                                    <p:cond delay="150"/>
                                  </p:stCondLst>
                                  <p:childTnLst>
                                    <p:animMotion origin="layout" path="M 3.75E-6 3.7037E-7 L 0.08632 -0.00046 " pathEditMode="relative" rAng="0" ptsTypes="AA">
                                      <p:cBhvr>
                                        <p:cTn id="43" dur="1000" spd="-100000" fill="hold"/>
                                        <p:tgtEl>
                                          <p:spTgt spid="23"/>
                                        </p:tgtEl>
                                        <p:attrNameLst>
                                          <p:attrName>ppt_x</p:attrName>
                                          <p:attrName>ppt_y</p:attrName>
                                        </p:attrNameLst>
                                      </p:cBhvr>
                                      <p:rCtr x="4310" y="-23"/>
                                    </p:animMotion>
                                  </p:childTnLst>
                                </p:cTn>
                              </p:par>
                              <p:par>
                                <p:cTn id="44" presetID="10" presetClass="entr" presetSubtype="0" fill="hold" nodeType="withEffect">
                                  <p:stCondLst>
                                    <p:cond delay="350"/>
                                  </p:stCondLst>
                                  <p:childTnLst>
                                    <p:set>
                                      <p:cBhvr>
                                        <p:cTn id="45" dur="1" fill="hold">
                                          <p:stCondLst>
                                            <p:cond delay="0"/>
                                          </p:stCondLst>
                                        </p:cTn>
                                        <p:tgtEl>
                                          <p:spTgt spid="25"/>
                                        </p:tgtEl>
                                        <p:attrNameLst>
                                          <p:attrName>style.visibility</p:attrName>
                                        </p:attrNameLst>
                                      </p:cBhvr>
                                      <p:to>
                                        <p:strVal val="visible"/>
                                      </p:to>
                                    </p:set>
                                    <p:animEffect transition="in" filter="fade">
                                      <p:cBhvr>
                                        <p:cTn id="46" dur="700"/>
                                        <p:tgtEl>
                                          <p:spTgt spid="25"/>
                                        </p:tgtEl>
                                      </p:cBhvr>
                                    </p:animEffect>
                                  </p:childTnLst>
                                </p:cTn>
                              </p:par>
                              <p:par>
                                <p:cTn id="47" presetID="35" presetClass="path" presetSubtype="0" decel="100000" fill="hold" nodeType="withEffect">
                                  <p:stCondLst>
                                    <p:cond delay="150"/>
                                  </p:stCondLst>
                                  <p:childTnLst>
                                    <p:animMotion origin="layout" path="M -1.45833E-6 0 L 0.08633 -0.00046 " pathEditMode="relative" rAng="0" ptsTypes="AA">
                                      <p:cBhvr>
                                        <p:cTn id="48" dur="1000" spd="-100000" fill="hold"/>
                                        <p:tgtEl>
                                          <p:spTgt spid="25"/>
                                        </p:tgtEl>
                                        <p:attrNameLst>
                                          <p:attrName>ppt_x</p:attrName>
                                          <p:attrName>ppt_y</p:attrName>
                                        </p:attrNameLst>
                                      </p:cBhvr>
                                      <p:rCtr x="4310" y="-23"/>
                                    </p:animMotion>
                                  </p:childTnLst>
                                </p:cTn>
                              </p:par>
                              <p:par>
                                <p:cTn id="49" presetID="10" presetClass="entr" presetSubtype="0" fill="hold" grpId="0" nodeType="withEffect">
                                  <p:stCondLst>
                                    <p:cond delay="350"/>
                                  </p:stCondLst>
                                  <p:childTnLst>
                                    <p:set>
                                      <p:cBhvr>
                                        <p:cTn id="50" dur="1" fill="hold">
                                          <p:stCondLst>
                                            <p:cond delay="0"/>
                                          </p:stCondLst>
                                        </p:cTn>
                                        <p:tgtEl>
                                          <p:spTgt spid="26"/>
                                        </p:tgtEl>
                                        <p:attrNameLst>
                                          <p:attrName>style.visibility</p:attrName>
                                        </p:attrNameLst>
                                      </p:cBhvr>
                                      <p:to>
                                        <p:strVal val="visible"/>
                                      </p:to>
                                    </p:set>
                                    <p:animEffect transition="in" filter="fade">
                                      <p:cBhvr>
                                        <p:cTn id="51" dur="700"/>
                                        <p:tgtEl>
                                          <p:spTgt spid="26"/>
                                        </p:tgtEl>
                                      </p:cBhvr>
                                    </p:animEffect>
                                  </p:childTnLst>
                                </p:cTn>
                              </p:par>
                              <p:par>
                                <p:cTn id="52" presetID="35" presetClass="path" presetSubtype="0" decel="100000" fill="hold" grpId="1" nodeType="withEffect">
                                  <p:stCondLst>
                                    <p:cond delay="150"/>
                                  </p:stCondLst>
                                  <p:childTnLst>
                                    <p:animMotion origin="layout" path="M 8.33333E-7 4.44444E-6 L 0.08633 -0.00047 " pathEditMode="relative" rAng="0" ptsTypes="AA">
                                      <p:cBhvr>
                                        <p:cTn id="53" dur="1000" spd="-100000" fill="hold"/>
                                        <p:tgtEl>
                                          <p:spTgt spid="26"/>
                                        </p:tgtEl>
                                        <p:attrNameLst>
                                          <p:attrName>ppt_x</p:attrName>
                                          <p:attrName>ppt_y</p:attrName>
                                        </p:attrNameLst>
                                      </p:cBhvr>
                                      <p:rCtr x="4310" y="-23"/>
                                    </p:animMotion>
                                  </p:childTnLst>
                                </p:cTn>
                              </p:par>
                              <p:par>
                                <p:cTn id="54" presetID="10" presetClass="entr" presetSubtype="0" fill="hold" grpId="0" nodeType="withEffect">
                                  <p:stCondLst>
                                    <p:cond delay="50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700"/>
                                        <p:tgtEl>
                                          <p:spTgt spid="24"/>
                                        </p:tgtEl>
                                      </p:cBhvr>
                                    </p:animEffect>
                                  </p:childTnLst>
                                </p:cTn>
                              </p:par>
                              <p:par>
                                <p:cTn id="57" presetID="35" presetClass="path" presetSubtype="0" decel="100000" fill="hold" grpId="1" nodeType="withEffect">
                                  <p:stCondLst>
                                    <p:cond delay="300"/>
                                  </p:stCondLst>
                                  <p:childTnLst>
                                    <p:animMotion origin="layout" path="M 3.75E-6 3.7037E-7 L 0.08632 -0.00046 " pathEditMode="relative" rAng="0" ptsTypes="AA">
                                      <p:cBhvr>
                                        <p:cTn id="58" dur="1000" spd="-100000" fill="hold"/>
                                        <p:tgtEl>
                                          <p:spTgt spid="24"/>
                                        </p:tgtEl>
                                        <p:attrNameLst>
                                          <p:attrName>ppt_x</p:attrName>
                                          <p:attrName>ppt_y</p:attrName>
                                        </p:attrNameLst>
                                      </p:cBhvr>
                                      <p:rCtr x="4310" y="-23"/>
                                    </p:animMotion>
                                  </p:childTnLst>
                                </p:cTn>
                              </p:par>
                              <p:par>
                                <p:cTn id="59" presetID="10" presetClass="entr" presetSubtype="0" fill="hold" nodeType="withEffect">
                                  <p:stCondLst>
                                    <p:cond delay="500"/>
                                  </p:stCondLst>
                                  <p:childTnLst>
                                    <p:set>
                                      <p:cBhvr>
                                        <p:cTn id="60" dur="1" fill="hold">
                                          <p:stCondLst>
                                            <p:cond delay="0"/>
                                          </p:stCondLst>
                                        </p:cTn>
                                        <p:tgtEl>
                                          <p:spTgt spid="18"/>
                                        </p:tgtEl>
                                        <p:attrNameLst>
                                          <p:attrName>style.visibility</p:attrName>
                                        </p:attrNameLst>
                                      </p:cBhvr>
                                      <p:to>
                                        <p:strVal val="visible"/>
                                      </p:to>
                                    </p:set>
                                    <p:animEffect transition="in" filter="fade">
                                      <p:cBhvr>
                                        <p:cTn id="61" dur="700"/>
                                        <p:tgtEl>
                                          <p:spTgt spid="18"/>
                                        </p:tgtEl>
                                      </p:cBhvr>
                                    </p:animEffect>
                                  </p:childTnLst>
                                </p:cTn>
                              </p:par>
                              <p:par>
                                <p:cTn id="62" presetID="35" presetClass="path" presetSubtype="0" decel="100000" fill="hold" nodeType="withEffect">
                                  <p:stCondLst>
                                    <p:cond delay="300"/>
                                  </p:stCondLst>
                                  <p:childTnLst>
                                    <p:animMotion origin="layout" path="M -1.45833E-6 0 L 0.08633 -0.00046 " pathEditMode="relative" rAng="0" ptsTypes="AA">
                                      <p:cBhvr>
                                        <p:cTn id="63" dur="1000" spd="-100000" fill="hold"/>
                                        <p:tgtEl>
                                          <p:spTgt spid="18"/>
                                        </p:tgtEl>
                                        <p:attrNameLst>
                                          <p:attrName>ppt_x</p:attrName>
                                          <p:attrName>ppt_y</p:attrName>
                                        </p:attrNameLst>
                                      </p:cBhvr>
                                      <p:rCtr x="4310" y="-23"/>
                                    </p:animMotion>
                                  </p:childTnLst>
                                </p:cTn>
                              </p:par>
                              <p:par>
                                <p:cTn id="64" presetID="10" presetClass="entr" presetSubtype="0" fill="hold" grpId="0" nodeType="withEffect">
                                  <p:stCondLst>
                                    <p:cond delay="50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700"/>
                                        <p:tgtEl>
                                          <p:spTgt spid="22"/>
                                        </p:tgtEl>
                                      </p:cBhvr>
                                    </p:animEffect>
                                  </p:childTnLst>
                                </p:cTn>
                              </p:par>
                              <p:par>
                                <p:cTn id="67" presetID="35" presetClass="path" presetSubtype="0" decel="100000" fill="hold" grpId="1" nodeType="withEffect">
                                  <p:stCondLst>
                                    <p:cond delay="300"/>
                                  </p:stCondLst>
                                  <p:childTnLst>
                                    <p:animMotion origin="layout" path="M 2.08333E-7 4.44444E-6 L 0.08633 -0.00047 " pathEditMode="relative" rAng="0" ptsTypes="AA">
                                      <p:cBhvr>
                                        <p:cTn id="68" dur="1000" spd="-100000" fill="hold"/>
                                        <p:tgtEl>
                                          <p:spTgt spid="22"/>
                                        </p:tgtEl>
                                        <p:attrNameLst>
                                          <p:attrName>ppt_x</p:attrName>
                                          <p:attrName>ppt_y</p:attrName>
                                        </p:attrNameLst>
                                      </p:cBhvr>
                                      <p:rCtr x="4310" y="-23"/>
                                    </p:animMotion>
                                  </p:childTnLst>
                                </p:cTn>
                              </p:par>
                              <p:par>
                                <p:cTn id="69" presetID="10" presetClass="entr" presetSubtype="0" fill="hold" grpId="0" nodeType="withEffect">
                                  <p:stCondLst>
                                    <p:cond delay="650"/>
                                  </p:stCondLst>
                                  <p:childTnLst>
                                    <p:set>
                                      <p:cBhvr>
                                        <p:cTn id="70" dur="1" fill="hold">
                                          <p:stCondLst>
                                            <p:cond delay="0"/>
                                          </p:stCondLst>
                                        </p:cTn>
                                        <p:tgtEl>
                                          <p:spTgt spid="14"/>
                                        </p:tgtEl>
                                        <p:attrNameLst>
                                          <p:attrName>style.visibility</p:attrName>
                                        </p:attrNameLst>
                                      </p:cBhvr>
                                      <p:to>
                                        <p:strVal val="visible"/>
                                      </p:to>
                                    </p:set>
                                    <p:animEffect transition="in" filter="fade">
                                      <p:cBhvr>
                                        <p:cTn id="71" dur="700"/>
                                        <p:tgtEl>
                                          <p:spTgt spid="14"/>
                                        </p:tgtEl>
                                      </p:cBhvr>
                                    </p:animEffect>
                                  </p:childTnLst>
                                </p:cTn>
                              </p:par>
                              <p:par>
                                <p:cTn id="72" presetID="35" presetClass="path" presetSubtype="0" decel="100000" fill="hold" grpId="1" nodeType="withEffect">
                                  <p:stCondLst>
                                    <p:cond delay="450"/>
                                  </p:stCondLst>
                                  <p:childTnLst>
                                    <p:animMotion origin="layout" path="M 3.75E-6 3.7037E-7 L 0.08632 -0.00046 " pathEditMode="relative" rAng="0" ptsTypes="AA">
                                      <p:cBhvr>
                                        <p:cTn id="73" dur="1000" spd="-100000" fill="hold"/>
                                        <p:tgtEl>
                                          <p:spTgt spid="14"/>
                                        </p:tgtEl>
                                        <p:attrNameLst>
                                          <p:attrName>ppt_x</p:attrName>
                                          <p:attrName>ppt_y</p:attrName>
                                        </p:attrNameLst>
                                      </p:cBhvr>
                                      <p:rCtr x="4310" y="-23"/>
                                    </p:animMotion>
                                  </p:childTnLst>
                                </p:cTn>
                              </p:par>
                              <p:par>
                                <p:cTn id="74" presetID="10" presetClass="entr" presetSubtype="0" fill="hold" nodeType="withEffect">
                                  <p:stCondLst>
                                    <p:cond delay="650"/>
                                  </p:stCondLst>
                                  <p:childTnLst>
                                    <p:set>
                                      <p:cBhvr>
                                        <p:cTn id="75" dur="1" fill="hold">
                                          <p:stCondLst>
                                            <p:cond delay="0"/>
                                          </p:stCondLst>
                                        </p:cTn>
                                        <p:tgtEl>
                                          <p:spTgt spid="16"/>
                                        </p:tgtEl>
                                        <p:attrNameLst>
                                          <p:attrName>style.visibility</p:attrName>
                                        </p:attrNameLst>
                                      </p:cBhvr>
                                      <p:to>
                                        <p:strVal val="visible"/>
                                      </p:to>
                                    </p:set>
                                    <p:animEffect transition="in" filter="fade">
                                      <p:cBhvr>
                                        <p:cTn id="76" dur="700"/>
                                        <p:tgtEl>
                                          <p:spTgt spid="16"/>
                                        </p:tgtEl>
                                      </p:cBhvr>
                                    </p:animEffect>
                                  </p:childTnLst>
                                </p:cTn>
                              </p:par>
                              <p:par>
                                <p:cTn id="77" presetID="35" presetClass="path" presetSubtype="0" decel="100000" fill="hold" nodeType="withEffect">
                                  <p:stCondLst>
                                    <p:cond delay="450"/>
                                  </p:stCondLst>
                                  <p:childTnLst>
                                    <p:animMotion origin="layout" path="M -1.45833E-6 0 L 0.08633 -0.00046 " pathEditMode="relative" rAng="0" ptsTypes="AA">
                                      <p:cBhvr>
                                        <p:cTn id="78" dur="1000" spd="-100000" fill="hold"/>
                                        <p:tgtEl>
                                          <p:spTgt spid="16"/>
                                        </p:tgtEl>
                                        <p:attrNameLst>
                                          <p:attrName>ppt_x</p:attrName>
                                          <p:attrName>ppt_y</p:attrName>
                                        </p:attrNameLst>
                                      </p:cBhvr>
                                      <p:rCtr x="4310" y="-23"/>
                                    </p:animMotion>
                                  </p:childTnLst>
                                </p:cTn>
                              </p:par>
                              <p:par>
                                <p:cTn id="79" presetID="10" presetClass="entr" presetSubtype="0" fill="hold" grpId="0" nodeType="withEffect">
                                  <p:stCondLst>
                                    <p:cond delay="650"/>
                                  </p:stCondLst>
                                  <p:childTnLst>
                                    <p:set>
                                      <p:cBhvr>
                                        <p:cTn id="80" dur="1" fill="hold">
                                          <p:stCondLst>
                                            <p:cond delay="0"/>
                                          </p:stCondLst>
                                        </p:cTn>
                                        <p:tgtEl>
                                          <p:spTgt spid="17"/>
                                        </p:tgtEl>
                                        <p:attrNameLst>
                                          <p:attrName>style.visibility</p:attrName>
                                        </p:attrNameLst>
                                      </p:cBhvr>
                                      <p:to>
                                        <p:strVal val="visible"/>
                                      </p:to>
                                    </p:set>
                                    <p:animEffect transition="in" filter="fade">
                                      <p:cBhvr>
                                        <p:cTn id="81" dur="700"/>
                                        <p:tgtEl>
                                          <p:spTgt spid="17"/>
                                        </p:tgtEl>
                                      </p:cBhvr>
                                    </p:animEffect>
                                  </p:childTnLst>
                                </p:cTn>
                              </p:par>
                              <p:par>
                                <p:cTn id="82" presetID="35" presetClass="path" presetSubtype="0" decel="100000" fill="hold" grpId="1" nodeType="withEffect">
                                  <p:stCondLst>
                                    <p:cond delay="450"/>
                                  </p:stCondLst>
                                  <p:childTnLst>
                                    <p:animMotion origin="layout" path="M -1.45833E-6 0 L 0.08633 -0.00046 " pathEditMode="relative" rAng="0" ptsTypes="AA">
                                      <p:cBhvr>
                                        <p:cTn id="83" dur="1000" spd="-100000" fill="hold"/>
                                        <p:tgtEl>
                                          <p:spTgt spid="17"/>
                                        </p:tgtEl>
                                        <p:attrNameLst>
                                          <p:attrName>ppt_x</p:attrName>
                                          <p:attrName>ppt_y</p:attrName>
                                        </p:attrNameLst>
                                      </p:cBhvr>
                                      <p:rCtr x="4310" y="-23"/>
                                    </p:animMotion>
                                  </p:childTnLst>
                                </p:cTn>
                              </p:par>
                              <p:par>
                                <p:cTn id="84" presetID="10" presetClass="entr" presetSubtype="0" fill="hold" grpId="0" nodeType="withEffect">
                                  <p:stCondLst>
                                    <p:cond delay="800"/>
                                  </p:stCondLst>
                                  <p:childTnLst>
                                    <p:set>
                                      <p:cBhvr>
                                        <p:cTn id="85" dur="1" fill="hold">
                                          <p:stCondLst>
                                            <p:cond delay="0"/>
                                          </p:stCondLst>
                                        </p:cTn>
                                        <p:tgtEl>
                                          <p:spTgt spid="19"/>
                                        </p:tgtEl>
                                        <p:attrNameLst>
                                          <p:attrName>style.visibility</p:attrName>
                                        </p:attrNameLst>
                                      </p:cBhvr>
                                      <p:to>
                                        <p:strVal val="visible"/>
                                      </p:to>
                                    </p:set>
                                    <p:animEffect transition="in" filter="fade">
                                      <p:cBhvr>
                                        <p:cTn id="86" dur="700"/>
                                        <p:tgtEl>
                                          <p:spTgt spid="19"/>
                                        </p:tgtEl>
                                      </p:cBhvr>
                                    </p:animEffect>
                                  </p:childTnLst>
                                </p:cTn>
                              </p:par>
                              <p:par>
                                <p:cTn id="87" presetID="35" presetClass="path" presetSubtype="0" decel="100000" fill="hold" grpId="1" nodeType="withEffect">
                                  <p:stCondLst>
                                    <p:cond delay="600"/>
                                  </p:stCondLst>
                                  <p:childTnLst>
                                    <p:animMotion origin="layout" path="M 3.75E-6 3.7037E-7 L 0.08632 -0.00046 " pathEditMode="relative" rAng="0" ptsTypes="AA">
                                      <p:cBhvr>
                                        <p:cTn id="88" dur="1000" spd="-100000" fill="hold"/>
                                        <p:tgtEl>
                                          <p:spTgt spid="19"/>
                                        </p:tgtEl>
                                        <p:attrNameLst>
                                          <p:attrName>ppt_x</p:attrName>
                                          <p:attrName>ppt_y</p:attrName>
                                        </p:attrNameLst>
                                      </p:cBhvr>
                                      <p:rCtr x="4310" y="-23"/>
                                    </p:animMotion>
                                  </p:childTnLst>
                                </p:cTn>
                              </p:par>
                              <p:par>
                                <p:cTn id="89" presetID="10" presetClass="entr" presetSubtype="0" fill="hold" nodeType="withEffect">
                                  <p:stCondLst>
                                    <p:cond delay="800"/>
                                  </p:stCondLst>
                                  <p:childTnLst>
                                    <p:set>
                                      <p:cBhvr>
                                        <p:cTn id="90" dur="1" fill="hold">
                                          <p:stCondLst>
                                            <p:cond delay="0"/>
                                          </p:stCondLst>
                                        </p:cTn>
                                        <p:tgtEl>
                                          <p:spTgt spid="3"/>
                                        </p:tgtEl>
                                        <p:attrNameLst>
                                          <p:attrName>style.visibility</p:attrName>
                                        </p:attrNameLst>
                                      </p:cBhvr>
                                      <p:to>
                                        <p:strVal val="visible"/>
                                      </p:to>
                                    </p:set>
                                    <p:animEffect transition="in" filter="fade">
                                      <p:cBhvr>
                                        <p:cTn id="91" dur="700"/>
                                        <p:tgtEl>
                                          <p:spTgt spid="3"/>
                                        </p:tgtEl>
                                      </p:cBhvr>
                                    </p:animEffect>
                                  </p:childTnLst>
                                </p:cTn>
                              </p:par>
                              <p:par>
                                <p:cTn id="92" presetID="35" presetClass="path" presetSubtype="0" decel="100000" fill="hold" nodeType="withEffect">
                                  <p:stCondLst>
                                    <p:cond delay="600"/>
                                  </p:stCondLst>
                                  <p:childTnLst>
                                    <p:animMotion origin="layout" path="M -1.45833E-6 0 L 0.08633 -0.00046 " pathEditMode="relative" rAng="0" ptsTypes="AA">
                                      <p:cBhvr>
                                        <p:cTn id="93" dur="1000" spd="-100000" fill="hold"/>
                                        <p:tgtEl>
                                          <p:spTgt spid="3"/>
                                        </p:tgtEl>
                                        <p:attrNameLst>
                                          <p:attrName>ppt_x</p:attrName>
                                          <p:attrName>ppt_y</p:attrName>
                                        </p:attrNameLst>
                                      </p:cBhvr>
                                      <p:rCtr x="4310" y="-23"/>
                                    </p:animMotion>
                                  </p:childTnLst>
                                </p:cTn>
                              </p:par>
                              <p:par>
                                <p:cTn id="94" presetID="10" presetClass="entr" presetSubtype="0" fill="hold" grpId="0" nodeType="withEffect">
                                  <p:stCondLst>
                                    <p:cond delay="800"/>
                                  </p:stCondLst>
                                  <p:childTnLst>
                                    <p:set>
                                      <p:cBhvr>
                                        <p:cTn id="95" dur="1" fill="hold">
                                          <p:stCondLst>
                                            <p:cond delay="0"/>
                                          </p:stCondLst>
                                        </p:cTn>
                                        <p:tgtEl>
                                          <p:spTgt spid="2"/>
                                        </p:tgtEl>
                                        <p:attrNameLst>
                                          <p:attrName>style.visibility</p:attrName>
                                        </p:attrNameLst>
                                      </p:cBhvr>
                                      <p:to>
                                        <p:strVal val="visible"/>
                                      </p:to>
                                    </p:set>
                                    <p:animEffect transition="in" filter="fade">
                                      <p:cBhvr>
                                        <p:cTn id="96" dur="700"/>
                                        <p:tgtEl>
                                          <p:spTgt spid="2"/>
                                        </p:tgtEl>
                                      </p:cBhvr>
                                    </p:animEffect>
                                  </p:childTnLst>
                                </p:cTn>
                              </p:par>
                              <p:par>
                                <p:cTn id="97" presetID="35" presetClass="path" presetSubtype="0" decel="100000" fill="hold" grpId="1" nodeType="withEffect">
                                  <p:stCondLst>
                                    <p:cond delay="600"/>
                                  </p:stCondLst>
                                  <p:childTnLst>
                                    <p:animMotion origin="layout" path="M -8.33333E-7 4.44444E-6 L 0.08633 -0.00047 " pathEditMode="relative" rAng="0" ptsTypes="AA">
                                      <p:cBhvr>
                                        <p:cTn id="98" dur="1000" spd="-100000" fill="hold"/>
                                        <p:tgtEl>
                                          <p:spTgt spid="2"/>
                                        </p:tgtEl>
                                        <p:attrNameLst>
                                          <p:attrName>ppt_x</p:attrName>
                                          <p:attrName>ppt_y</p:attrName>
                                        </p:attrNameLst>
                                      </p:cBhvr>
                                      <p:rCtr x="4310"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17" grpId="0" animBg="1"/>
      <p:bldP spid="17" grpId="1" animBg="1"/>
      <p:bldP spid="22" grpId="0" animBg="1"/>
      <p:bldP spid="22" grpId="1" animBg="1"/>
      <p:bldP spid="26" grpId="0" animBg="1"/>
      <p:bldP spid="26" grpId="1" animBg="1"/>
      <p:bldP spid="29" grpId="0" animBg="1"/>
      <p:bldP spid="29" grpId="1" animBg="1"/>
      <p:bldP spid="11" grpId="0" animBg="1"/>
      <p:bldP spid="11" grpId="1" animBg="1"/>
      <p:bldP spid="19" grpId="0"/>
      <p:bldP spid="19" grpId="1"/>
      <p:bldP spid="14" grpId="0"/>
      <p:bldP spid="14" grpId="1"/>
      <p:bldP spid="24" grpId="0"/>
      <p:bldP spid="24" grpId="1"/>
      <p:bldP spid="23" grpId="0"/>
      <p:bldP spid="23" grpId="1"/>
      <p:bldP spid="20" grpId="0"/>
      <p:bldP spid="20" grpId="1"/>
      <p:bldP spid="4" grpId="0" animBg="1"/>
      <p:bldP spid="4" grpId="1" animBg="1"/>
      <p:bldP spid="15" grpId="0"/>
      <p:bldP spid="15" grpId="1"/>
      <p:bldP spid="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6" name="Freeform 2">
            <a:extLst>
              <a:ext uri="{FF2B5EF4-FFF2-40B4-BE49-F238E27FC236}">
                <a16:creationId xmlns:a16="http://schemas.microsoft.com/office/drawing/2014/main" id="{6212ADE6-4D94-45F2-A180-EEF053189F9B}"/>
              </a:ext>
            </a:extLst>
          </p:cNvPr>
          <p:cNvSpPr>
            <a:spLocks noChangeArrowheads="1"/>
          </p:cNvSpPr>
          <p:nvPr/>
        </p:nvSpPr>
        <p:spPr bwMode="auto">
          <a:xfrm>
            <a:off x="1361930" y="1147969"/>
            <a:ext cx="9653547" cy="5368333"/>
          </a:xfrm>
          <a:prstGeom prst="rect">
            <a:avLst/>
          </a:prstGeom>
          <a:solidFill>
            <a:schemeClr val="bg1"/>
          </a:solidFill>
          <a:ln>
            <a:noFill/>
            <a:headEnd type="none" w="med" len="med"/>
            <a:tailEnd type="none" w="med" len="med"/>
          </a:ln>
          <a:effectLst>
            <a:outerShdw blurRad="736600" sx="102000" sy="102000" algn="ctr" rotWithShape="0">
              <a:schemeClr val="accent2">
                <a:alpha val="4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rPr>
              <a:t>Azure</a:t>
            </a:r>
          </a:p>
        </p:txBody>
      </p:sp>
      <p:sp>
        <p:nvSpPr>
          <p:cNvPr id="4" name="TextBox 3">
            <a:extLst>
              <a:ext uri="{FF2B5EF4-FFF2-40B4-BE49-F238E27FC236}">
                <a16:creationId xmlns:a16="http://schemas.microsoft.com/office/drawing/2014/main" id="{BA5A9A5A-CA1E-4867-ACF6-CDAB6591F05A}"/>
              </a:ext>
            </a:extLst>
          </p:cNvPr>
          <p:cNvSpPr txBox="1"/>
          <p:nvPr/>
        </p:nvSpPr>
        <p:spPr>
          <a:xfrm>
            <a:off x="1792343" y="5631155"/>
            <a:ext cx="755528"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4">
                    <a:lumMod val="60000"/>
                    <a:lumOff val="40000"/>
                  </a:srgbClr>
                </a:solidFill>
                <a:effectLst/>
                <a:uLnTx/>
                <a:uFillTx/>
                <a:latin typeface="Segoe UI"/>
                <a:ea typeface="+mn-ea"/>
                <a:cs typeface="+mn-cs"/>
              </a:rPr>
              <a:t>61 </a:t>
            </a:r>
            <a:r>
              <a:rPr kumimoji="0" lang="en-US" sz="1200" b="0" i="0" u="none" strike="noStrike" kern="1200" cap="none" spc="0" normalizeH="0" baseline="0" noProof="0">
                <a:ln>
                  <a:noFill/>
                </a:ln>
                <a:solidFill>
                  <a:srgbClr val="0078D4">
                    <a:lumMod val="60000"/>
                    <a:lumOff val="40000"/>
                  </a:srgbClr>
                </a:solidFill>
                <a:effectLst/>
                <a:uLnTx/>
                <a:uFillTx/>
                <a:latin typeface="Segoe UI"/>
                <a:ea typeface="+mn-ea"/>
                <a:cs typeface="+mn-cs"/>
              </a:rPr>
              <a:t>Regions</a:t>
            </a:r>
          </a:p>
        </p:txBody>
      </p:sp>
      <p:sp>
        <p:nvSpPr>
          <p:cNvPr id="279" name="TextBox 278">
            <a:extLst>
              <a:ext uri="{FF2B5EF4-FFF2-40B4-BE49-F238E27FC236}">
                <a16:creationId xmlns:a16="http://schemas.microsoft.com/office/drawing/2014/main" id="{5C4E816E-7ED5-4E9D-8A23-4F3102FB9895}"/>
              </a:ext>
            </a:extLst>
          </p:cNvPr>
          <p:cNvSpPr txBox="1"/>
          <p:nvPr/>
        </p:nvSpPr>
        <p:spPr>
          <a:xfrm>
            <a:off x="3328703" y="5631155"/>
            <a:ext cx="1790555"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4">
                    <a:lumMod val="60000"/>
                    <a:lumOff val="40000"/>
                  </a:srgbClr>
                </a:solidFill>
                <a:effectLst/>
                <a:uLnTx/>
                <a:uFillTx/>
                <a:latin typeface="Segoe UI"/>
                <a:ea typeface="+mn-ea"/>
                <a:cs typeface="+mn-cs"/>
              </a:rPr>
              <a:t>90+ </a:t>
            </a:r>
            <a:r>
              <a:rPr kumimoji="0" lang="en-US" sz="1200" b="0" i="0" u="none" strike="noStrike" kern="1200" cap="none" spc="0" normalizeH="0" baseline="0" noProof="0">
                <a:ln>
                  <a:noFill/>
                </a:ln>
                <a:solidFill>
                  <a:srgbClr val="0078D4">
                    <a:lumMod val="60000"/>
                    <a:lumOff val="40000"/>
                  </a:srgbClr>
                </a:solidFill>
                <a:effectLst/>
                <a:uLnTx/>
                <a:uFillTx/>
                <a:latin typeface="Segoe UI"/>
                <a:ea typeface="+mn-ea"/>
                <a:cs typeface="+mn-cs"/>
              </a:rPr>
              <a:t>Compliance Offerings</a:t>
            </a:r>
          </a:p>
        </p:txBody>
      </p:sp>
      <p:sp>
        <p:nvSpPr>
          <p:cNvPr id="280" name="TextBox 279">
            <a:extLst>
              <a:ext uri="{FF2B5EF4-FFF2-40B4-BE49-F238E27FC236}">
                <a16:creationId xmlns:a16="http://schemas.microsoft.com/office/drawing/2014/main" id="{AED9B58D-8D3F-46AB-A839-EF2CDAF25402}"/>
              </a:ext>
            </a:extLst>
          </p:cNvPr>
          <p:cNvSpPr txBox="1"/>
          <p:nvPr/>
        </p:nvSpPr>
        <p:spPr>
          <a:xfrm>
            <a:off x="8407551" y="5631155"/>
            <a:ext cx="2274598"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4">
                    <a:lumMod val="60000"/>
                    <a:lumOff val="40000"/>
                  </a:srgbClr>
                </a:solidFill>
                <a:effectLst/>
                <a:uLnTx/>
                <a:uFillTx/>
                <a:latin typeface="Segoe UI"/>
                <a:ea typeface="+mn-ea"/>
                <a:cs typeface="+mn-cs"/>
              </a:rPr>
              <a:t>$1B </a:t>
            </a:r>
            <a:r>
              <a:rPr kumimoji="0" lang="en-US" sz="1200" b="0" i="0" u="none" strike="noStrike" kern="1200" cap="none" spc="0" normalizeH="0" baseline="0" noProof="0">
                <a:ln>
                  <a:noFill/>
                </a:ln>
                <a:solidFill>
                  <a:srgbClr val="0078D4">
                    <a:lumMod val="60000"/>
                    <a:lumOff val="40000"/>
                  </a:srgbClr>
                </a:solidFill>
                <a:effectLst/>
                <a:uLnTx/>
                <a:uFillTx/>
                <a:latin typeface="Segoe UI"/>
                <a:ea typeface="+mn-ea"/>
                <a:cs typeface="+mn-cs"/>
              </a:rPr>
              <a:t>Security investment per year </a:t>
            </a:r>
            <a:br>
              <a:rPr kumimoji="0" lang="en-US" sz="1200" b="0" i="0" u="none" strike="noStrike" kern="1200" cap="none" spc="0" normalizeH="0" baseline="0" noProof="0">
                <a:ln>
                  <a:noFill/>
                </a:ln>
                <a:solidFill>
                  <a:srgbClr val="0078D4">
                    <a:lumMod val="60000"/>
                    <a:lumOff val="40000"/>
                  </a:srgbClr>
                </a:solidFill>
                <a:effectLst/>
                <a:uLnTx/>
                <a:uFillTx/>
                <a:latin typeface="Segoe UI"/>
                <a:ea typeface="+mn-ea"/>
                <a:cs typeface="+mn-cs"/>
              </a:rPr>
            </a:br>
            <a:endParaRPr kumimoji="0" lang="en-US" sz="1200" b="0" i="0" u="none" strike="noStrike" kern="1200" cap="none" spc="0" normalizeH="0" baseline="0" noProof="0">
              <a:ln>
                <a:noFill/>
              </a:ln>
              <a:solidFill>
                <a:srgbClr val="0078D4">
                  <a:lumMod val="60000"/>
                  <a:lumOff val="40000"/>
                </a:srgbClr>
              </a:solidFill>
              <a:effectLst/>
              <a:uLnTx/>
              <a:uFillTx/>
              <a:latin typeface="Segoe UI"/>
              <a:ea typeface="+mn-ea"/>
              <a:cs typeface="+mn-cs"/>
            </a:endParaRPr>
          </a:p>
        </p:txBody>
      </p:sp>
      <p:sp>
        <p:nvSpPr>
          <p:cNvPr id="281" name="TextBox 280">
            <a:extLst>
              <a:ext uri="{FF2B5EF4-FFF2-40B4-BE49-F238E27FC236}">
                <a16:creationId xmlns:a16="http://schemas.microsoft.com/office/drawing/2014/main" id="{7CAE9BC3-7764-44FE-9A9D-6B35B78BD9F6}"/>
              </a:ext>
            </a:extLst>
          </p:cNvPr>
          <p:cNvSpPr txBox="1"/>
          <p:nvPr/>
        </p:nvSpPr>
        <p:spPr>
          <a:xfrm>
            <a:off x="5800207" y="5631155"/>
            <a:ext cx="1873078"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4">
                    <a:lumMod val="60000"/>
                    <a:lumOff val="40000"/>
                  </a:srgbClr>
                </a:solidFill>
                <a:effectLst/>
                <a:uLnTx/>
                <a:uFillTx/>
                <a:latin typeface="Segoe UI"/>
                <a:ea typeface="+mn-ea"/>
                <a:cs typeface="+mn-cs"/>
              </a:rPr>
              <a:t>95% </a:t>
            </a:r>
            <a:r>
              <a:rPr kumimoji="0" lang="en-US" sz="1200" b="0" i="0" u="none" strike="noStrike" kern="1200" cap="none" spc="0" normalizeH="0" baseline="0" noProof="0">
                <a:ln>
                  <a:noFill/>
                </a:ln>
                <a:solidFill>
                  <a:srgbClr val="0078D4">
                    <a:lumMod val="60000"/>
                    <a:lumOff val="40000"/>
                  </a:srgbClr>
                </a:solidFill>
                <a:effectLst/>
                <a:uLnTx/>
                <a:uFillTx/>
                <a:latin typeface="Segoe UI"/>
                <a:ea typeface="+mn-ea"/>
                <a:cs typeface="+mn-cs"/>
              </a:rPr>
              <a:t>Fortune 500 use Azure</a:t>
            </a:r>
          </a:p>
        </p:txBody>
      </p:sp>
      <p:sp>
        <p:nvSpPr>
          <p:cNvPr id="62" name="Freeform 2">
            <a:extLst>
              <a:ext uri="{FF2B5EF4-FFF2-40B4-BE49-F238E27FC236}">
                <a16:creationId xmlns:a16="http://schemas.microsoft.com/office/drawing/2014/main" id="{E7891629-CE85-49DA-952B-E26F4DF17B78}"/>
              </a:ext>
            </a:extLst>
          </p:cNvPr>
          <p:cNvSpPr>
            <a:spLocks noChangeArrowheads="1"/>
          </p:cNvSpPr>
          <p:nvPr/>
        </p:nvSpPr>
        <p:spPr bwMode="auto">
          <a:xfrm>
            <a:off x="1553938" y="1386265"/>
            <a:ext cx="9276132" cy="3362801"/>
          </a:xfrm>
          <a:prstGeom prst="rect">
            <a:avLst/>
          </a:prstGeom>
          <a:solidFill>
            <a:schemeClr val="bg1"/>
          </a:solidFill>
          <a:ln w="3175" cap="flat">
            <a:solidFill>
              <a:schemeClr val="accent2">
                <a:lumMod val="60000"/>
                <a:lumOff val="40000"/>
                <a:alpha val="85000"/>
              </a:schemeClr>
            </a:solidFill>
            <a:miter lim="800000"/>
            <a:headEnd/>
            <a:tailEnd/>
          </a:ln>
          <a:effectLst/>
        </p:spPr>
        <p:txBody>
          <a:bodyPr wrap="none" lIns="182880" tIns="9144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lumMod val="60000"/>
                    <a:lumOff val="40000"/>
                  </a:srgbClr>
                </a:solidFill>
                <a:effectLst/>
                <a:uLnTx/>
                <a:uFillTx/>
                <a:latin typeface="Segoe UI Semibold"/>
                <a:ea typeface="+mn-ea"/>
                <a:cs typeface="+mn-cs"/>
              </a:rPr>
              <a:t>Azure A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64" name="Freeform 2">
            <a:extLst>
              <a:ext uri="{FF2B5EF4-FFF2-40B4-BE49-F238E27FC236}">
                <a16:creationId xmlns:a16="http://schemas.microsoft.com/office/drawing/2014/main" id="{177C70A8-F491-492E-8935-AFC392151CB3}"/>
              </a:ext>
            </a:extLst>
          </p:cNvPr>
          <p:cNvSpPr>
            <a:spLocks noChangeArrowheads="1"/>
          </p:cNvSpPr>
          <p:nvPr/>
        </p:nvSpPr>
        <p:spPr bwMode="auto">
          <a:xfrm>
            <a:off x="3297868" y="3675416"/>
            <a:ext cx="7298510" cy="874538"/>
          </a:xfrm>
          <a:prstGeom prst="rect">
            <a:avLst/>
          </a:prstGeom>
          <a:solidFill>
            <a:schemeClr val="bg1"/>
          </a:solidFill>
          <a:ln w="9525" cap="flat">
            <a:solidFill>
              <a:schemeClr val="accent2">
                <a:lumMod val="60000"/>
                <a:lumOff val="40000"/>
              </a:schemeClr>
            </a:solidFill>
            <a:miter lim="800000"/>
            <a:headEnd/>
            <a:tailEnd/>
          </a:ln>
          <a:effectLst/>
        </p:spPr>
        <p:txBody>
          <a:bodyPr wrap="none"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a:ea typeface="+mn-ea"/>
                <a:cs typeface="Arial" charset="0"/>
              </a:rPr>
              <a:t>Machine Learning service</a:t>
            </a:r>
          </a:p>
        </p:txBody>
      </p:sp>
      <p:sp>
        <p:nvSpPr>
          <p:cNvPr id="181" name="Freeform 2">
            <a:extLst>
              <a:ext uri="{FF2B5EF4-FFF2-40B4-BE49-F238E27FC236}">
                <a16:creationId xmlns:a16="http://schemas.microsoft.com/office/drawing/2014/main" id="{8AE38316-F648-4D1E-9945-1CDACFAFC9E9}"/>
              </a:ext>
            </a:extLst>
          </p:cNvPr>
          <p:cNvSpPr>
            <a:spLocks noChangeArrowheads="1"/>
          </p:cNvSpPr>
          <p:nvPr/>
        </p:nvSpPr>
        <p:spPr bwMode="auto">
          <a:xfrm>
            <a:off x="3297869" y="2654460"/>
            <a:ext cx="7298510" cy="857925"/>
          </a:xfrm>
          <a:prstGeom prst="rect">
            <a:avLst/>
          </a:prstGeom>
          <a:solidFill>
            <a:schemeClr val="bg1"/>
          </a:solidFill>
          <a:ln w="9525" cap="flat">
            <a:solidFill>
              <a:schemeClr val="accent2">
                <a:lumMod val="60000"/>
                <a:lumOff val="40000"/>
              </a:schemeClr>
            </a:solidFill>
            <a:miter lim="800000"/>
            <a:headEnd/>
            <a:tailEnd/>
          </a:ln>
          <a:effectLst/>
        </p:spPr>
        <p:txBody>
          <a:bodyPr wrap="none"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a:ea typeface="+mn-ea"/>
                <a:cs typeface="Arial" charset="0"/>
              </a:rPr>
              <a:t>Customizable AI mode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lumMod val="75000"/>
                  </a:prstClr>
                </a:solidFill>
                <a:effectLst/>
                <a:uLnTx/>
                <a:uFillTx/>
                <a:latin typeface="Segoe UI"/>
                <a:ea typeface="+mn-ea"/>
                <a:cs typeface="Arial" charset="0"/>
              </a:rPr>
              <a:t>Vision, Speech, Language, Decision</a:t>
            </a:r>
            <a:endParaRPr kumimoji="0" lang="en-US" sz="900" b="1" i="0" u="none" strike="noStrike" kern="0" cap="none" spc="0" normalizeH="0" baseline="0" noProof="0">
              <a:ln>
                <a:noFill/>
              </a:ln>
              <a:solidFill>
                <a:prstClr val="white">
                  <a:lumMod val="75000"/>
                </a:prstClr>
              </a:solidFill>
              <a:effectLst/>
              <a:uLnTx/>
              <a:uFillTx/>
              <a:latin typeface="Segoe UI"/>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p:txBody>
      </p:sp>
      <p:sp>
        <p:nvSpPr>
          <p:cNvPr id="197" name="Freeform 2">
            <a:extLst>
              <a:ext uri="{FF2B5EF4-FFF2-40B4-BE49-F238E27FC236}">
                <a16:creationId xmlns:a16="http://schemas.microsoft.com/office/drawing/2014/main" id="{3D3F68E2-8440-4EC2-9015-FE315F1A0A42}"/>
              </a:ext>
            </a:extLst>
          </p:cNvPr>
          <p:cNvSpPr>
            <a:spLocks noChangeArrowheads="1"/>
          </p:cNvSpPr>
          <p:nvPr/>
        </p:nvSpPr>
        <p:spPr bwMode="auto">
          <a:xfrm>
            <a:off x="3297869" y="1557794"/>
            <a:ext cx="7298508" cy="942842"/>
          </a:xfrm>
          <a:prstGeom prst="rect">
            <a:avLst/>
          </a:prstGeom>
          <a:solidFill>
            <a:schemeClr val="bg1"/>
          </a:solidFill>
          <a:ln w="9525" cap="flat">
            <a:solidFill>
              <a:schemeClr val="accent2">
                <a:lumMod val="60000"/>
                <a:lumOff val="40000"/>
              </a:schemeClr>
            </a:solidFill>
            <a:miter lim="800000"/>
            <a:headEnd/>
            <a:tailEnd/>
          </a:ln>
          <a:effectLst/>
        </p:spPr>
        <p:txBody>
          <a:bodyPr wrap="none"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a:ea typeface="Arial" charset="0"/>
                <a:cs typeface="Arial" charset="0"/>
              </a:rPr>
              <a:t>Scenario specific services</a:t>
            </a:r>
          </a:p>
        </p:txBody>
      </p:sp>
      <p:sp>
        <p:nvSpPr>
          <p:cNvPr id="65" name="Freeform 2">
            <a:extLst>
              <a:ext uri="{FF2B5EF4-FFF2-40B4-BE49-F238E27FC236}">
                <a16:creationId xmlns:a16="http://schemas.microsoft.com/office/drawing/2014/main" id="{A2220A36-B33C-48AC-A0B5-0C4A3F2E7509}"/>
              </a:ext>
            </a:extLst>
          </p:cNvPr>
          <p:cNvSpPr>
            <a:spLocks noChangeArrowheads="1"/>
          </p:cNvSpPr>
          <p:nvPr/>
        </p:nvSpPr>
        <p:spPr bwMode="auto">
          <a:xfrm>
            <a:off x="1570152" y="4925598"/>
            <a:ext cx="2981969" cy="515799"/>
          </a:xfrm>
          <a:prstGeom prst="rect">
            <a:avLst/>
          </a:prstGeom>
          <a:solidFill>
            <a:schemeClr val="accent2">
              <a:alpha val="55000"/>
            </a:schemeClr>
          </a:solidFill>
          <a:ln w="12700" cap="flat">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a:ea typeface="+mn-ea"/>
                <a:cs typeface="Arial" charset="0"/>
              </a:rPr>
              <a:t>Data &amp; Analytics</a:t>
            </a:r>
          </a:p>
        </p:txBody>
      </p:sp>
      <p:sp>
        <p:nvSpPr>
          <p:cNvPr id="66" name="Freeform 2">
            <a:extLst>
              <a:ext uri="{FF2B5EF4-FFF2-40B4-BE49-F238E27FC236}">
                <a16:creationId xmlns:a16="http://schemas.microsoft.com/office/drawing/2014/main" id="{8CF78CAE-BA72-415A-888A-E162F71BA56A}"/>
              </a:ext>
            </a:extLst>
          </p:cNvPr>
          <p:cNvSpPr>
            <a:spLocks noChangeArrowheads="1"/>
          </p:cNvSpPr>
          <p:nvPr/>
        </p:nvSpPr>
        <p:spPr bwMode="auto">
          <a:xfrm>
            <a:off x="4726208" y="4935134"/>
            <a:ext cx="2996273" cy="501110"/>
          </a:xfrm>
          <a:prstGeom prst="rect">
            <a:avLst/>
          </a:prstGeom>
          <a:solidFill>
            <a:schemeClr val="accent2">
              <a:alpha val="55000"/>
            </a:schemeClr>
          </a:solidFill>
          <a:ln w="12700" cap="flat">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a:ea typeface="+mn-ea"/>
                <a:cs typeface="Arial" charset="0"/>
              </a:rPr>
              <a:t>App Development &amp; Tools</a:t>
            </a:r>
          </a:p>
        </p:txBody>
      </p:sp>
      <p:sp>
        <p:nvSpPr>
          <p:cNvPr id="67" name="Freeform 2">
            <a:extLst>
              <a:ext uri="{FF2B5EF4-FFF2-40B4-BE49-F238E27FC236}">
                <a16:creationId xmlns:a16="http://schemas.microsoft.com/office/drawing/2014/main" id="{846D6494-7826-4DDA-98EB-D5299982837C}"/>
              </a:ext>
            </a:extLst>
          </p:cNvPr>
          <p:cNvSpPr>
            <a:spLocks noChangeArrowheads="1"/>
          </p:cNvSpPr>
          <p:nvPr/>
        </p:nvSpPr>
        <p:spPr bwMode="auto">
          <a:xfrm>
            <a:off x="7895062" y="4925021"/>
            <a:ext cx="2981969" cy="515799"/>
          </a:xfrm>
          <a:prstGeom prst="rect">
            <a:avLst/>
          </a:prstGeom>
          <a:solidFill>
            <a:schemeClr val="accent2">
              <a:alpha val="55000"/>
            </a:schemeClr>
          </a:solidFill>
          <a:ln w="12700" cap="flat">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a:ea typeface="+mn-ea"/>
                <a:cs typeface="Arial" charset="0"/>
              </a:rPr>
              <a:t>Compute</a:t>
            </a:r>
          </a:p>
        </p:txBody>
      </p:sp>
      <p:sp>
        <p:nvSpPr>
          <p:cNvPr id="110" name="TextBox 109">
            <a:extLst>
              <a:ext uri="{FF2B5EF4-FFF2-40B4-BE49-F238E27FC236}">
                <a16:creationId xmlns:a16="http://schemas.microsoft.com/office/drawing/2014/main" id="{19A03250-7D76-4A46-8861-DBE58672D35B}"/>
              </a:ext>
            </a:extLst>
          </p:cNvPr>
          <p:cNvSpPr txBox="1"/>
          <p:nvPr/>
        </p:nvSpPr>
        <p:spPr>
          <a:xfrm>
            <a:off x="5866523" y="3238988"/>
            <a:ext cx="1112484"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50E6FF"/>
                </a:solidFill>
                <a:effectLst/>
                <a:uLnTx/>
                <a:uFillTx/>
                <a:latin typeface="Segoe UI Semibold" panose="020B0702040204020203" pitchFamily="34" charset="0"/>
                <a:ea typeface="+mn-ea"/>
                <a:cs typeface="Segoe UI Semibold" panose="020B0702040204020203" pitchFamily="34" charset="0"/>
              </a:rPr>
              <a:t>Cognitive Services</a:t>
            </a:r>
          </a:p>
        </p:txBody>
      </p:sp>
      <p:sp>
        <p:nvSpPr>
          <p:cNvPr id="152" name="TextBox 151">
            <a:extLst>
              <a:ext uri="{FF2B5EF4-FFF2-40B4-BE49-F238E27FC236}">
                <a16:creationId xmlns:a16="http://schemas.microsoft.com/office/drawing/2014/main" id="{18780A5F-2C58-46D8-872A-3239DB8970B8}"/>
              </a:ext>
            </a:extLst>
          </p:cNvPr>
          <p:cNvSpPr txBox="1"/>
          <p:nvPr/>
        </p:nvSpPr>
        <p:spPr>
          <a:xfrm>
            <a:off x="5753893" y="4296634"/>
            <a:ext cx="1481175"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50E6FF"/>
                </a:solidFill>
                <a:effectLst/>
                <a:uLnTx/>
                <a:uFillTx/>
                <a:latin typeface="Segoe UI Semibold" panose="020B0702040204020203" pitchFamily="34" charset="0"/>
                <a:ea typeface="+mn-ea"/>
                <a:cs typeface="Segoe UI Semibold" panose="020B0702040204020203" pitchFamily="34" charset="0"/>
              </a:rPr>
              <a:t>Azure Machine Learning</a:t>
            </a:r>
          </a:p>
        </p:txBody>
      </p:sp>
      <p:grpSp>
        <p:nvGrpSpPr>
          <p:cNvPr id="153" name="Group 152">
            <a:extLst>
              <a:ext uri="{FF2B5EF4-FFF2-40B4-BE49-F238E27FC236}">
                <a16:creationId xmlns:a16="http://schemas.microsoft.com/office/drawing/2014/main" id="{CD58F7F4-AB5A-40E4-AA83-15E25F14DD8C}"/>
              </a:ext>
            </a:extLst>
          </p:cNvPr>
          <p:cNvGrpSpPr>
            <a:grpSpLocks noChangeAspect="1"/>
          </p:cNvGrpSpPr>
          <p:nvPr/>
        </p:nvGrpSpPr>
        <p:grpSpPr>
          <a:xfrm>
            <a:off x="6331415" y="3821760"/>
            <a:ext cx="326130" cy="344487"/>
            <a:chOff x="3778895" y="539838"/>
            <a:chExt cx="5288905" cy="5586594"/>
          </a:xfrm>
        </p:grpSpPr>
        <p:sp>
          <p:nvSpPr>
            <p:cNvPr id="154" name="Freeform: Shape 153">
              <a:extLst>
                <a:ext uri="{FF2B5EF4-FFF2-40B4-BE49-F238E27FC236}">
                  <a16:creationId xmlns:a16="http://schemas.microsoft.com/office/drawing/2014/main" id="{A2F4735B-D5B7-4B93-BDEB-4337A852E217}"/>
                </a:ext>
              </a:extLst>
            </p:cNvPr>
            <p:cNvSpPr/>
            <p:nvPr/>
          </p:nvSpPr>
          <p:spPr bwMode="auto">
            <a:xfrm>
              <a:off x="3807487" y="4731642"/>
              <a:ext cx="5256129" cy="1364366"/>
            </a:xfrm>
            <a:custGeom>
              <a:avLst/>
              <a:gdLst>
                <a:gd name="connsiteX0" fmla="*/ 2122714 w 2277836"/>
                <a:gd name="connsiteY0" fmla="*/ 598714 h 598714"/>
                <a:gd name="connsiteX1" fmla="*/ 144236 w 2277836"/>
                <a:gd name="connsiteY1" fmla="*/ 598714 h 598714"/>
                <a:gd name="connsiteX2" fmla="*/ 0 w 2277836"/>
                <a:gd name="connsiteY2" fmla="*/ 0 h 598714"/>
                <a:gd name="connsiteX3" fmla="*/ 2277836 w 2277836"/>
                <a:gd name="connsiteY3" fmla="*/ 0 h 598714"/>
                <a:gd name="connsiteX4" fmla="*/ 2122714 w 2277836"/>
                <a:gd name="connsiteY4" fmla="*/ 598714 h 598714"/>
                <a:gd name="connsiteX0" fmla="*/ 2132773 w 2287895"/>
                <a:gd name="connsiteY0" fmla="*/ 598714 h 598714"/>
                <a:gd name="connsiteX1" fmla="*/ 154295 w 2287895"/>
                <a:gd name="connsiteY1" fmla="*/ 598714 h 598714"/>
                <a:gd name="connsiteX2" fmla="*/ 0 w 2287895"/>
                <a:gd name="connsiteY2" fmla="*/ 43268 h 598714"/>
                <a:gd name="connsiteX3" fmla="*/ 2287895 w 2287895"/>
                <a:gd name="connsiteY3" fmla="*/ 0 h 598714"/>
                <a:gd name="connsiteX4" fmla="*/ 2132773 w 2287895"/>
                <a:gd name="connsiteY4" fmla="*/ 598714 h 598714"/>
                <a:gd name="connsiteX0" fmla="*/ 2132773 w 2321424"/>
                <a:gd name="connsiteY0" fmla="*/ 555446 h 555446"/>
                <a:gd name="connsiteX1" fmla="*/ 154295 w 2321424"/>
                <a:gd name="connsiteY1" fmla="*/ 555446 h 555446"/>
                <a:gd name="connsiteX2" fmla="*/ 0 w 2321424"/>
                <a:gd name="connsiteY2" fmla="*/ 0 h 555446"/>
                <a:gd name="connsiteX3" fmla="*/ 2321424 w 2321424"/>
                <a:gd name="connsiteY3" fmla="*/ 21637 h 555446"/>
                <a:gd name="connsiteX4" fmla="*/ 2132773 w 2321424"/>
                <a:gd name="connsiteY4" fmla="*/ 555446 h 555446"/>
                <a:gd name="connsiteX0" fmla="*/ 2132773 w 2321424"/>
                <a:gd name="connsiteY0" fmla="*/ 555446 h 555446"/>
                <a:gd name="connsiteX1" fmla="*/ 154295 w 2321424"/>
                <a:gd name="connsiteY1" fmla="*/ 555446 h 555446"/>
                <a:gd name="connsiteX2" fmla="*/ 0 w 2321424"/>
                <a:gd name="connsiteY2" fmla="*/ 0 h 555446"/>
                <a:gd name="connsiteX3" fmla="*/ 2321424 w 2321424"/>
                <a:gd name="connsiteY3" fmla="*/ 9272 h 555446"/>
                <a:gd name="connsiteX4" fmla="*/ 2132773 w 2321424"/>
                <a:gd name="connsiteY4" fmla="*/ 555446 h 555446"/>
                <a:gd name="connsiteX0" fmla="*/ 2132774 w 2321424"/>
                <a:gd name="connsiteY0" fmla="*/ 555446 h 555446"/>
                <a:gd name="connsiteX1" fmla="*/ 154295 w 2321424"/>
                <a:gd name="connsiteY1" fmla="*/ 555446 h 555446"/>
                <a:gd name="connsiteX2" fmla="*/ 0 w 2321424"/>
                <a:gd name="connsiteY2" fmla="*/ 0 h 555446"/>
                <a:gd name="connsiteX3" fmla="*/ 2321424 w 2321424"/>
                <a:gd name="connsiteY3" fmla="*/ 9272 h 555446"/>
                <a:gd name="connsiteX4" fmla="*/ 2132774 w 2321424"/>
                <a:gd name="connsiteY4" fmla="*/ 555446 h 555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1424" h="555446">
                  <a:moveTo>
                    <a:pt x="2132774" y="555446"/>
                  </a:moveTo>
                  <a:lnTo>
                    <a:pt x="154295" y="555446"/>
                  </a:lnTo>
                  <a:lnTo>
                    <a:pt x="0" y="0"/>
                  </a:lnTo>
                  <a:lnTo>
                    <a:pt x="2321424" y="9272"/>
                  </a:lnTo>
                  <a:lnTo>
                    <a:pt x="2132774" y="555446"/>
                  </a:lnTo>
                  <a:close/>
                </a:path>
              </a:pathLst>
            </a:custGeom>
            <a:solidFill>
              <a:srgbClr val="153C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Freeform: Shape 154">
              <a:extLst>
                <a:ext uri="{FF2B5EF4-FFF2-40B4-BE49-F238E27FC236}">
                  <a16:creationId xmlns:a16="http://schemas.microsoft.com/office/drawing/2014/main" id="{FAE48714-1425-43F9-BFA1-AA52EDBF5BD4}"/>
                </a:ext>
              </a:extLst>
            </p:cNvPr>
            <p:cNvSpPr/>
            <p:nvPr/>
          </p:nvSpPr>
          <p:spPr bwMode="auto">
            <a:xfrm>
              <a:off x="3778895" y="611998"/>
              <a:ext cx="3395182" cy="5490170"/>
            </a:xfrm>
            <a:custGeom>
              <a:avLst/>
              <a:gdLst>
                <a:gd name="connsiteX0" fmla="*/ 1453243 w 1453243"/>
                <a:gd name="connsiteY0" fmla="*/ 906235 h 2424792"/>
                <a:gd name="connsiteX1" fmla="*/ 1453243 w 1453243"/>
                <a:gd name="connsiteY1" fmla="*/ 0 h 2424792"/>
                <a:gd name="connsiteX2" fmla="*/ 846364 w 1453243"/>
                <a:gd name="connsiteY2" fmla="*/ 0 h 2424792"/>
                <a:gd name="connsiteX3" fmla="*/ 846364 w 1453243"/>
                <a:gd name="connsiteY3" fmla="*/ 911678 h 2424792"/>
                <a:gd name="connsiteX4" fmla="*/ 0 w 1453243"/>
                <a:gd name="connsiteY4" fmla="*/ 1758042 h 2424792"/>
                <a:gd name="connsiteX5" fmla="*/ 166007 w 1453243"/>
                <a:gd name="connsiteY5" fmla="*/ 2424792 h 2424792"/>
                <a:gd name="connsiteX6" fmla="*/ 1453243 w 1453243"/>
                <a:gd name="connsiteY6" fmla="*/ 906235 h 2424792"/>
                <a:gd name="connsiteX0" fmla="*/ 1453243 w 1453243"/>
                <a:gd name="connsiteY0" fmla="*/ 906235 h 2424792"/>
                <a:gd name="connsiteX1" fmla="*/ 1453243 w 1453243"/>
                <a:gd name="connsiteY1" fmla="*/ 0 h 2424792"/>
                <a:gd name="connsiteX2" fmla="*/ 846364 w 1453243"/>
                <a:gd name="connsiteY2" fmla="*/ 0 h 2424792"/>
                <a:gd name="connsiteX3" fmla="*/ 846364 w 1453243"/>
                <a:gd name="connsiteY3" fmla="*/ 911678 h 2424792"/>
                <a:gd name="connsiteX4" fmla="*/ 0 w 1453243"/>
                <a:gd name="connsiteY4" fmla="*/ 1820635 h 2424792"/>
                <a:gd name="connsiteX5" fmla="*/ 166007 w 1453243"/>
                <a:gd name="connsiteY5" fmla="*/ 2424792 h 2424792"/>
                <a:gd name="connsiteX6" fmla="*/ 1453243 w 1453243"/>
                <a:gd name="connsiteY6" fmla="*/ 906235 h 2424792"/>
                <a:gd name="connsiteX0" fmla="*/ 1447800 w 1447800"/>
                <a:gd name="connsiteY0" fmla="*/ 906235 h 2424792"/>
                <a:gd name="connsiteX1" fmla="*/ 1447800 w 1447800"/>
                <a:gd name="connsiteY1" fmla="*/ 0 h 2424792"/>
                <a:gd name="connsiteX2" fmla="*/ 840921 w 1447800"/>
                <a:gd name="connsiteY2" fmla="*/ 0 h 2424792"/>
                <a:gd name="connsiteX3" fmla="*/ 840921 w 1447800"/>
                <a:gd name="connsiteY3" fmla="*/ 911678 h 2424792"/>
                <a:gd name="connsiteX4" fmla="*/ 0 w 1447800"/>
                <a:gd name="connsiteY4" fmla="*/ 1839685 h 2424792"/>
                <a:gd name="connsiteX5" fmla="*/ 160564 w 1447800"/>
                <a:gd name="connsiteY5" fmla="*/ 2424792 h 2424792"/>
                <a:gd name="connsiteX6" fmla="*/ 1447800 w 1447800"/>
                <a:gd name="connsiteY6" fmla="*/ 906235 h 2424792"/>
                <a:gd name="connsiteX0" fmla="*/ 1447800 w 1447800"/>
                <a:gd name="connsiteY0" fmla="*/ 906235 h 2424792"/>
                <a:gd name="connsiteX1" fmla="*/ 1447800 w 1447800"/>
                <a:gd name="connsiteY1" fmla="*/ 0 h 2424792"/>
                <a:gd name="connsiteX2" fmla="*/ 840921 w 1447800"/>
                <a:gd name="connsiteY2" fmla="*/ 0 h 2424792"/>
                <a:gd name="connsiteX3" fmla="*/ 840921 w 1447800"/>
                <a:gd name="connsiteY3" fmla="*/ 911678 h 2424792"/>
                <a:gd name="connsiteX4" fmla="*/ 0 w 1447800"/>
                <a:gd name="connsiteY4" fmla="*/ 1839685 h 2424792"/>
                <a:gd name="connsiteX5" fmla="*/ 160564 w 1447800"/>
                <a:gd name="connsiteY5" fmla="*/ 2424792 h 2424792"/>
                <a:gd name="connsiteX6" fmla="*/ 1447800 w 1447800"/>
                <a:gd name="connsiteY6" fmla="*/ 906235 h 2424792"/>
                <a:gd name="connsiteX0" fmla="*/ 1455803 w 1455803"/>
                <a:gd name="connsiteY0" fmla="*/ 906235 h 2424792"/>
                <a:gd name="connsiteX1" fmla="*/ 1455803 w 1455803"/>
                <a:gd name="connsiteY1" fmla="*/ 0 h 2424792"/>
                <a:gd name="connsiteX2" fmla="*/ 848924 w 1455803"/>
                <a:gd name="connsiteY2" fmla="*/ 0 h 2424792"/>
                <a:gd name="connsiteX3" fmla="*/ 848924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55803 w 1455803"/>
                <a:gd name="connsiteY0" fmla="*/ 906235 h 2424792"/>
                <a:gd name="connsiteX1" fmla="*/ 1455803 w 1455803"/>
                <a:gd name="connsiteY1" fmla="*/ 0 h 2424792"/>
                <a:gd name="connsiteX2" fmla="*/ 848924 w 1455803"/>
                <a:gd name="connsiteY2" fmla="*/ 0 h 2424792"/>
                <a:gd name="connsiteX3" fmla="*/ 816911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55803 w 1455803"/>
                <a:gd name="connsiteY0" fmla="*/ 906235 h 2424792"/>
                <a:gd name="connsiteX1" fmla="*/ 1455803 w 1455803"/>
                <a:gd name="connsiteY1" fmla="*/ 0 h 2424792"/>
                <a:gd name="connsiteX2" fmla="*/ 824914 w 1455803"/>
                <a:gd name="connsiteY2" fmla="*/ 8164 h 2424792"/>
                <a:gd name="connsiteX3" fmla="*/ 816911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69142 w 1469142"/>
                <a:gd name="connsiteY0" fmla="*/ 941614 h 2424792"/>
                <a:gd name="connsiteX1" fmla="*/ 1455803 w 1469142"/>
                <a:gd name="connsiteY1" fmla="*/ 0 h 2424792"/>
                <a:gd name="connsiteX2" fmla="*/ 824914 w 1469142"/>
                <a:gd name="connsiteY2" fmla="*/ 8164 h 2424792"/>
                <a:gd name="connsiteX3" fmla="*/ 816911 w 1469142"/>
                <a:gd name="connsiteY3" fmla="*/ 911678 h 2424792"/>
                <a:gd name="connsiteX4" fmla="*/ 0 w 1469142"/>
                <a:gd name="connsiteY4" fmla="*/ 1826078 h 2424792"/>
                <a:gd name="connsiteX5" fmla="*/ 168567 w 1469142"/>
                <a:gd name="connsiteY5" fmla="*/ 2424792 h 2424792"/>
                <a:gd name="connsiteX6" fmla="*/ 1469142 w 1469142"/>
                <a:gd name="connsiteY6" fmla="*/ 941614 h 2424792"/>
                <a:gd name="connsiteX0" fmla="*/ 1469977 w 1469977"/>
                <a:gd name="connsiteY0" fmla="*/ 913498 h 2424792"/>
                <a:gd name="connsiteX1" fmla="*/ 1455803 w 1469977"/>
                <a:gd name="connsiteY1" fmla="*/ 0 h 2424792"/>
                <a:gd name="connsiteX2" fmla="*/ 824914 w 1469977"/>
                <a:gd name="connsiteY2" fmla="*/ 8164 h 2424792"/>
                <a:gd name="connsiteX3" fmla="*/ 816911 w 1469977"/>
                <a:gd name="connsiteY3" fmla="*/ 911678 h 2424792"/>
                <a:gd name="connsiteX4" fmla="*/ 0 w 1469977"/>
                <a:gd name="connsiteY4" fmla="*/ 1826078 h 2424792"/>
                <a:gd name="connsiteX5" fmla="*/ 168567 w 1469977"/>
                <a:gd name="connsiteY5" fmla="*/ 2424792 h 2424792"/>
                <a:gd name="connsiteX6" fmla="*/ 1469977 w 1469977"/>
                <a:gd name="connsiteY6" fmla="*/ 913498 h 2424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9977" h="2424792">
                  <a:moveTo>
                    <a:pt x="1469977" y="913498"/>
                  </a:moveTo>
                  <a:lnTo>
                    <a:pt x="1455803" y="0"/>
                  </a:lnTo>
                  <a:lnTo>
                    <a:pt x="824914" y="8164"/>
                  </a:lnTo>
                  <a:cubicBezTo>
                    <a:pt x="822246" y="309335"/>
                    <a:pt x="819579" y="610507"/>
                    <a:pt x="816911" y="911678"/>
                  </a:cubicBezTo>
                  <a:lnTo>
                    <a:pt x="0" y="1826078"/>
                  </a:lnTo>
                  <a:lnTo>
                    <a:pt x="168567" y="2424792"/>
                  </a:lnTo>
                  <a:lnTo>
                    <a:pt x="1469977" y="913498"/>
                  </a:lnTo>
                  <a:close/>
                </a:path>
              </a:pathLst>
            </a:custGeom>
            <a:gradFill flip="none" rotWithShape="1">
              <a:gsLst>
                <a:gs pos="0">
                  <a:srgbClr val="006DAA"/>
                </a:gs>
                <a:gs pos="50000">
                  <a:srgbClr val="0476B4"/>
                </a:gs>
                <a:gs pos="100000">
                  <a:srgbClr val="33A8E0"/>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6" name="Freeform: Shape 155">
              <a:extLst>
                <a:ext uri="{FF2B5EF4-FFF2-40B4-BE49-F238E27FC236}">
                  <a16:creationId xmlns:a16="http://schemas.microsoft.com/office/drawing/2014/main" id="{274A0D1D-492F-4028-9C8C-6C037813C32E}"/>
                </a:ext>
              </a:extLst>
            </p:cNvPr>
            <p:cNvSpPr/>
            <p:nvPr/>
          </p:nvSpPr>
          <p:spPr bwMode="auto">
            <a:xfrm>
              <a:off x="6584972" y="3095203"/>
              <a:ext cx="2482828" cy="3031229"/>
            </a:xfrm>
            <a:custGeom>
              <a:avLst/>
              <a:gdLst>
                <a:gd name="connsiteX0" fmla="*/ 922565 w 1085850"/>
                <a:gd name="connsiteY0" fmla="*/ 1309007 h 1309007"/>
                <a:gd name="connsiteX1" fmla="*/ 922565 w 1085850"/>
                <a:gd name="connsiteY1" fmla="*/ 1309007 h 1309007"/>
                <a:gd name="connsiteX2" fmla="*/ 1085850 w 1085850"/>
                <a:gd name="connsiteY2" fmla="*/ 732065 h 1309007"/>
                <a:gd name="connsiteX3" fmla="*/ 367393 w 1085850"/>
                <a:gd name="connsiteY3" fmla="*/ 0 h 1309007"/>
                <a:gd name="connsiteX4" fmla="*/ 0 w 1085850"/>
                <a:gd name="connsiteY4" fmla="*/ 443593 h 1309007"/>
                <a:gd name="connsiteX5" fmla="*/ 922565 w 1085850"/>
                <a:gd name="connsiteY5" fmla="*/ 1309007 h 1309007"/>
                <a:gd name="connsiteX0" fmla="*/ 0 w 1085850"/>
                <a:gd name="connsiteY0" fmla="*/ 443593 h 1309007"/>
                <a:gd name="connsiteX1" fmla="*/ 922565 w 1085850"/>
                <a:gd name="connsiteY1" fmla="*/ 1309007 h 1309007"/>
                <a:gd name="connsiteX2" fmla="*/ 1085850 w 1085850"/>
                <a:gd name="connsiteY2" fmla="*/ 732065 h 1309007"/>
                <a:gd name="connsiteX3" fmla="*/ 367393 w 1085850"/>
                <a:gd name="connsiteY3" fmla="*/ 0 h 1309007"/>
                <a:gd name="connsiteX4" fmla="*/ 0 w 1085850"/>
                <a:gd name="connsiteY4" fmla="*/ 443593 h 1309007"/>
                <a:gd name="connsiteX0" fmla="*/ 0 w 1085850"/>
                <a:gd name="connsiteY0" fmla="*/ 443593 h 1338773"/>
                <a:gd name="connsiteX1" fmla="*/ 910659 w 1085850"/>
                <a:gd name="connsiteY1" fmla="*/ 1338773 h 1338773"/>
                <a:gd name="connsiteX2" fmla="*/ 1085850 w 1085850"/>
                <a:gd name="connsiteY2" fmla="*/ 732065 h 1338773"/>
                <a:gd name="connsiteX3" fmla="*/ 367393 w 1085850"/>
                <a:gd name="connsiteY3" fmla="*/ 0 h 1338773"/>
                <a:gd name="connsiteX4" fmla="*/ 0 w 1085850"/>
                <a:gd name="connsiteY4" fmla="*/ 443593 h 1338773"/>
                <a:gd name="connsiteX0" fmla="*/ 0 w 1085850"/>
                <a:gd name="connsiteY0" fmla="*/ 443593 h 1338773"/>
                <a:gd name="connsiteX1" fmla="*/ 910659 w 1085850"/>
                <a:gd name="connsiteY1" fmla="*/ 1338773 h 1338773"/>
                <a:gd name="connsiteX2" fmla="*/ 1085850 w 1085850"/>
                <a:gd name="connsiteY2" fmla="*/ 732065 h 1338773"/>
                <a:gd name="connsiteX3" fmla="*/ 367393 w 1085850"/>
                <a:gd name="connsiteY3" fmla="*/ 0 h 1338773"/>
                <a:gd name="connsiteX4" fmla="*/ 0 w 1085850"/>
                <a:gd name="connsiteY4" fmla="*/ 443593 h 1338773"/>
                <a:gd name="connsiteX0" fmla="*/ 0 w 1096566"/>
                <a:gd name="connsiteY0" fmla="*/ 455500 h 1338773"/>
                <a:gd name="connsiteX1" fmla="*/ 921375 w 1096566"/>
                <a:gd name="connsiteY1" fmla="*/ 1338773 h 1338773"/>
                <a:gd name="connsiteX2" fmla="*/ 1096566 w 1096566"/>
                <a:gd name="connsiteY2" fmla="*/ 732065 h 1338773"/>
                <a:gd name="connsiteX3" fmla="*/ 378109 w 1096566"/>
                <a:gd name="connsiteY3" fmla="*/ 0 h 1338773"/>
                <a:gd name="connsiteX4" fmla="*/ 0 w 1096566"/>
                <a:gd name="connsiteY4" fmla="*/ 455500 h 1338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566" h="1338773">
                  <a:moveTo>
                    <a:pt x="0" y="455500"/>
                  </a:moveTo>
                  <a:lnTo>
                    <a:pt x="921375" y="1338773"/>
                  </a:lnTo>
                  <a:lnTo>
                    <a:pt x="1096566" y="732065"/>
                  </a:lnTo>
                  <a:lnTo>
                    <a:pt x="378109" y="0"/>
                  </a:lnTo>
                  <a:lnTo>
                    <a:pt x="0" y="455500"/>
                  </a:lnTo>
                  <a:close/>
                </a:path>
              </a:pathLst>
            </a:custGeom>
            <a:solidFill>
              <a:srgbClr val="006DA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Freeform: Shape 156">
              <a:extLst>
                <a:ext uri="{FF2B5EF4-FFF2-40B4-BE49-F238E27FC236}">
                  <a16:creationId xmlns:a16="http://schemas.microsoft.com/office/drawing/2014/main" id="{0A0D55D7-FED7-414F-826D-875766935CE6}"/>
                </a:ext>
              </a:extLst>
            </p:cNvPr>
            <p:cNvSpPr/>
            <p:nvPr/>
          </p:nvSpPr>
          <p:spPr bwMode="auto">
            <a:xfrm>
              <a:off x="5672594" y="539838"/>
              <a:ext cx="1499553" cy="2131982"/>
            </a:xfrm>
            <a:custGeom>
              <a:avLst/>
              <a:gdLst>
                <a:gd name="connsiteX0" fmla="*/ 1453243 w 1453243"/>
                <a:gd name="connsiteY0" fmla="*/ 906235 h 2424792"/>
                <a:gd name="connsiteX1" fmla="*/ 1453243 w 1453243"/>
                <a:gd name="connsiteY1" fmla="*/ 0 h 2424792"/>
                <a:gd name="connsiteX2" fmla="*/ 846364 w 1453243"/>
                <a:gd name="connsiteY2" fmla="*/ 0 h 2424792"/>
                <a:gd name="connsiteX3" fmla="*/ 846364 w 1453243"/>
                <a:gd name="connsiteY3" fmla="*/ 911678 h 2424792"/>
                <a:gd name="connsiteX4" fmla="*/ 0 w 1453243"/>
                <a:gd name="connsiteY4" fmla="*/ 1758042 h 2424792"/>
                <a:gd name="connsiteX5" fmla="*/ 166007 w 1453243"/>
                <a:gd name="connsiteY5" fmla="*/ 2424792 h 2424792"/>
                <a:gd name="connsiteX6" fmla="*/ 1453243 w 1453243"/>
                <a:gd name="connsiteY6" fmla="*/ 906235 h 2424792"/>
                <a:gd name="connsiteX0" fmla="*/ 1453243 w 1453243"/>
                <a:gd name="connsiteY0" fmla="*/ 906235 h 2424792"/>
                <a:gd name="connsiteX1" fmla="*/ 1453243 w 1453243"/>
                <a:gd name="connsiteY1" fmla="*/ 0 h 2424792"/>
                <a:gd name="connsiteX2" fmla="*/ 846364 w 1453243"/>
                <a:gd name="connsiteY2" fmla="*/ 0 h 2424792"/>
                <a:gd name="connsiteX3" fmla="*/ 846364 w 1453243"/>
                <a:gd name="connsiteY3" fmla="*/ 911678 h 2424792"/>
                <a:gd name="connsiteX4" fmla="*/ 0 w 1453243"/>
                <a:gd name="connsiteY4" fmla="*/ 1820635 h 2424792"/>
                <a:gd name="connsiteX5" fmla="*/ 166007 w 1453243"/>
                <a:gd name="connsiteY5" fmla="*/ 2424792 h 2424792"/>
                <a:gd name="connsiteX6" fmla="*/ 1453243 w 1453243"/>
                <a:gd name="connsiteY6" fmla="*/ 906235 h 2424792"/>
                <a:gd name="connsiteX0" fmla="*/ 1447800 w 1447800"/>
                <a:gd name="connsiteY0" fmla="*/ 906235 h 2424792"/>
                <a:gd name="connsiteX1" fmla="*/ 1447800 w 1447800"/>
                <a:gd name="connsiteY1" fmla="*/ 0 h 2424792"/>
                <a:gd name="connsiteX2" fmla="*/ 840921 w 1447800"/>
                <a:gd name="connsiteY2" fmla="*/ 0 h 2424792"/>
                <a:gd name="connsiteX3" fmla="*/ 840921 w 1447800"/>
                <a:gd name="connsiteY3" fmla="*/ 911678 h 2424792"/>
                <a:gd name="connsiteX4" fmla="*/ 0 w 1447800"/>
                <a:gd name="connsiteY4" fmla="*/ 1839685 h 2424792"/>
                <a:gd name="connsiteX5" fmla="*/ 160564 w 1447800"/>
                <a:gd name="connsiteY5" fmla="*/ 2424792 h 2424792"/>
                <a:gd name="connsiteX6" fmla="*/ 1447800 w 1447800"/>
                <a:gd name="connsiteY6" fmla="*/ 906235 h 2424792"/>
                <a:gd name="connsiteX0" fmla="*/ 1447800 w 1447800"/>
                <a:gd name="connsiteY0" fmla="*/ 906235 h 2424792"/>
                <a:gd name="connsiteX1" fmla="*/ 1447800 w 1447800"/>
                <a:gd name="connsiteY1" fmla="*/ 0 h 2424792"/>
                <a:gd name="connsiteX2" fmla="*/ 840921 w 1447800"/>
                <a:gd name="connsiteY2" fmla="*/ 0 h 2424792"/>
                <a:gd name="connsiteX3" fmla="*/ 840921 w 1447800"/>
                <a:gd name="connsiteY3" fmla="*/ 911678 h 2424792"/>
                <a:gd name="connsiteX4" fmla="*/ 0 w 1447800"/>
                <a:gd name="connsiteY4" fmla="*/ 1839685 h 2424792"/>
                <a:gd name="connsiteX5" fmla="*/ 160564 w 1447800"/>
                <a:gd name="connsiteY5" fmla="*/ 2424792 h 2424792"/>
                <a:gd name="connsiteX6" fmla="*/ 1447800 w 1447800"/>
                <a:gd name="connsiteY6" fmla="*/ 906235 h 2424792"/>
                <a:gd name="connsiteX0" fmla="*/ 1455803 w 1455803"/>
                <a:gd name="connsiteY0" fmla="*/ 906235 h 2424792"/>
                <a:gd name="connsiteX1" fmla="*/ 1455803 w 1455803"/>
                <a:gd name="connsiteY1" fmla="*/ 0 h 2424792"/>
                <a:gd name="connsiteX2" fmla="*/ 848924 w 1455803"/>
                <a:gd name="connsiteY2" fmla="*/ 0 h 2424792"/>
                <a:gd name="connsiteX3" fmla="*/ 848924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55803 w 1455803"/>
                <a:gd name="connsiteY0" fmla="*/ 906235 h 2424792"/>
                <a:gd name="connsiteX1" fmla="*/ 1455803 w 1455803"/>
                <a:gd name="connsiteY1" fmla="*/ 0 h 2424792"/>
                <a:gd name="connsiteX2" fmla="*/ 848924 w 1455803"/>
                <a:gd name="connsiteY2" fmla="*/ 0 h 2424792"/>
                <a:gd name="connsiteX3" fmla="*/ 816911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55803 w 1455803"/>
                <a:gd name="connsiteY0" fmla="*/ 906235 h 2424792"/>
                <a:gd name="connsiteX1" fmla="*/ 1455803 w 1455803"/>
                <a:gd name="connsiteY1" fmla="*/ 0 h 2424792"/>
                <a:gd name="connsiteX2" fmla="*/ 824914 w 1455803"/>
                <a:gd name="connsiteY2" fmla="*/ 8164 h 2424792"/>
                <a:gd name="connsiteX3" fmla="*/ 816911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69142 w 1469142"/>
                <a:gd name="connsiteY0" fmla="*/ 941614 h 2424792"/>
                <a:gd name="connsiteX1" fmla="*/ 1455803 w 1469142"/>
                <a:gd name="connsiteY1" fmla="*/ 0 h 2424792"/>
                <a:gd name="connsiteX2" fmla="*/ 824914 w 1469142"/>
                <a:gd name="connsiteY2" fmla="*/ 8164 h 2424792"/>
                <a:gd name="connsiteX3" fmla="*/ 816911 w 1469142"/>
                <a:gd name="connsiteY3" fmla="*/ 911678 h 2424792"/>
                <a:gd name="connsiteX4" fmla="*/ 0 w 1469142"/>
                <a:gd name="connsiteY4" fmla="*/ 1826078 h 2424792"/>
                <a:gd name="connsiteX5" fmla="*/ 168567 w 1469142"/>
                <a:gd name="connsiteY5" fmla="*/ 2424792 h 2424792"/>
                <a:gd name="connsiteX6" fmla="*/ 1469142 w 1469142"/>
                <a:gd name="connsiteY6" fmla="*/ 941614 h 2424792"/>
                <a:gd name="connsiteX0" fmla="*/ 1469142 w 1469142"/>
                <a:gd name="connsiteY0" fmla="*/ 941614 h 1826078"/>
                <a:gd name="connsiteX1" fmla="*/ 1455803 w 1469142"/>
                <a:gd name="connsiteY1" fmla="*/ 0 h 1826078"/>
                <a:gd name="connsiteX2" fmla="*/ 824914 w 1469142"/>
                <a:gd name="connsiteY2" fmla="*/ 8164 h 1826078"/>
                <a:gd name="connsiteX3" fmla="*/ 816911 w 1469142"/>
                <a:gd name="connsiteY3" fmla="*/ 911678 h 1826078"/>
                <a:gd name="connsiteX4" fmla="*/ 0 w 1469142"/>
                <a:gd name="connsiteY4" fmla="*/ 1826078 h 1826078"/>
                <a:gd name="connsiteX5" fmla="*/ 1469142 w 1469142"/>
                <a:gd name="connsiteY5" fmla="*/ 941614 h 1826078"/>
                <a:gd name="connsiteX0" fmla="*/ 652232 w 652232"/>
                <a:gd name="connsiteY0" fmla="*/ 941614 h 941613"/>
                <a:gd name="connsiteX1" fmla="*/ 638893 w 652232"/>
                <a:gd name="connsiteY1" fmla="*/ 0 h 941613"/>
                <a:gd name="connsiteX2" fmla="*/ 8004 w 652232"/>
                <a:gd name="connsiteY2" fmla="*/ 8164 h 941613"/>
                <a:gd name="connsiteX3" fmla="*/ 1 w 652232"/>
                <a:gd name="connsiteY3" fmla="*/ 911678 h 941613"/>
                <a:gd name="connsiteX4" fmla="*/ 652232 w 652232"/>
                <a:gd name="connsiteY4" fmla="*/ 941614 h 941613"/>
                <a:gd name="connsiteX0" fmla="*/ 652232 w 652232"/>
                <a:gd name="connsiteY0" fmla="*/ 941614 h 951293"/>
                <a:gd name="connsiteX1" fmla="*/ 638893 w 652232"/>
                <a:gd name="connsiteY1" fmla="*/ 0 h 951293"/>
                <a:gd name="connsiteX2" fmla="*/ 8004 w 652232"/>
                <a:gd name="connsiteY2" fmla="*/ 8164 h 951293"/>
                <a:gd name="connsiteX3" fmla="*/ 0 w 652232"/>
                <a:gd name="connsiteY3" fmla="*/ 951293 h 951293"/>
                <a:gd name="connsiteX4" fmla="*/ 652232 w 652232"/>
                <a:gd name="connsiteY4" fmla="*/ 941614 h 951293"/>
                <a:gd name="connsiteX0" fmla="*/ 649246 w 649246"/>
                <a:gd name="connsiteY0" fmla="*/ 941614 h 941613"/>
                <a:gd name="connsiteX1" fmla="*/ 635907 w 649246"/>
                <a:gd name="connsiteY1" fmla="*/ 0 h 941613"/>
                <a:gd name="connsiteX2" fmla="*/ 5018 w 649246"/>
                <a:gd name="connsiteY2" fmla="*/ 8164 h 941613"/>
                <a:gd name="connsiteX3" fmla="*/ 0 w 649246"/>
                <a:gd name="connsiteY3" fmla="*/ 920820 h 941613"/>
                <a:gd name="connsiteX4" fmla="*/ 649246 w 649246"/>
                <a:gd name="connsiteY4" fmla="*/ 941614 h 941613"/>
                <a:gd name="connsiteX0" fmla="*/ 649246 w 649246"/>
                <a:gd name="connsiteY0" fmla="*/ 941614 h 941613"/>
                <a:gd name="connsiteX1" fmla="*/ 635907 w 649246"/>
                <a:gd name="connsiteY1" fmla="*/ 0 h 941613"/>
                <a:gd name="connsiteX2" fmla="*/ 5018 w 649246"/>
                <a:gd name="connsiteY2" fmla="*/ 8164 h 941613"/>
                <a:gd name="connsiteX3" fmla="*/ 0 w 649246"/>
                <a:gd name="connsiteY3" fmla="*/ 936056 h 941613"/>
                <a:gd name="connsiteX4" fmla="*/ 649246 w 649246"/>
                <a:gd name="connsiteY4" fmla="*/ 941614 h 94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9246" h="941613">
                  <a:moveTo>
                    <a:pt x="649246" y="941614"/>
                  </a:moveTo>
                  <a:lnTo>
                    <a:pt x="635907" y="0"/>
                  </a:lnTo>
                  <a:lnTo>
                    <a:pt x="5018" y="8164"/>
                  </a:lnTo>
                  <a:cubicBezTo>
                    <a:pt x="2350" y="309335"/>
                    <a:pt x="2668" y="634885"/>
                    <a:pt x="0" y="936056"/>
                  </a:cubicBezTo>
                  <a:lnTo>
                    <a:pt x="649246" y="941614"/>
                  </a:lnTo>
                  <a:close/>
                </a:path>
              </a:pathLst>
            </a:custGeom>
            <a:gradFill flip="none" rotWithShape="1">
              <a:gsLst>
                <a:gs pos="0">
                  <a:srgbClr val="006DAA"/>
                </a:gs>
                <a:gs pos="50000">
                  <a:srgbClr val="0476B4"/>
                </a:gs>
                <a:gs pos="100000">
                  <a:srgbClr val="0C8BCA"/>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8" name="TextBox 157">
            <a:extLst>
              <a:ext uri="{FF2B5EF4-FFF2-40B4-BE49-F238E27FC236}">
                <a16:creationId xmlns:a16="http://schemas.microsoft.com/office/drawing/2014/main" id="{994696A1-B9CD-48DB-9AF7-C9450E20D0A2}"/>
              </a:ext>
            </a:extLst>
          </p:cNvPr>
          <p:cNvSpPr txBox="1"/>
          <p:nvPr/>
        </p:nvSpPr>
        <p:spPr>
          <a:xfrm>
            <a:off x="6971017" y="2166624"/>
            <a:ext cx="1064394"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50E6FF"/>
                </a:solidFill>
                <a:effectLst/>
                <a:uLnTx/>
                <a:uFillTx/>
                <a:latin typeface="Segoe UI Semibold" panose="020B0702040204020203" pitchFamily="34" charset="0"/>
                <a:ea typeface="+mn-ea"/>
                <a:cs typeface="Segoe UI Semibold" panose="020B0702040204020203" pitchFamily="34" charset="0"/>
              </a:rPr>
              <a:t>Cognitive Search</a:t>
            </a:r>
          </a:p>
        </p:txBody>
      </p:sp>
      <p:sp>
        <p:nvSpPr>
          <p:cNvPr id="159" name="TextBox 158">
            <a:extLst>
              <a:ext uri="{FF2B5EF4-FFF2-40B4-BE49-F238E27FC236}">
                <a16:creationId xmlns:a16="http://schemas.microsoft.com/office/drawing/2014/main" id="{868F3F0A-8E30-4B54-8FB9-C85CCB3CCEB0}"/>
              </a:ext>
            </a:extLst>
          </p:cNvPr>
          <p:cNvSpPr txBox="1"/>
          <p:nvPr/>
        </p:nvSpPr>
        <p:spPr>
          <a:xfrm>
            <a:off x="6064197" y="2172674"/>
            <a:ext cx="681277"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50E6FF"/>
                </a:solidFill>
                <a:effectLst/>
                <a:uLnTx/>
                <a:uFillTx/>
                <a:latin typeface="Segoe UI Semibold" panose="020B0702040204020203" pitchFamily="34" charset="0"/>
                <a:ea typeface="+mn-ea"/>
                <a:cs typeface="Segoe UI Semibold" panose="020B0702040204020203" pitchFamily="34" charset="0"/>
              </a:rPr>
              <a:t>Bot Service</a:t>
            </a:r>
          </a:p>
        </p:txBody>
      </p:sp>
      <p:grpSp>
        <p:nvGrpSpPr>
          <p:cNvPr id="160" name="Group 159">
            <a:extLst>
              <a:ext uri="{FF2B5EF4-FFF2-40B4-BE49-F238E27FC236}">
                <a16:creationId xmlns:a16="http://schemas.microsoft.com/office/drawing/2014/main" id="{54C61092-3B9B-417F-A3DC-7B6419B760AC}"/>
              </a:ext>
            </a:extLst>
          </p:cNvPr>
          <p:cNvGrpSpPr/>
          <p:nvPr/>
        </p:nvGrpSpPr>
        <p:grpSpPr>
          <a:xfrm>
            <a:off x="6192745" y="1754447"/>
            <a:ext cx="424181" cy="302132"/>
            <a:chOff x="7391119" y="2701952"/>
            <a:chExt cx="2660766" cy="1675683"/>
          </a:xfrm>
        </p:grpSpPr>
        <p:grpSp>
          <p:nvGrpSpPr>
            <p:cNvPr id="161" name="Group 160">
              <a:extLst>
                <a:ext uri="{FF2B5EF4-FFF2-40B4-BE49-F238E27FC236}">
                  <a16:creationId xmlns:a16="http://schemas.microsoft.com/office/drawing/2014/main" id="{9DE458EB-683D-469E-A937-F12A0D9DAC4B}"/>
                </a:ext>
              </a:extLst>
            </p:cNvPr>
            <p:cNvGrpSpPr/>
            <p:nvPr/>
          </p:nvGrpSpPr>
          <p:grpSpPr>
            <a:xfrm>
              <a:off x="7391119" y="2701952"/>
              <a:ext cx="1834269" cy="1292398"/>
              <a:chOff x="5006269" y="2676828"/>
              <a:chExt cx="1520124" cy="1071056"/>
            </a:xfrm>
          </p:grpSpPr>
          <p:sp>
            <p:nvSpPr>
              <p:cNvPr id="186" name="Freeform: Shape 185">
                <a:extLst>
                  <a:ext uri="{FF2B5EF4-FFF2-40B4-BE49-F238E27FC236}">
                    <a16:creationId xmlns:a16="http://schemas.microsoft.com/office/drawing/2014/main" id="{3FAD8212-4E0D-4F49-957B-9B3DC7FC916D}"/>
                  </a:ext>
                </a:extLst>
              </p:cNvPr>
              <p:cNvSpPr/>
              <p:nvPr/>
            </p:nvSpPr>
            <p:spPr bwMode="auto">
              <a:xfrm>
                <a:off x="5006269" y="2676828"/>
                <a:ext cx="1520124" cy="1071056"/>
              </a:xfrm>
              <a:custGeom>
                <a:avLst/>
                <a:gdLst>
                  <a:gd name="connsiteX0" fmla="*/ 237748 w 1520124"/>
                  <a:gd name="connsiteY0" fmla="*/ 0 h 1218430"/>
                  <a:gd name="connsiteX1" fmla="*/ 1395905 w 1520124"/>
                  <a:gd name="connsiteY1" fmla="*/ 0 h 1218430"/>
                  <a:gd name="connsiteX2" fmla="*/ 1520124 w 1520124"/>
                  <a:gd name="connsiteY2" fmla="*/ 124219 h 1218430"/>
                  <a:gd name="connsiteX3" fmla="*/ 1520124 w 1520124"/>
                  <a:gd name="connsiteY3" fmla="*/ 1094211 h 1218430"/>
                  <a:gd name="connsiteX4" fmla="*/ 1395905 w 1520124"/>
                  <a:gd name="connsiteY4" fmla="*/ 1218430 h 1218430"/>
                  <a:gd name="connsiteX5" fmla="*/ 237748 w 1520124"/>
                  <a:gd name="connsiteY5" fmla="*/ 1218430 h 1218430"/>
                  <a:gd name="connsiteX6" fmla="*/ 113529 w 1520124"/>
                  <a:gd name="connsiteY6" fmla="*/ 1094211 h 1218430"/>
                  <a:gd name="connsiteX7" fmla="*/ 113529 w 1520124"/>
                  <a:gd name="connsiteY7" fmla="*/ 518693 h 1218430"/>
                  <a:gd name="connsiteX8" fmla="*/ 0 w 1520124"/>
                  <a:gd name="connsiteY8" fmla="*/ 413025 h 1218430"/>
                  <a:gd name="connsiteX9" fmla="*/ 113529 w 1520124"/>
                  <a:gd name="connsiteY9" fmla="*/ 307357 h 1218430"/>
                  <a:gd name="connsiteX10" fmla="*/ 113529 w 1520124"/>
                  <a:gd name="connsiteY10" fmla="*/ 124219 h 1218430"/>
                  <a:gd name="connsiteX11" fmla="*/ 237748 w 1520124"/>
                  <a:gd name="connsiteY11" fmla="*/ 0 h 1218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0124" h="1218430">
                    <a:moveTo>
                      <a:pt x="237748" y="0"/>
                    </a:moveTo>
                    <a:lnTo>
                      <a:pt x="1395905" y="0"/>
                    </a:lnTo>
                    <a:cubicBezTo>
                      <a:pt x="1464509" y="0"/>
                      <a:pt x="1520124" y="55615"/>
                      <a:pt x="1520124" y="124219"/>
                    </a:cubicBezTo>
                    <a:lnTo>
                      <a:pt x="1520124" y="1094211"/>
                    </a:lnTo>
                    <a:cubicBezTo>
                      <a:pt x="1520124" y="1162815"/>
                      <a:pt x="1464509" y="1218430"/>
                      <a:pt x="1395905" y="1218430"/>
                    </a:cubicBezTo>
                    <a:lnTo>
                      <a:pt x="237748" y="1218430"/>
                    </a:lnTo>
                    <a:cubicBezTo>
                      <a:pt x="169144" y="1218430"/>
                      <a:pt x="113529" y="1162815"/>
                      <a:pt x="113529" y="1094211"/>
                    </a:cubicBezTo>
                    <a:lnTo>
                      <a:pt x="113529" y="518693"/>
                    </a:lnTo>
                    <a:lnTo>
                      <a:pt x="0" y="413025"/>
                    </a:lnTo>
                    <a:lnTo>
                      <a:pt x="113529" y="307357"/>
                    </a:lnTo>
                    <a:lnTo>
                      <a:pt x="113529" y="124219"/>
                    </a:lnTo>
                    <a:cubicBezTo>
                      <a:pt x="113529" y="55615"/>
                      <a:pt x="169144" y="0"/>
                      <a:pt x="237748"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nvGrpSpPr>
              <p:cNvPr id="187" name="Group 186">
                <a:extLst>
                  <a:ext uri="{FF2B5EF4-FFF2-40B4-BE49-F238E27FC236}">
                    <a16:creationId xmlns:a16="http://schemas.microsoft.com/office/drawing/2014/main" id="{7EE02247-0C92-4A64-82AB-955FBA1A3E48}"/>
                  </a:ext>
                </a:extLst>
              </p:cNvPr>
              <p:cNvGrpSpPr/>
              <p:nvPr/>
            </p:nvGrpSpPr>
            <p:grpSpPr>
              <a:xfrm>
                <a:off x="5264714" y="2833357"/>
                <a:ext cx="1009126" cy="418064"/>
                <a:chOff x="5264714" y="2833357"/>
                <a:chExt cx="1009126" cy="418064"/>
              </a:xfrm>
            </p:grpSpPr>
            <p:sp>
              <p:nvSpPr>
                <p:cNvPr id="188" name="Rectangle 187">
                  <a:extLst>
                    <a:ext uri="{FF2B5EF4-FFF2-40B4-BE49-F238E27FC236}">
                      <a16:creationId xmlns:a16="http://schemas.microsoft.com/office/drawing/2014/main" id="{8AEACB68-71F4-42C6-B13A-0D30D9646789}"/>
                    </a:ext>
                  </a:extLst>
                </p:cNvPr>
                <p:cNvSpPr/>
                <p:nvPr/>
              </p:nvSpPr>
              <p:spPr bwMode="auto">
                <a:xfrm>
                  <a:off x="5264714" y="2833357"/>
                  <a:ext cx="750054"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89" name="Rectangle 188">
                  <a:extLst>
                    <a:ext uri="{FF2B5EF4-FFF2-40B4-BE49-F238E27FC236}">
                      <a16:creationId xmlns:a16="http://schemas.microsoft.com/office/drawing/2014/main" id="{624AD9E1-8D09-48F0-A36E-30C7D5D49DE6}"/>
                    </a:ext>
                  </a:extLst>
                </p:cNvPr>
                <p:cNvSpPr/>
                <p:nvPr/>
              </p:nvSpPr>
              <p:spPr bwMode="auto">
                <a:xfrm>
                  <a:off x="5264714" y="3005659"/>
                  <a:ext cx="1009126"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90" name="Rectangle 189">
                  <a:extLst>
                    <a:ext uri="{FF2B5EF4-FFF2-40B4-BE49-F238E27FC236}">
                      <a16:creationId xmlns:a16="http://schemas.microsoft.com/office/drawing/2014/main" id="{6255BD3D-9560-4B9F-9B24-926A78EAB952}"/>
                    </a:ext>
                  </a:extLst>
                </p:cNvPr>
                <p:cNvSpPr/>
                <p:nvPr/>
              </p:nvSpPr>
              <p:spPr bwMode="auto">
                <a:xfrm>
                  <a:off x="5264714" y="3177657"/>
                  <a:ext cx="1009126"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grpSp>
        <p:grpSp>
          <p:nvGrpSpPr>
            <p:cNvPr id="162" name="Group 161">
              <a:extLst>
                <a:ext uri="{FF2B5EF4-FFF2-40B4-BE49-F238E27FC236}">
                  <a16:creationId xmlns:a16="http://schemas.microsoft.com/office/drawing/2014/main" id="{66343442-00DA-4B4A-BBE1-80D080BA7286}"/>
                </a:ext>
              </a:extLst>
            </p:cNvPr>
            <p:cNvGrpSpPr/>
            <p:nvPr/>
          </p:nvGrpSpPr>
          <p:grpSpPr>
            <a:xfrm>
              <a:off x="8234753" y="3249748"/>
              <a:ext cx="1817132" cy="1127887"/>
              <a:chOff x="5514410" y="3159115"/>
              <a:chExt cx="1505922" cy="934720"/>
            </a:xfrm>
          </p:grpSpPr>
          <p:sp>
            <p:nvSpPr>
              <p:cNvPr id="163" name="Freeform: Shape 162">
                <a:extLst>
                  <a:ext uri="{FF2B5EF4-FFF2-40B4-BE49-F238E27FC236}">
                    <a16:creationId xmlns:a16="http://schemas.microsoft.com/office/drawing/2014/main" id="{CBB5A1D6-534C-49BA-A57F-38FD78904EFD}"/>
                  </a:ext>
                </a:extLst>
              </p:cNvPr>
              <p:cNvSpPr/>
              <p:nvPr/>
            </p:nvSpPr>
            <p:spPr bwMode="auto">
              <a:xfrm rot="5400000">
                <a:off x="5800011" y="2873514"/>
                <a:ext cx="934720" cy="1505922"/>
              </a:xfrm>
              <a:custGeom>
                <a:avLst/>
                <a:gdLst>
                  <a:gd name="connsiteX0" fmla="*/ 0 w 934720"/>
                  <a:gd name="connsiteY0" fmla="*/ 1393578 h 1505922"/>
                  <a:gd name="connsiteX1" fmla="*/ 0 w 934720"/>
                  <a:gd name="connsiteY1" fmla="*/ 211671 h 1505922"/>
                  <a:gd name="connsiteX2" fmla="*/ 112344 w 934720"/>
                  <a:gd name="connsiteY2" fmla="*/ 99327 h 1505922"/>
                  <a:gd name="connsiteX3" fmla="*/ 468487 w 934720"/>
                  <a:gd name="connsiteY3" fmla="*/ 99327 h 1505922"/>
                  <a:gd name="connsiteX4" fmla="*/ 585592 w 934720"/>
                  <a:gd name="connsiteY4" fmla="*/ 0 h 1505922"/>
                  <a:gd name="connsiteX5" fmla="*/ 702696 w 934720"/>
                  <a:gd name="connsiteY5" fmla="*/ 99327 h 1505922"/>
                  <a:gd name="connsiteX6" fmla="*/ 822376 w 934720"/>
                  <a:gd name="connsiteY6" fmla="*/ 99327 h 1505922"/>
                  <a:gd name="connsiteX7" fmla="*/ 934720 w 934720"/>
                  <a:gd name="connsiteY7" fmla="*/ 211671 h 1505922"/>
                  <a:gd name="connsiteX8" fmla="*/ 934720 w 934720"/>
                  <a:gd name="connsiteY8" fmla="*/ 1393578 h 1505922"/>
                  <a:gd name="connsiteX9" fmla="*/ 822376 w 934720"/>
                  <a:gd name="connsiteY9" fmla="*/ 1505922 h 1505922"/>
                  <a:gd name="connsiteX10" fmla="*/ 112344 w 934720"/>
                  <a:gd name="connsiteY10" fmla="*/ 1505922 h 1505922"/>
                  <a:gd name="connsiteX11" fmla="*/ 0 w 934720"/>
                  <a:gd name="connsiteY11" fmla="*/ 1393578 h 150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4720" h="1505922">
                    <a:moveTo>
                      <a:pt x="0" y="1393578"/>
                    </a:moveTo>
                    <a:lnTo>
                      <a:pt x="0" y="211671"/>
                    </a:lnTo>
                    <a:cubicBezTo>
                      <a:pt x="0" y="149625"/>
                      <a:pt x="50298" y="99327"/>
                      <a:pt x="112344" y="99327"/>
                    </a:cubicBezTo>
                    <a:lnTo>
                      <a:pt x="468487" y="99327"/>
                    </a:lnTo>
                    <a:lnTo>
                      <a:pt x="585592" y="0"/>
                    </a:lnTo>
                    <a:lnTo>
                      <a:pt x="702696" y="99327"/>
                    </a:lnTo>
                    <a:lnTo>
                      <a:pt x="822376" y="99327"/>
                    </a:lnTo>
                    <a:cubicBezTo>
                      <a:pt x="884422" y="99327"/>
                      <a:pt x="934720" y="149625"/>
                      <a:pt x="934720" y="211671"/>
                    </a:cubicBezTo>
                    <a:lnTo>
                      <a:pt x="934720" y="1393578"/>
                    </a:lnTo>
                    <a:cubicBezTo>
                      <a:pt x="934720" y="1455624"/>
                      <a:pt x="884422" y="1505922"/>
                      <a:pt x="822376" y="1505922"/>
                    </a:cubicBezTo>
                    <a:lnTo>
                      <a:pt x="112344" y="1505922"/>
                    </a:lnTo>
                    <a:cubicBezTo>
                      <a:pt x="50298" y="1505922"/>
                      <a:pt x="0" y="1455624"/>
                      <a:pt x="0" y="139357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64" name="Rectangle 163">
                <a:extLst>
                  <a:ext uri="{FF2B5EF4-FFF2-40B4-BE49-F238E27FC236}">
                    <a16:creationId xmlns:a16="http://schemas.microsoft.com/office/drawing/2014/main" id="{833B542A-0C28-463E-BF8C-533BE719570B}"/>
                  </a:ext>
                </a:extLst>
              </p:cNvPr>
              <p:cNvSpPr/>
              <p:nvPr/>
            </p:nvSpPr>
            <p:spPr bwMode="auto">
              <a:xfrm>
                <a:off x="6415531" y="3521464"/>
                <a:ext cx="329313"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65" name="Rectangle 164">
                <a:extLst>
                  <a:ext uri="{FF2B5EF4-FFF2-40B4-BE49-F238E27FC236}">
                    <a16:creationId xmlns:a16="http://schemas.microsoft.com/office/drawing/2014/main" id="{787F99C8-0476-4D73-A079-7A491DD869CB}"/>
                  </a:ext>
                </a:extLst>
              </p:cNvPr>
              <p:cNvSpPr/>
              <p:nvPr/>
            </p:nvSpPr>
            <p:spPr bwMode="auto">
              <a:xfrm>
                <a:off x="6297751" y="3702429"/>
                <a:ext cx="447093"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66" name="Rectangle 165">
                <a:extLst>
                  <a:ext uri="{FF2B5EF4-FFF2-40B4-BE49-F238E27FC236}">
                    <a16:creationId xmlns:a16="http://schemas.microsoft.com/office/drawing/2014/main" id="{8B389ABE-235C-4204-8DF3-EA0A6F2EC44F}"/>
                  </a:ext>
                </a:extLst>
              </p:cNvPr>
              <p:cNvSpPr/>
              <p:nvPr/>
            </p:nvSpPr>
            <p:spPr bwMode="auto">
              <a:xfrm>
                <a:off x="6534685" y="3883394"/>
                <a:ext cx="210159"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nvGrpSpPr>
              <p:cNvPr id="167" name="Group 166">
                <a:extLst>
                  <a:ext uri="{FF2B5EF4-FFF2-40B4-BE49-F238E27FC236}">
                    <a16:creationId xmlns:a16="http://schemas.microsoft.com/office/drawing/2014/main" id="{C26F7901-A294-44EC-8EC3-FA806F5E030E}"/>
                  </a:ext>
                </a:extLst>
              </p:cNvPr>
              <p:cNvGrpSpPr/>
              <p:nvPr/>
            </p:nvGrpSpPr>
            <p:grpSpPr>
              <a:xfrm>
                <a:off x="5659060" y="3322677"/>
                <a:ext cx="530380" cy="542860"/>
                <a:chOff x="5659060" y="3322677"/>
                <a:chExt cx="530380" cy="542860"/>
              </a:xfrm>
              <a:solidFill>
                <a:sysClr val="windowText" lastClr="000000"/>
              </a:solidFill>
            </p:grpSpPr>
            <p:sp>
              <p:nvSpPr>
                <p:cNvPr id="168" name="Freeform: Shape 167">
                  <a:extLst>
                    <a:ext uri="{FF2B5EF4-FFF2-40B4-BE49-F238E27FC236}">
                      <a16:creationId xmlns:a16="http://schemas.microsoft.com/office/drawing/2014/main" id="{BBCCA229-85C8-484F-A068-B68B046A3A0E}"/>
                    </a:ext>
                  </a:extLst>
                </p:cNvPr>
                <p:cNvSpPr/>
                <p:nvPr/>
              </p:nvSpPr>
              <p:spPr bwMode="auto">
                <a:xfrm>
                  <a:off x="5659060" y="3485786"/>
                  <a:ext cx="379191" cy="379751"/>
                </a:xfrm>
                <a:custGeom>
                  <a:avLst/>
                  <a:gdLst>
                    <a:gd name="connsiteX0" fmla="*/ 0 w 379191"/>
                    <a:gd name="connsiteY0" fmla="*/ 0 h 379751"/>
                    <a:gd name="connsiteX1" fmla="*/ 69037 w 379191"/>
                    <a:gd name="connsiteY1" fmla="*/ 0 h 379751"/>
                    <a:gd name="connsiteX2" fmla="*/ 69037 w 379191"/>
                    <a:gd name="connsiteY2" fmla="*/ 310714 h 379751"/>
                    <a:gd name="connsiteX3" fmla="*/ 379191 w 379191"/>
                    <a:gd name="connsiteY3" fmla="*/ 310714 h 379751"/>
                    <a:gd name="connsiteX4" fmla="*/ 379191 w 379191"/>
                    <a:gd name="connsiteY4" fmla="*/ 379751 h 379751"/>
                    <a:gd name="connsiteX5" fmla="*/ 69037 w 379191"/>
                    <a:gd name="connsiteY5" fmla="*/ 379751 h 379751"/>
                    <a:gd name="connsiteX6" fmla="*/ 69037 w 379191"/>
                    <a:gd name="connsiteY6" fmla="*/ 379751 h 379751"/>
                    <a:gd name="connsiteX7" fmla="*/ 0 w 379191"/>
                    <a:gd name="connsiteY7" fmla="*/ 379751 h 379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1" h="379751">
                      <a:moveTo>
                        <a:pt x="0" y="0"/>
                      </a:moveTo>
                      <a:lnTo>
                        <a:pt x="69037" y="0"/>
                      </a:lnTo>
                      <a:lnTo>
                        <a:pt x="69037" y="310714"/>
                      </a:lnTo>
                      <a:lnTo>
                        <a:pt x="379191" y="310714"/>
                      </a:lnTo>
                      <a:lnTo>
                        <a:pt x="379191" y="379751"/>
                      </a:lnTo>
                      <a:lnTo>
                        <a:pt x="69037" y="379751"/>
                      </a:lnTo>
                      <a:lnTo>
                        <a:pt x="69037" y="379751"/>
                      </a:lnTo>
                      <a:lnTo>
                        <a:pt x="0" y="379751"/>
                      </a:ln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83" name="Freeform: Shape 182">
                  <a:extLst>
                    <a:ext uri="{FF2B5EF4-FFF2-40B4-BE49-F238E27FC236}">
                      <a16:creationId xmlns:a16="http://schemas.microsoft.com/office/drawing/2014/main" id="{4C86D787-4347-4FEA-B8FC-2CB274A06022}"/>
                    </a:ext>
                  </a:extLst>
                </p:cNvPr>
                <p:cNvSpPr/>
                <p:nvPr/>
              </p:nvSpPr>
              <p:spPr bwMode="auto">
                <a:xfrm>
                  <a:off x="5810249" y="3322677"/>
                  <a:ext cx="379191" cy="393264"/>
                </a:xfrm>
                <a:custGeom>
                  <a:avLst/>
                  <a:gdLst>
                    <a:gd name="connsiteX0" fmla="*/ 310154 w 379191"/>
                    <a:gd name="connsiteY0" fmla="*/ 0 h 393264"/>
                    <a:gd name="connsiteX1" fmla="*/ 379191 w 379191"/>
                    <a:gd name="connsiteY1" fmla="*/ 0 h 393264"/>
                    <a:gd name="connsiteX2" fmla="*/ 379191 w 379191"/>
                    <a:gd name="connsiteY2" fmla="*/ 393264 h 393264"/>
                    <a:gd name="connsiteX3" fmla="*/ 310154 w 379191"/>
                    <a:gd name="connsiteY3" fmla="*/ 393264 h 393264"/>
                    <a:gd name="connsiteX4" fmla="*/ 310154 w 379191"/>
                    <a:gd name="connsiteY4" fmla="*/ 69039 h 393264"/>
                    <a:gd name="connsiteX5" fmla="*/ 0 w 379191"/>
                    <a:gd name="connsiteY5" fmla="*/ 69039 h 393264"/>
                    <a:gd name="connsiteX6" fmla="*/ 0 w 379191"/>
                    <a:gd name="connsiteY6" fmla="*/ 2 h 393264"/>
                    <a:gd name="connsiteX7" fmla="*/ 310154 w 379191"/>
                    <a:gd name="connsiteY7" fmla="*/ 2 h 39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1" h="393264">
                      <a:moveTo>
                        <a:pt x="310154" y="0"/>
                      </a:moveTo>
                      <a:lnTo>
                        <a:pt x="379191" y="0"/>
                      </a:lnTo>
                      <a:lnTo>
                        <a:pt x="379191" y="393264"/>
                      </a:lnTo>
                      <a:lnTo>
                        <a:pt x="310154" y="393264"/>
                      </a:lnTo>
                      <a:lnTo>
                        <a:pt x="310154" y="69039"/>
                      </a:lnTo>
                      <a:lnTo>
                        <a:pt x="0" y="69039"/>
                      </a:lnTo>
                      <a:lnTo>
                        <a:pt x="0" y="2"/>
                      </a:lnTo>
                      <a:lnTo>
                        <a:pt x="310154" y="2"/>
                      </a:ln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84" name="Oval 183">
                  <a:extLst>
                    <a:ext uri="{FF2B5EF4-FFF2-40B4-BE49-F238E27FC236}">
                      <a16:creationId xmlns:a16="http://schemas.microsoft.com/office/drawing/2014/main" id="{96F5FB20-C4A9-4948-B786-607BB5C12E8C}"/>
                    </a:ext>
                  </a:extLst>
                </p:cNvPr>
                <p:cNvSpPr/>
                <p:nvPr/>
              </p:nvSpPr>
              <p:spPr bwMode="auto">
                <a:xfrm>
                  <a:off x="5793380" y="3543753"/>
                  <a:ext cx="100932" cy="100932"/>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85" name="Oval 184">
                  <a:extLst>
                    <a:ext uri="{FF2B5EF4-FFF2-40B4-BE49-F238E27FC236}">
                      <a16:creationId xmlns:a16="http://schemas.microsoft.com/office/drawing/2014/main" id="{45130043-E829-4858-BEAE-18B0B6C85914}"/>
                    </a:ext>
                  </a:extLst>
                </p:cNvPr>
                <p:cNvSpPr/>
                <p:nvPr/>
              </p:nvSpPr>
              <p:spPr bwMode="auto">
                <a:xfrm>
                  <a:off x="5954188" y="3543753"/>
                  <a:ext cx="100932" cy="100932"/>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grpSp>
      </p:grpSp>
      <p:sp>
        <p:nvSpPr>
          <p:cNvPr id="191" name="TextBox 190">
            <a:extLst>
              <a:ext uri="{FF2B5EF4-FFF2-40B4-BE49-F238E27FC236}">
                <a16:creationId xmlns:a16="http://schemas.microsoft.com/office/drawing/2014/main" id="{2CE9C0F8-B1E1-4C72-B86A-4D6B705B402F}"/>
              </a:ext>
            </a:extLst>
          </p:cNvPr>
          <p:cNvSpPr txBox="1"/>
          <p:nvPr/>
        </p:nvSpPr>
        <p:spPr>
          <a:xfrm>
            <a:off x="8194733" y="2172509"/>
            <a:ext cx="1030731"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50E6FF"/>
                </a:solidFill>
                <a:effectLst/>
                <a:uLnTx/>
                <a:uFillTx/>
                <a:latin typeface="Segoe UI Semibold" panose="020B0702040204020203" pitchFamily="34" charset="0"/>
                <a:ea typeface="+mn-ea"/>
                <a:cs typeface="Segoe UI Semibold" panose="020B0702040204020203" pitchFamily="34" charset="0"/>
              </a:rPr>
              <a:t>Form Recognizer</a:t>
            </a:r>
          </a:p>
        </p:txBody>
      </p:sp>
      <p:sp>
        <p:nvSpPr>
          <p:cNvPr id="192" name="TextBox 191">
            <a:extLst>
              <a:ext uri="{FF2B5EF4-FFF2-40B4-BE49-F238E27FC236}">
                <a16:creationId xmlns:a16="http://schemas.microsoft.com/office/drawing/2014/main" id="{343FED12-2FDE-4BD4-9834-8CDFEB9DAB13}"/>
              </a:ext>
            </a:extLst>
          </p:cNvPr>
          <p:cNvSpPr txBox="1"/>
          <p:nvPr/>
        </p:nvSpPr>
        <p:spPr>
          <a:xfrm>
            <a:off x="9371583" y="2180956"/>
            <a:ext cx="852798"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50E6FF"/>
                </a:solidFill>
                <a:effectLst/>
                <a:uLnTx/>
                <a:uFillTx/>
                <a:latin typeface="Segoe UI Semibold" panose="020B0702040204020203" pitchFamily="34" charset="0"/>
                <a:ea typeface="+mn-ea"/>
                <a:cs typeface="Segoe UI Semibold" panose="020B0702040204020203" pitchFamily="34" charset="0"/>
              </a:rPr>
              <a:t>Video Indexer</a:t>
            </a:r>
          </a:p>
        </p:txBody>
      </p:sp>
      <p:grpSp>
        <p:nvGrpSpPr>
          <p:cNvPr id="193" name="Group 192">
            <a:extLst>
              <a:ext uri="{FF2B5EF4-FFF2-40B4-BE49-F238E27FC236}">
                <a16:creationId xmlns:a16="http://schemas.microsoft.com/office/drawing/2014/main" id="{1A2CBBE1-54C9-4D9D-859F-5AA2F0B9AC8E}"/>
              </a:ext>
            </a:extLst>
          </p:cNvPr>
          <p:cNvGrpSpPr/>
          <p:nvPr/>
        </p:nvGrpSpPr>
        <p:grpSpPr>
          <a:xfrm>
            <a:off x="8598213" y="1700079"/>
            <a:ext cx="476308" cy="386333"/>
            <a:chOff x="9548461" y="3029155"/>
            <a:chExt cx="476308" cy="386333"/>
          </a:xfrm>
        </p:grpSpPr>
        <p:sp>
          <p:nvSpPr>
            <p:cNvPr id="194" name="Rectangle 1">
              <a:extLst>
                <a:ext uri="{FF2B5EF4-FFF2-40B4-BE49-F238E27FC236}">
                  <a16:creationId xmlns:a16="http://schemas.microsoft.com/office/drawing/2014/main" id="{0458139E-5303-492C-BA4C-7512B411F799}"/>
                </a:ext>
              </a:extLst>
            </p:cNvPr>
            <p:cNvSpPr/>
            <p:nvPr/>
          </p:nvSpPr>
          <p:spPr>
            <a:xfrm>
              <a:off x="9548461" y="3045793"/>
              <a:ext cx="294409" cy="369695"/>
            </a:xfrm>
            <a:custGeom>
              <a:avLst/>
              <a:gdLst>
                <a:gd name="connsiteX0" fmla="*/ 0 w 4572000"/>
                <a:gd name="connsiteY0" fmla="*/ 0 h 5761038"/>
                <a:gd name="connsiteX1" fmla="*/ 4572000 w 4572000"/>
                <a:gd name="connsiteY1" fmla="*/ 0 h 5761038"/>
                <a:gd name="connsiteX2" fmla="*/ 4572000 w 4572000"/>
                <a:gd name="connsiteY2" fmla="*/ 5761038 h 5761038"/>
                <a:gd name="connsiteX3" fmla="*/ 0 w 4572000"/>
                <a:gd name="connsiteY3" fmla="*/ 5761038 h 5761038"/>
                <a:gd name="connsiteX4" fmla="*/ 0 w 4572000"/>
                <a:gd name="connsiteY4" fmla="*/ 0 h 5761038"/>
                <a:gd name="connsiteX0" fmla="*/ 0 w 4572000"/>
                <a:gd name="connsiteY0" fmla="*/ 0 h 5761038"/>
                <a:gd name="connsiteX1" fmla="*/ 3213717 w 4572000"/>
                <a:gd name="connsiteY1" fmla="*/ 0 h 5761038"/>
                <a:gd name="connsiteX2" fmla="*/ 4572000 w 4572000"/>
                <a:gd name="connsiteY2" fmla="*/ 0 h 5761038"/>
                <a:gd name="connsiteX3" fmla="*/ 4572000 w 4572000"/>
                <a:gd name="connsiteY3" fmla="*/ 5761038 h 5761038"/>
                <a:gd name="connsiteX4" fmla="*/ 0 w 4572000"/>
                <a:gd name="connsiteY4" fmla="*/ 5761038 h 5761038"/>
                <a:gd name="connsiteX5" fmla="*/ 0 w 4572000"/>
                <a:gd name="connsiteY5" fmla="*/ 0 h 5761038"/>
                <a:gd name="connsiteX0" fmla="*/ 0 w 4598633"/>
                <a:gd name="connsiteY0" fmla="*/ 0 h 5761038"/>
                <a:gd name="connsiteX1" fmla="*/ 3213717 w 4598633"/>
                <a:gd name="connsiteY1" fmla="*/ 0 h 5761038"/>
                <a:gd name="connsiteX2" fmla="*/ 4572000 w 4598633"/>
                <a:gd name="connsiteY2" fmla="*/ 0 h 5761038"/>
                <a:gd name="connsiteX3" fmla="*/ 4598633 w 4598633"/>
                <a:gd name="connsiteY3" fmla="*/ 1180730 h 5761038"/>
                <a:gd name="connsiteX4" fmla="*/ 4572000 w 4598633"/>
                <a:gd name="connsiteY4" fmla="*/ 5761038 h 5761038"/>
                <a:gd name="connsiteX5" fmla="*/ 0 w 4598633"/>
                <a:gd name="connsiteY5" fmla="*/ 5761038 h 5761038"/>
                <a:gd name="connsiteX6" fmla="*/ 0 w 4598633"/>
                <a:gd name="connsiteY6" fmla="*/ 0 h 5761038"/>
                <a:gd name="connsiteX0" fmla="*/ 0 w 4598633"/>
                <a:gd name="connsiteY0" fmla="*/ 0 h 5761038"/>
                <a:gd name="connsiteX1" fmla="*/ 3213717 w 4598633"/>
                <a:gd name="connsiteY1" fmla="*/ 0 h 5761038"/>
                <a:gd name="connsiteX2" fmla="*/ 4598633 w 4598633"/>
                <a:gd name="connsiteY2" fmla="*/ 1180730 h 5761038"/>
                <a:gd name="connsiteX3" fmla="*/ 4572000 w 4598633"/>
                <a:gd name="connsiteY3" fmla="*/ 5761038 h 5761038"/>
                <a:gd name="connsiteX4" fmla="*/ 0 w 4598633"/>
                <a:gd name="connsiteY4" fmla="*/ 5761038 h 5761038"/>
                <a:gd name="connsiteX5" fmla="*/ 0 w 4598633"/>
                <a:gd name="connsiteY5" fmla="*/ 0 h 5761038"/>
                <a:gd name="connsiteX0" fmla="*/ 0 w 4598633"/>
                <a:gd name="connsiteY0" fmla="*/ 0 h 5761038"/>
                <a:gd name="connsiteX1" fmla="*/ 3294717 w 4598633"/>
                <a:gd name="connsiteY1" fmla="*/ 0 h 5761038"/>
                <a:gd name="connsiteX2" fmla="*/ 4598633 w 4598633"/>
                <a:gd name="connsiteY2" fmla="*/ 1180730 h 5761038"/>
                <a:gd name="connsiteX3" fmla="*/ 4572000 w 4598633"/>
                <a:gd name="connsiteY3" fmla="*/ 5761038 h 5761038"/>
                <a:gd name="connsiteX4" fmla="*/ 0 w 4598633"/>
                <a:gd name="connsiteY4" fmla="*/ 5761038 h 5761038"/>
                <a:gd name="connsiteX5" fmla="*/ 0 w 4598633"/>
                <a:gd name="connsiteY5" fmla="*/ 0 h 5761038"/>
                <a:gd name="connsiteX0" fmla="*/ 0 w 4600433"/>
                <a:gd name="connsiteY0" fmla="*/ 0 h 5761038"/>
                <a:gd name="connsiteX1" fmla="*/ 3294717 w 4600433"/>
                <a:gd name="connsiteY1" fmla="*/ 0 h 5761038"/>
                <a:gd name="connsiteX2" fmla="*/ 4600433 w 4600433"/>
                <a:gd name="connsiteY2" fmla="*/ 1216730 h 5761038"/>
                <a:gd name="connsiteX3" fmla="*/ 4572000 w 4600433"/>
                <a:gd name="connsiteY3" fmla="*/ 5761038 h 5761038"/>
                <a:gd name="connsiteX4" fmla="*/ 0 w 4600433"/>
                <a:gd name="connsiteY4" fmla="*/ 5761038 h 5761038"/>
                <a:gd name="connsiteX5" fmla="*/ 0 w 4600433"/>
                <a:gd name="connsiteY5" fmla="*/ 0 h 5761038"/>
                <a:gd name="connsiteX0" fmla="*/ 0 w 4604033"/>
                <a:gd name="connsiteY0" fmla="*/ 0 h 5761038"/>
                <a:gd name="connsiteX1" fmla="*/ 3294717 w 4604033"/>
                <a:gd name="connsiteY1" fmla="*/ 0 h 5761038"/>
                <a:gd name="connsiteX2" fmla="*/ 4604033 w 4604033"/>
                <a:gd name="connsiteY2" fmla="*/ 1247330 h 5761038"/>
                <a:gd name="connsiteX3" fmla="*/ 4572000 w 4604033"/>
                <a:gd name="connsiteY3" fmla="*/ 5761038 h 5761038"/>
                <a:gd name="connsiteX4" fmla="*/ 0 w 4604033"/>
                <a:gd name="connsiteY4" fmla="*/ 5761038 h 5761038"/>
                <a:gd name="connsiteX5" fmla="*/ 0 w 4604033"/>
                <a:gd name="connsiteY5" fmla="*/ 0 h 5761038"/>
                <a:gd name="connsiteX0" fmla="*/ 0 w 4602233"/>
                <a:gd name="connsiteY0" fmla="*/ 0 h 5761038"/>
                <a:gd name="connsiteX1" fmla="*/ 3294717 w 4602233"/>
                <a:gd name="connsiteY1" fmla="*/ 0 h 5761038"/>
                <a:gd name="connsiteX2" fmla="*/ 4602233 w 4602233"/>
                <a:gd name="connsiteY2" fmla="*/ 1310330 h 5761038"/>
                <a:gd name="connsiteX3" fmla="*/ 4572000 w 4602233"/>
                <a:gd name="connsiteY3" fmla="*/ 5761038 h 5761038"/>
                <a:gd name="connsiteX4" fmla="*/ 0 w 4602233"/>
                <a:gd name="connsiteY4" fmla="*/ 5761038 h 5761038"/>
                <a:gd name="connsiteX5" fmla="*/ 0 w 4602233"/>
                <a:gd name="connsiteY5" fmla="*/ 0 h 5761038"/>
                <a:gd name="connsiteX0" fmla="*/ 0 w 4602233"/>
                <a:gd name="connsiteY0" fmla="*/ 0 h 5761038"/>
                <a:gd name="connsiteX1" fmla="*/ 3294717 w 4602233"/>
                <a:gd name="connsiteY1" fmla="*/ 0 h 5761038"/>
                <a:gd name="connsiteX2" fmla="*/ 4602233 w 4602233"/>
                <a:gd name="connsiteY2" fmla="*/ 1362530 h 5761038"/>
                <a:gd name="connsiteX3" fmla="*/ 4572000 w 4602233"/>
                <a:gd name="connsiteY3" fmla="*/ 5761038 h 5761038"/>
                <a:gd name="connsiteX4" fmla="*/ 0 w 4602233"/>
                <a:gd name="connsiteY4" fmla="*/ 5761038 h 5761038"/>
                <a:gd name="connsiteX5" fmla="*/ 0 w 4602233"/>
                <a:gd name="connsiteY5" fmla="*/ 0 h 5761038"/>
                <a:gd name="connsiteX0" fmla="*/ 0 w 4587833"/>
                <a:gd name="connsiteY0" fmla="*/ 0 h 5761038"/>
                <a:gd name="connsiteX1" fmla="*/ 3294717 w 4587833"/>
                <a:gd name="connsiteY1" fmla="*/ 0 h 5761038"/>
                <a:gd name="connsiteX2" fmla="*/ 4587833 w 4587833"/>
                <a:gd name="connsiteY2" fmla="*/ 1297730 h 5761038"/>
                <a:gd name="connsiteX3" fmla="*/ 4572000 w 4587833"/>
                <a:gd name="connsiteY3" fmla="*/ 5761038 h 5761038"/>
                <a:gd name="connsiteX4" fmla="*/ 0 w 4587833"/>
                <a:gd name="connsiteY4" fmla="*/ 5761038 h 5761038"/>
                <a:gd name="connsiteX5" fmla="*/ 0 w 4587833"/>
                <a:gd name="connsiteY5" fmla="*/ 0 h 5761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7833" h="5761038">
                  <a:moveTo>
                    <a:pt x="0" y="0"/>
                  </a:moveTo>
                  <a:lnTo>
                    <a:pt x="3294717" y="0"/>
                  </a:lnTo>
                  <a:lnTo>
                    <a:pt x="4587833" y="1297730"/>
                  </a:lnTo>
                  <a:cubicBezTo>
                    <a:pt x="4582555" y="2785499"/>
                    <a:pt x="4577278" y="4273269"/>
                    <a:pt x="4572000" y="5761038"/>
                  </a:cubicBezTo>
                  <a:lnTo>
                    <a:pt x="0" y="5761038"/>
                  </a:lnTo>
                  <a:lnTo>
                    <a:pt x="0" y="0"/>
                  </a:lnTo>
                  <a:close/>
                </a:path>
              </a:pathLst>
            </a:custGeom>
            <a:solidFill>
              <a:schemeClr val="tx1">
                <a:lumMod val="95000"/>
              </a:schemeClr>
            </a:solidFill>
            <a:ln w="10795" cap="flat" cmpd="sng" algn="ctr">
              <a:noFill/>
              <a:prstDash val="soli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95" name="Rectangle 194">
              <a:extLst>
                <a:ext uri="{FF2B5EF4-FFF2-40B4-BE49-F238E27FC236}">
                  <a16:creationId xmlns:a16="http://schemas.microsoft.com/office/drawing/2014/main" id="{E955E05C-AFFB-46E6-8FEE-A1844FE2175A}"/>
                </a:ext>
              </a:extLst>
            </p:cNvPr>
            <p:cNvSpPr/>
            <p:nvPr/>
          </p:nvSpPr>
          <p:spPr>
            <a:xfrm>
              <a:off x="9548969" y="3320823"/>
              <a:ext cx="293393" cy="94665"/>
            </a:xfrm>
            <a:prstGeom prst="rect">
              <a:avLst/>
            </a:prstGeom>
            <a:solidFill>
              <a:srgbClr val="0680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Segoe UI"/>
                <a:ea typeface="+mn-ea"/>
                <a:cs typeface="+mn-cs"/>
              </a:endParaRPr>
            </a:p>
          </p:txBody>
        </p:sp>
        <p:sp>
          <p:nvSpPr>
            <p:cNvPr id="196" name="Rectangle 9">
              <a:extLst>
                <a:ext uri="{FF2B5EF4-FFF2-40B4-BE49-F238E27FC236}">
                  <a16:creationId xmlns:a16="http://schemas.microsoft.com/office/drawing/2014/main" id="{97C5DF1C-292A-4F1B-8E28-BB4A90D71148}"/>
                </a:ext>
              </a:extLst>
            </p:cNvPr>
            <p:cNvSpPr/>
            <p:nvPr/>
          </p:nvSpPr>
          <p:spPr>
            <a:xfrm>
              <a:off x="9759704" y="3045793"/>
              <a:ext cx="82150" cy="82150"/>
            </a:xfrm>
            <a:custGeom>
              <a:avLst/>
              <a:gdLst>
                <a:gd name="connsiteX0" fmla="*/ 0 w 1280160"/>
                <a:gd name="connsiteY0" fmla="*/ 0 h 1280160"/>
                <a:gd name="connsiteX1" fmla="*/ 1280160 w 1280160"/>
                <a:gd name="connsiteY1" fmla="*/ 0 h 1280160"/>
                <a:gd name="connsiteX2" fmla="*/ 1280160 w 1280160"/>
                <a:gd name="connsiteY2" fmla="*/ 1280160 h 1280160"/>
                <a:gd name="connsiteX3" fmla="*/ 0 w 1280160"/>
                <a:gd name="connsiteY3" fmla="*/ 1280160 h 1280160"/>
                <a:gd name="connsiteX4" fmla="*/ 0 w 1280160"/>
                <a:gd name="connsiteY4" fmla="*/ 0 h 1280160"/>
                <a:gd name="connsiteX0" fmla="*/ 0 w 1280160"/>
                <a:gd name="connsiteY0" fmla="*/ 0 h 1280160"/>
                <a:gd name="connsiteX1" fmla="*/ 1280160 w 1280160"/>
                <a:gd name="connsiteY1" fmla="*/ 1280160 h 1280160"/>
                <a:gd name="connsiteX2" fmla="*/ 0 w 1280160"/>
                <a:gd name="connsiteY2" fmla="*/ 1280160 h 1280160"/>
                <a:gd name="connsiteX3" fmla="*/ 0 w 1280160"/>
                <a:gd name="connsiteY3" fmla="*/ 0 h 1280160"/>
              </a:gdLst>
              <a:ahLst/>
              <a:cxnLst>
                <a:cxn ang="0">
                  <a:pos x="connsiteX0" y="connsiteY0"/>
                </a:cxn>
                <a:cxn ang="0">
                  <a:pos x="connsiteX1" y="connsiteY1"/>
                </a:cxn>
                <a:cxn ang="0">
                  <a:pos x="connsiteX2" y="connsiteY2"/>
                </a:cxn>
                <a:cxn ang="0">
                  <a:pos x="connsiteX3" y="connsiteY3"/>
                </a:cxn>
              </a:cxnLst>
              <a:rect l="l" t="t" r="r" b="b"/>
              <a:pathLst>
                <a:path w="1280160" h="1280160">
                  <a:moveTo>
                    <a:pt x="0" y="0"/>
                  </a:moveTo>
                  <a:lnTo>
                    <a:pt x="1280160" y="1280160"/>
                  </a:lnTo>
                  <a:lnTo>
                    <a:pt x="0" y="1280160"/>
                  </a:lnTo>
                  <a:lnTo>
                    <a:pt x="0" y="0"/>
                  </a:lnTo>
                  <a:close/>
                </a:path>
              </a:pathLst>
            </a:custGeom>
            <a:solidFill>
              <a:srgbClr val="0680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4F1B6DB5-A1C0-4559-B237-B0D7E2195574}"/>
                </a:ext>
              </a:extLst>
            </p:cNvPr>
            <p:cNvSpPr/>
            <p:nvPr/>
          </p:nvSpPr>
          <p:spPr bwMode="auto">
            <a:xfrm>
              <a:off x="9631964" y="3342811"/>
              <a:ext cx="127404" cy="50689"/>
            </a:xfrm>
            <a:custGeom>
              <a:avLst/>
              <a:gdLst/>
              <a:ahLst/>
              <a:cxnLst/>
              <a:rect l="l" t="t" r="r" b="b"/>
              <a:pathLst>
                <a:path w="1793672" h="713621">
                  <a:moveTo>
                    <a:pt x="789389" y="130880"/>
                  </a:moveTo>
                  <a:lnTo>
                    <a:pt x="789389" y="583239"/>
                  </a:lnTo>
                  <a:lnTo>
                    <a:pt x="869012" y="583239"/>
                  </a:lnTo>
                  <a:cubicBezTo>
                    <a:pt x="938682" y="583239"/>
                    <a:pt x="993340" y="562337"/>
                    <a:pt x="1032986" y="520535"/>
                  </a:cubicBezTo>
                  <a:cubicBezTo>
                    <a:pt x="1072631" y="478733"/>
                    <a:pt x="1092454" y="421836"/>
                    <a:pt x="1092454" y="349843"/>
                  </a:cubicBezTo>
                  <a:cubicBezTo>
                    <a:pt x="1092454" y="281832"/>
                    <a:pt x="1072797" y="228335"/>
                    <a:pt x="1033483" y="189353"/>
                  </a:cubicBezTo>
                  <a:cubicBezTo>
                    <a:pt x="994169" y="150371"/>
                    <a:pt x="939014" y="130880"/>
                    <a:pt x="868017" y="130880"/>
                  </a:cubicBezTo>
                  <a:close/>
                  <a:moveTo>
                    <a:pt x="160739" y="123415"/>
                  </a:moveTo>
                  <a:lnTo>
                    <a:pt x="160739" y="345862"/>
                  </a:lnTo>
                  <a:lnTo>
                    <a:pt x="223940" y="345862"/>
                  </a:lnTo>
                  <a:cubicBezTo>
                    <a:pt x="309534" y="345862"/>
                    <a:pt x="352332" y="308373"/>
                    <a:pt x="352332" y="233395"/>
                  </a:cubicBezTo>
                  <a:cubicBezTo>
                    <a:pt x="352332" y="160075"/>
                    <a:pt x="309534" y="123415"/>
                    <a:pt x="223940" y="123415"/>
                  </a:cubicBezTo>
                  <a:close/>
                  <a:moveTo>
                    <a:pt x="1381125" y="0"/>
                  </a:moveTo>
                  <a:lnTo>
                    <a:pt x="1793672" y="0"/>
                  </a:lnTo>
                  <a:lnTo>
                    <a:pt x="1793672" y="130880"/>
                  </a:lnTo>
                  <a:lnTo>
                    <a:pt x="1541864" y="130880"/>
                  </a:lnTo>
                  <a:lnTo>
                    <a:pt x="1541864" y="306051"/>
                  </a:lnTo>
                  <a:lnTo>
                    <a:pt x="1773268" y="306051"/>
                  </a:lnTo>
                  <a:lnTo>
                    <a:pt x="1773268" y="436434"/>
                  </a:lnTo>
                  <a:lnTo>
                    <a:pt x="1541864" y="436434"/>
                  </a:lnTo>
                  <a:lnTo>
                    <a:pt x="1541864" y="713621"/>
                  </a:lnTo>
                  <a:lnTo>
                    <a:pt x="1381125" y="713621"/>
                  </a:lnTo>
                  <a:close/>
                  <a:moveTo>
                    <a:pt x="628650" y="0"/>
                  </a:moveTo>
                  <a:lnTo>
                    <a:pt x="881453" y="0"/>
                  </a:lnTo>
                  <a:cubicBezTo>
                    <a:pt x="1134920" y="0"/>
                    <a:pt x="1261653" y="115951"/>
                    <a:pt x="1261653" y="347853"/>
                  </a:cubicBezTo>
                  <a:cubicBezTo>
                    <a:pt x="1261653" y="458993"/>
                    <a:pt x="1227067" y="547740"/>
                    <a:pt x="1157894" y="614092"/>
                  </a:cubicBezTo>
                  <a:cubicBezTo>
                    <a:pt x="1088722" y="680445"/>
                    <a:pt x="996575" y="713621"/>
                    <a:pt x="881453" y="713621"/>
                  </a:cubicBezTo>
                  <a:lnTo>
                    <a:pt x="628650" y="713621"/>
                  </a:lnTo>
                  <a:close/>
                  <a:moveTo>
                    <a:pt x="0" y="0"/>
                  </a:moveTo>
                  <a:lnTo>
                    <a:pt x="251808" y="0"/>
                  </a:lnTo>
                  <a:cubicBezTo>
                    <a:pt x="431623" y="0"/>
                    <a:pt x="521531" y="75807"/>
                    <a:pt x="521531" y="227423"/>
                  </a:cubicBezTo>
                  <a:cubicBezTo>
                    <a:pt x="521531" y="299084"/>
                    <a:pt x="495736" y="357059"/>
                    <a:pt x="444147" y="401350"/>
                  </a:cubicBezTo>
                  <a:cubicBezTo>
                    <a:pt x="392558" y="445640"/>
                    <a:pt x="323634" y="467785"/>
                    <a:pt x="237376" y="467785"/>
                  </a:cubicBezTo>
                  <a:lnTo>
                    <a:pt x="160739" y="467785"/>
                  </a:lnTo>
                  <a:lnTo>
                    <a:pt x="160739" y="713621"/>
                  </a:lnTo>
                  <a:lnTo>
                    <a:pt x="0" y="7136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9" name="Group 198">
              <a:extLst>
                <a:ext uri="{FF2B5EF4-FFF2-40B4-BE49-F238E27FC236}">
                  <a16:creationId xmlns:a16="http://schemas.microsoft.com/office/drawing/2014/main" id="{672BE737-CA61-4592-A506-50226E9C9D6F}"/>
                </a:ext>
              </a:extLst>
            </p:cNvPr>
            <p:cNvGrpSpPr/>
            <p:nvPr/>
          </p:nvGrpSpPr>
          <p:grpSpPr>
            <a:xfrm>
              <a:off x="9568973" y="3077903"/>
              <a:ext cx="241755" cy="197194"/>
              <a:chOff x="9568973" y="3077903"/>
              <a:chExt cx="241755" cy="197194"/>
            </a:xfrm>
            <a:solidFill>
              <a:schemeClr val="bg2"/>
            </a:solidFill>
          </p:grpSpPr>
          <p:sp>
            <p:nvSpPr>
              <p:cNvPr id="217" name="Rectangle 216">
                <a:extLst>
                  <a:ext uri="{FF2B5EF4-FFF2-40B4-BE49-F238E27FC236}">
                    <a16:creationId xmlns:a16="http://schemas.microsoft.com/office/drawing/2014/main" id="{406650D1-BD2C-4E42-90EE-DD9E9C5B4CF2}"/>
                  </a:ext>
                </a:extLst>
              </p:cNvPr>
              <p:cNvSpPr/>
              <p:nvPr/>
            </p:nvSpPr>
            <p:spPr bwMode="auto">
              <a:xfrm>
                <a:off x="9755515" y="3189131"/>
                <a:ext cx="55213" cy="7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8" name="Group 217">
                <a:extLst>
                  <a:ext uri="{FF2B5EF4-FFF2-40B4-BE49-F238E27FC236}">
                    <a16:creationId xmlns:a16="http://schemas.microsoft.com/office/drawing/2014/main" id="{BE93980A-50D6-45F4-883D-D38C572DB154}"/>
                  </a:ext>
                </a:extLst>
              </p:cNvPr>
              <p:cNvGrpSpPr/>
              <p:nvPr/>
            </p:nvGrpSpPr>
            <p:grpSpPr>
              <a:xfrm>
                <a:off x="9568973" y="3077903"/>
                <a:ext cx="241755" cy="197194"/>
                <a:chOff x="9568973" y="3077903"/>
                <a:chExt cx="241755" cy="197194"/>
              </a:xfrm>
              <a:grpFill/>
            </p:grpSpPr>
            <p:sp>
              <p:nvSpPr>
                <p:cNvPr id="219" name="Rectangle 218">
                  <a:extLst>
                    <a:ext uri="{FF2B5EF4-FFF2-40B4-BE49-F238E27FC236}">
                      <a16:creationId xmlns:a16="http://schemas.microsoft.com/office/drawing/2014/main" id="{6BC45C0A-5B62-4F79-876E-8236F482FFE4}"/>
                    </a:ext>
                  </a:extLst>
                </p:cNvPr>
                <p:cNvSpPr/>
                <p:nvPr/>
              </p:nvSpPr>
              <p:spPr bwMode="auto">
                <a:xfrm>
                  <a:off x="9737111" y="3227816"/>
                  <a:ext cx="73616" cy="7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0" name="Rectangle 219">
                  <a:extLst>
                    <a:ext uri="{FF2B5EF4-FFF2-40B4-BE49-F238E27FC236}">
                      <a16:creationId xmlns:a16="http://schemas.microsoft.com/office/drawing/2014/main" id="{613D5655-5C4C-48CF-BF38-36C362281FBA}"/>
                    </a:ext>
                  </a:extLst>
                </p:cNvPr>
                <p:cNvSpPr/>
                <p:nvPr/>
              </p:nvSpPr>
              <p:spPr bwMode="auto">
                <a:xfrm>
                  <a:off x="9755515" y="3267685"/>
                  <a:ext cx="55213" cy="7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1" name="Group 220">
                  <a:extLst>
                    <a:ext uri="{FF2B5EF4-FFF2-40B4-BE49-F238E27FC236}">
                      <a16:creationId xmlns:a16="http://schemas.microsoft.com/office/drawing/2014/main" id="{BCC06A94-391B-46E3-9336-42593C32CD9B}"/>
                    </a:ext>
                  </a:extLst>
                </p:cNvPr>
                <p:cNvGrpSpPr/>
                <p:nvPr/>
              </p:nvGrpSpPr>
              <p:grpSpPr>
                <a:xfrm>
                  <a:off x="9568973" y="3077903"/>
                  <a:ext cx="241754" cy="197194"/>
                  <a:chOff x="9568973" y="3077903"/>
                  <a:chExt cx="241754" cy="197194"/>
                </a:xfrm>
                <a:grpFill/>
              </p:grpSpPr>
              <p:sp>
                <p:nvSpPr>
                  <p:cNvPr id="222" name="Rectangle 221">
                    <a:extLst>
                      <a:ext uri="{FF2B5EF4-FFF2-40B4-BE49-F238E27FC236}">
                        <a16:creationId xmlns:a16="http://schemas.microsoft.com/office/drawing/2014/main" id="{F31E6337-F9C9-45D0-A8D1-C870F2BC4B99}"/>
                      </a:ext>
                    </a:extLst>
                  </p:cNvPr>
                  <p:cNvSpPr/>
                  <p:nvPr/>
                </p:nvSpPr>
                <p:spPr bwMode="auto">
                  <a:xfrm>
                    <a:off x="9568973" y="3227816"/>
                    <a:ext cx="73616" cy="7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Rectangle 222">
                    <a:extLst>
                      <a:ext uri="{FF2B5EF4-FFF2-40B4-BE49-F238E27FC236}">
                        <a16:creationId xmlns:a16="http://schemas.microsoft.com/office/drawing/2014/main" id="{55CFF548-083E-4D2A-8A1E-6785BE5F74BE}"/>
                      </a:ext>
                    </a:extLst>
                  </p:cNvPr>
                  <p:cNvSpPr/>
                  <p:nvPr/>
                </p:nvSpPr>
                <p:spPr bwMode="auto">
                  <a:xfrm>
                    <a:off x="9649396" y="3227816"/>
                    <a:ext cx="73616" cy="7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Rectangle 223">
                    <a:extLst>
                      <a:ext uri="{FF2B5EF4-FFF2-40B4-BE49-F238E27FC236}">
                        <a16:creationId xmlns:a16="http://schemas.microsoft.com/office/drawing/2014/main" id="{0D8243E7-7A00-4F40-9824-1B2CC94E2FCC}"/>
                      </a:ext>
                    </a:extLst>
                  </p:cNvPr>
                  <p:cNvSpPr/>
                  <p:nvPr/>
                </p:nvSpPr>
                <p:spPr bwMode="auto">
                  <a:xfrm>
                    <a:off x="9568973" y="3267685"/>
                    <a:ext cx="46010" cy="7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Rectangle 224">
                    <a:extLst>
                      <a:ext uri="{FF2B5EF4-FFF2-40B4-BE49-F238E27FC236}">
                        <a16:creationId xmlns:a16="http://schemas.microsoft.com/office/drawing/2014/main" id="{A968D85F-B2A6-43B3-A6EE-0ED9C8BD4775}"/>
                      </a:ext>
                    </a:extLst>
                  </p:cNvPr>
                  <p:cNvSpPr/>
                  <p:nvPr/>
                </p:nvSpPr>
                <p:spPr bwMode="auto">
                  <a:xfrm>
                    <a:off x="9627577" y="3267685"/>
                    <a:ext cx="119627" cy="7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6" name="Rectangle 225">
                    <a:extLst>
                      <a:ext uri="{FF2B5EF4-FFF2-40B4-BE49-F238E27FC236}">
                        <a16:creationId xmlns:a16="http://schemas.microsoft.com/office/drawing/2014/main" id="{953066A0-B879-4584-AEB0-0921FA508BE9}"/>
                      </a:ext>
                    </a:extLst>
                  </p:cNvPr>
                  <p:cNvSpPr/>
                  <p:nvPr/>
                </p:nvSpPr>
                <p:spPr bwMode="auto">
                  <a:xfrm>
                    <a:off x="9568973" y="3189131"/>
                    <a:ext cx="46010" cy="7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7" name="Rectangle 226">
                    <a:extLst>
                      <a:ext uri="{FF2B5EF4-FFF2-40B4-BE49-F238E27FC236}">
                        <a16:creationId xmlns:a16="http://schemas.microsoft.com/office/drawing/2014/main" id="{10DDD081-E3E2-4C26-B315-EEE7A298D6E4}"/>
                      </a:ext>
                    </a:extLst>
                  </p:cNvPr>
                  <p:cNvSpPr/>
                  <p:nvPr/>
                </p:nvSpPr>
                <p:spPr bwMode="auto">
                  <a:xfrm>
                    <a:off x="9627577" y="3189131"/>
                    <a:ext cx="119627" cy="7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8" name="Rectangle 227">
                    <a:extLst>
                      <a:ext uri="{FF2B5EF4-FFF2-40B4-BE49-F238E27FC236}">
                        <a16:creationId xmlns:a16="http://schemas.microsoft.com/office/drawing/2014/main" id="{61F495C3-6578-4E15-95F2-AC66E4E8443A}"/>
                      </a:ext>
                    </a:extLst>
                  </p:cNvPr>
                  <p:cNvSpPr/>
                  <p:nvPr/>
                </p:nvSpPr>
                <p:spPr bwMode="auto">
                  <a:xfrm>
                    <a:off x="9568973" y="3152277"/>
                    <a:ext cx="73616" cy="7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9" name="Rectangle 228">
                    <a:extLst>
                      <a:ext uri="{FF2B5EF4-FFF2-40B4-BE49-F238E27FC236}">
                        <a16:creationId xmlns:a16="http://schemas.microsoft.com/office/drawing/2014/main" id="{E0C59607-CCE0-4392-A5BA-05EB20EDF9C7}"/>
                      </a:ext>
                    </a:extLst>
                  </p:cNvPr>
                  <p:cNvSpPr/>
                  <p:nvPr/>
                </p:nvSpPr>
                <p:spPr bwMode="auto">
                  <a:xfrm>
                    <a:off x="9649396" y="3152277"/>
                    <a:ext cx="73616" cy="7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0" name="Rectangle 229">
                    <a:extLst>
                      <a:ext uri="{FF2B5EF4-FFF2-40B4-BE49-F238E27FC236}">
                        <a16:creationId xmlns:a16="http://schemas.microsoft.com/office/drawing/2014/main" id="{15516951-9B52-44E9-84E6-10E71B99CF0F}"/>
                      </a:ext>
                    </a:extLst>
                  </p:cNvPr>
                  <p:cNvSpPr/>
                  <p:nvPr/>
                </p:nvSpPr>
                <p:spPr bwMode="auto">
                  <a:xfrm>
                    <a:off x="9737111" y="3152277"/>
                    <a:ext cx="73616" cy="7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1" name="Rectangle 230">
                    <a:extLst>
                      <a:ext uri="{FF2B5EF4-FFF2-40B4-BE49-F238E27FC236}">
                        <a16:creationId xmlns:a16="http://schemas.microsoft.com/office/drawing/2014/main" id="{F223D5B8-80B5-4D67-A6D2-4EF819CCFFE9}"/>
                      </a:ext>
                    </a:extLst>
                  </p:cNvPr>
                  <p:cNvSpPr/>
                  <p:nvPr/>
                </p:nvSpPr>
                <p:spPr bwMode="auto">
                  <a:xfrm>
                    <a:off x="9568973" y="3077903"/>
                    <a:ext cx="73616" cy="7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2" name="Rectangle 231">
                    <a:extLst>
                      <a:ext uri="{FF2B5EF4-FFF2-40B4-BE49-F238E27FC236}">
                        <a16:creationId xmlns:a16="http://schemas.microsoft.com/office/drawing/2014/main" id="{C8DE7D1E-419B-48D2-B592-F65BB15AC87D}"/>
                      </a:ext>
                    </a:extLst>
                  </p:cNvPr>
                  <p:cNvSpPr/>
                  <p:nvPr/>
                </p:nvSpPr>
                <p:spPr bwMode="auto">
                  <a:xfrm>
                    <a:off x="9568973" y="3100273"/>
                    <a:ext cx="73616" cy="7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200" name="Group 199">
              <a:extLst>
                <a:ext uri="{FF2B5EF4-FFF2-40B4-BE49-F238E27FC236}">
                  <a16:creationId xmlns:a16="http://schemas.microsoft.com/office/drawing/2014/main" id="{14A0BA50-A231-4F58-83D7-60B18B49D6B3}"/>
                </a:ext>
              </a:extLst>
            </p:cNvPr>
            <p:cNvGrpSpPr/>
            <p:nvPr/>
          </p:nvGrpSpPr>
          <p:grpSpPr>
            <a:xfrm>
              <a:off x="9801237" y="3029155"/>
              <a:ext cx="223532" cy="223532"/>
              <a:chOff x="1915729" y="2235243"/>
              <a:chExt cx="348597" cy="348597"/>
            </a:xfrm>
            <a:solidFill>
              <a:schemeClr val="accent2">
                <a:lumMod val="50000"/>
              </a:schemeClr>
            </a:solidFill>
          </p:grpSpPr>
          <p:sp>
            <p:nvSpPr>
              <p:cNvPr id="201" name="Teardrop 200">
                <a:extLst>
                  <a:ext uri="{FF2B5EF4-FFF2-40B4-BE49-F238E27FC236}">
                    <a16:creationId xmlns:a16="http://schemas.microsoft.com/office/drawing/2014/main" id="{B90D8E33-2E0B-4A6F-AC79-83DF12BC5AE2}"/>
                  </a:ext>
                </a:extLst>
              </p:cNvPr>
              <p:cNvSpPr/>
              <p:nvPr/>
            </p:nvSpPr>
            <p:spPr bwMode="auto">
              <a:xfrm rot="11274577">
                <a:off x="1915729" y="2235243"/>
                <a:ext cx="348597" cy="348597"/>
              </a:xfrm>
              <a:prstGeom prst="teardrop">
                <a:avLst/>
              </a:prstGeom>
              <a:solidFill>
                <a:schemeClr val="bg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2" name="Group 201">
                <a:extLst>
                  <a:ext uri="{FF2B5EF4-FFF2-40B4-BE49-F238E27FC236}">
                    <a16:creationId xmlns:a16="http://schemas.microsoft.com/office/drawing/2014/main" id="{138B2189-431F-49F1-A5C4-078E3F507292}"/>
                  </a:ext>
                </a:extLst>
              </p:cNvPr>
              <p:cNvGrpSpPr/>
              <p:nvPr/>
            </p:nvGrpSpPr>
            <p:grpSpPr>
              <a:xfrm>
                <a:off x="1984728" y="2324458"/>
                <a:ext cx="206180" cy="177799"/>
                <a:chOff x="1705915" y="2463665"/>
                <a:chExt cx="377015" cy="307524"/>
              </a:xfrm>
              <a:grpFill/>
            </p:grpSpPr>
            <p:sp>
              <p:nvSpPr>
                <p:cNvPr id="203" name="Rectangle 202">
                  <a:extLst>
                    <a:ext uri="{FF2B5EF4-FFF2-40B4-BE49-F238E27FC236}">
                      <a16:creationId xmlns:a16="http://schemas.microsoft.com/office/drawing/2014/main" id="{3D9C910E-E2BB-4E6F-A8C3-143C08DC09CA}"/>
                    </a:ext>
                  </a:extLst>
                </p:cNvPr>
                <p:cNvSpPr/>
                <p:nvPr/>
              </p:nvSpPr>
              <p:spPr bwMode="auto">
                <a:xfrm>
                  <a:off x="1705915" y="2697454"/>
                  <a:ext cx="114804" cy="11559"/>
                </a:xfrm>
                <a:prstGeom prst="rect">
                  <a:avLst/>
                </a:prstGeom>
                <a:grp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4" name="Rectangle 203">
                  <a:extLst>
                    <a:ext uri="{FF2B5EF4-FFF2-40B4-BE49-F238E27FC236}">
                      <a16:creationId xmlns:a16="http://schemas.microsoft.com/office/drawing/2014/main" id="{48E69A43-D0AA-493E-B1B9-A2964AC03D2A}"/>
                    </a:ext>
                  </a:extLst>
                </p:cNvPr>
                <p:cNvSpPr/>
                <p:nvPr/>
              </p:nvSpPr>
              <p:spPr bwMode="auto">
                <a:xfrm>
                  <a:off x="1831335" y="2697454"/>
                  <a:ext cx="114804" cy="11559"/>
                </a:xfrm>
                <a:prstGeom prst="rect">
                  <a:avLst/>
                </a:prstGeom>
                <a:grp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Rectangle 204">
                  <a:extLst>
                    <a:ext uri="{FF2B5EF4-FFF2-40B4-BE49-F238E27FC236}">
                      <a16:creationId xmlns:a16="http://schemas.microsoft.com/office/drawing/2014/main" id="{22702ED3-5341-453E-B55D-FB422FCC0EDA}"/>
                    </a:ext>
                  </a:extLst>
                </p:cNvPr>
                <p:cNvSpPr/>
                <p:nvPr/>
              </p:nvSpPr>
              <p:spPr bwMode="auto">
                <a:xfrm>
                  <a:off x="1968125" y="2697454"/>
                  <a:ext cx="114804" cy="11559"/>
                </a:xfrm>
                <a:prstGeom prst="rect">
                  <a:avLst/>
                </a:prstGeom>
                <a:grp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Rectangle 205">
                  <a:extLst>
                    <a:ext uri="{FF2B5EF4-FFF2-40B4-BE49-F238E27FC236}">
                      <a16:creationId xmlns:a16="http://schemas.microsoft.com/office/drawing/2014/main" id="{4C4F2760-C7B2-482F-982A-1334520C7166}"/>
                    </a:ext>
                  </a:extLst>
                </p:cNvPr>
                <p:cNvSpPr/>
                <p:nvPr/>
              </p:nvSpPr>
              <p:spPr bwMode="auto">
                <a:xfrm>
                  <a:off x="1705915" y="2759630"/>
                  <a:ext cx="71753" cy="11559"/>
                </a:xfrm>
                <a:prstGeom prst="rect">
                  <a:avLst/>
                </a:prstGeom>
                <a:grp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Rectangle 206">
                  <a:extLst>
                    <a:ext uri="{FF2B5EF4-FFF2-40B4-BE49-F238E27FC236}">
                      <a16:creationId xmlns:a16="http://schemas.microsoft.com/office/drawing/2014/main" id="{17530DDB-619D-4EC1-8047-9760FE4C35DB}"/>
                    </a:ext>
                  </a:extLst>
                </p:cNvPr>
                <p:cNvSpPr/>
                <p:nvPr/>
              </p:nvSpPr>
              <p:spPr bwMode="auto">
                <a:xfrm>
                  <a:off x="1797308" y="2759630"/>
                  <a:ext cx="186557" cy="11559"/>
                </a:xfrm>
                <a:prstGeom prst="rect">
                  <a:avLst/>
                </a:prstGeom>
                <a:grp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Rectangle 207">
                  <a:extLst>
                    <a:ext uri="{FF2B5EF4-FFF2-40B4-BE49-F238E27FC236}">
                      <a16:creationId xmlns:a16="http://schemas.microsoft.com/office/drawing/2014/main" id="{8859198D-7F83-480C-BC15-A84C19EE895D}"/>
                    </a:ext>
                  </a:extLst>
                </p:cNvPr>
                <p:cNvSpPr/>
                <p:nvPr/>
              </p:nvSpPr>
              <p:spPr bwMode="auto">
                <a:xfrm>
                  <a:off x="1996826" y="2759630"/>
                  <a:ext cx="86104" cy="11559"/>
                </a:xfrm>
                <a:prstGeom prst="rect">
                  <a:avLst/>
                </a:prstGeom>
                <a:grp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Rectangle 208">
                  <a:extLst>
                    <a:ext uri="{FF2B5EF4-FFF2-40B4-BE49-F238E27FC236}">
                      <a16:creationId xmlns:a16="http://schemas.microsoft.com/office/drawing/2014/main" id="{F203D722-CC5D-41CB-B79E-2E9DA9B4313F}"/>
                    </a:ext>
                  </a:extLst>
                </p:cNvPr>
                <p:cNvSpPr/>
                <p:nvPr/>
              </p:nvSpPr>
              <p:spPr bwMode="auto">
                <a:xfrm>
                  <a:off x="1705915" y="2637125"/>
                  <a:ext cx="71753" cy="11559"/>
                </a:xfrm>
                <a:prstGeom prst="rect">
                  <a:avLst/>
                </a:prstGeom>
                <a:grp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Rectangle 209">
                  <a:extLst>
                    <a:ext uri="{FF2B5EF4-FFF2-40B4-BE49-F238E27FC236}">
                      <a16:creationId xmlns:a16="http://schemas.microsoft.com/office/drawing/2014/main" id="{9362B252-4A2C-447B-AF18-C07F63F578B1}"/>
                    </a:ext>
                  </a:extLst>
                </p:cNvPr>
                <p:cNvSpPr/>
                <p:nvPr/>
              </p:nvSpPr>
              <p:spPr bwMode="auto">
                <a:xfrm>
                  <a:off x="1797308" y="2637125"/>
                  <a:ext cx="186557" cy="11559"/>
                </a:xfrm>
                <a:prstGeom prst="rect">
                  <a:avLst/>
                </a:prstGeom>
                <a:grp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1" name="Rectangle 210">
                  <a:extLst>
                    <a:ext uri="{FF2B5EF4-FFF2-40B4-BE49-F238E27FC236}">
                      <a16:creationId xmlns:a16="http://schemas.microsoft.com/office/drawing/2014/main" id="{FD39025D-5979-43E0-8792-5808651DE6E4}"/>
                    </a:ext>
                  </a:extLst>
                </p:cNvPr>
                <p:cNvSpPr/>
                <p:nvPr/>
              </p:nvSpPr>
              <p:spPr bwMode="auto">
                <a:xfrm>
                  <a:off x="1996826" y="2637125"/>
                  <a:ext cx="86104" cy="11559"/>
                </a:xfrm>
                <a:prstGeom prst="rect">
                  <a:avLst/>
                </a:prstGeom>
                <a:grp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2" name="Rectangle 211">
                  <a:extLst>
                    <a:ext uri="{FF2B5EF4-FFF2-40B4-BE49-F238E27FC236}">
                      <a16:creationId xmlns:a16="http://schemas.microsoft.com/office/drawing/2014/main" id="{567F1183-472F-48DE-8587-BD5CC125E294}"/>
                    </a:ext>
                  </a:extLst>
                </p:cNvPr>
                <p:cNvSpPr/>
                <p:nvPr/>
              </p:nvSpPr>
              <p:spPr bwMode="auto">
                <a:xfrm>
                  <a:off x="1705915" y="2579651"/>
                  <a:ext cx="114804" cy="11559"/>
                </a:xfrm>
                <a:prstGeom prst="rect">
                  <a:avLst/>
                </a:prstGeom>
                <a:grp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3" name="Rectangle 212">
                  <a:extLst>
                    <a:ext uri="{FF2B5EF4-FFF2-40B4-BE49-F238E27FC236}">
                      <a16:creationId xmlns:a16="http://schemas.microsoft.com/office/drawing/2014/main" id="{38CD7E7B-A992-4D37-8DCD-CFB6D510BB14}"/>
                    </a:ext>
                  </a:extLst>
                </p:cNvPr>
                <p:cNvSpPr/>
                <p:nvPr/>
              </p:nvSpPr>
              <p:spPr bwMode="auto">
                <a:xfrm>
                  <a:off x="1831335" y="2579651"/>
                  <a:ext cx="114804" cy="11559"/>
                </a:xfrm>
                <a:prstGeom prst="rect">
                  <a:avLst/>
                </a:prstGeom>
                <a:grp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Rectangle 213">
                  <a:extLst>
                    <a:ext uri="{FF2B5EF4-FFF2-40B4-BE49-F238E27FC236}">
                      <a16:creationId xmlns:a16="http://schemas.microsoft.com/office/drawing/2014/main" id="{A6E2DFBA-FC49-4A21-8FE5-83BB9ABBCE08}"/>
                    </a:ext>
                  </a:extLst>
                </p:cNvPr>
                <p:cNvSpPr/>
                <p:nvPr/>
              </p:nvSpPr>
              <p:spPr bwMode="auto">
                <a:xfrm>
                  <a:off x="1968125" y="2579651"/>
                  <a:ext cx="114804" cy="11559"/>
                </a:xfrm>
                <a:prstGeom prst="rect">
                  <a:avLst/>
                </a:prstGeom>
                <a:grp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5" name="Rectangle 214">
                  <a:extLst>
                    <a:ext uri="{FF2B5EF4-FFF2-40B4-BE49-F238E27FC236}">
                      <a16:creationId xmlns:a16="http://schemas.microsoft.com/office/drawing/2014/main" id="{78E549B5-4980-4235-8416-97A04CC690E5}"/>
                    </a:ext>
                  </a:extLst>
                </p:cNvPr>
                <p:cNvSpPr/>
                <p:nvPr/>
              </p:nvSpPr>
              <p:spPr bwMode="auto">
                <a:xfrm>
                  <a:off x="1705915" y="2463665"/>
                  <a:ext cx="114804" cy="11559"/>
                </a:xfrm>
                <a:prstGeom prst="rect">
                  <a:avLst/>
                </a:prstGeom>
                <a:grp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Rectangle 215">
                  <a:extLst>
                    <a:ext uri="{FF2B5EF4-FFF2-40B4-BE49-F238E27FC236}">
                      <a16:creationId xmlns:a16="http://schemas.microsoft.com/office/drawing/2014/main" id="{856D33BE-3886-41BB-B7F1-27A4ED37D450}"/>
                    </a:ext>
                  </a:extLst>
                </p:cNvPr>
                <p:cNvSpPr/>
                <p:nvPr/>
              </p:nvSpPr>
              <p:spPr bwMode="auto">
                <a:xfrm>
                  <a:off x="1705915" y="2498551"/>
                  <a:ext cx="114804" cy="11559"/>
                </a:xfrm>
                <a:prstGeom prst="rect">
                  <a:avLst/>
                </a:prstGeom>
                <a:grp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233" name="Graphic 5" descr="Media Services Media Indexer">
            <a:extLst>
              <a:ext uri="{FF2B5EF4-FFF2-40B4-BE49-F238E27FC236}">
                <a16:creationId xmlns:a16="http://schemas.microsoft.com/office/drawing/2014/main" id="{1962B396-6EE2-4FF6-B9C1-FDB4B897794B}"/>
              </a:ext>
            </a:extLst>
          </p:cNvPr>
          <p:cNvGrpSpPr>
            <a:grpSpLocks noChangeAspect="1"/>
          </p:cNvGrpSpPr>
          <p:nvPr/>
        </p:nvGrpSpPr>
        <p:grpSpPr>
          <a:xfrm>
            <a:off x="9616132" y="1744090"/>
            <a:ext cx="343466" cy="343467"/>
            <a:chOff x="9823486" y="1753795"/>
            <a:chExt cx="392185" cy="392186"/>
          </a:xfrm>
        </p:grpSpPr>
        <p:sp>
          <p:nvSpPr>
            <p:cNvPr id="234" name="Freeform: Shape 233">
              <a:extLst>
                <a:ext uri="{FF2B5EF4-FFF2-40B4-BE49-F238E27FC236}">
                  <a16:creationId xmlns:a16="http://schemas.microsoft.com/office/drawing/2014/main" id="{A17C178F-0D16-443B-82D7-BD863B5220B0}"/>
                </a:ext>
              </a:extLst>
            </p:cNvPr>
            <p:cNvSpPr/>
            <p:nvPr/>
          </p:nvSpPr>
          <p:spPr>
            <a:xfrm>
              <a:off x="9968659" y="1797256"/>
              <a:ext cx="203208" cy="203133"/>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5" name="Freeform: Shape 234">
              <a:extLst>
                <a:ext uri="{FF2B5EF4-FFF2-40B4-BE49-F238E27FC236}">
                  <a16:creationId xmlns:a16="http://schemas.microsoft.com/office/drawing/2014/main" id="{09093641-46FD-498D-8FA0-B77175069885}"/>
                </a:ext>
              </a:extLst>
            </p:cNvPr>
            <p:cNvSpPr/>
            <p:nvPr/>
          </p:nvSpPr>
          <p:spPr>
            <a:xfrm>
              <a:off x="9968659" y="1797256"/>
              <a:ext cx="203208" cy="203133"/>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59B4D9">
                <a:alpha val="1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6" name="Freeform: Shape 235">
              <a:extLst>
                <a:ext uri="{FF2B5EF4-FFF2-40B4-BE49-F238E27FC236}">
                  <a16:creationId xmlns:a16="http://schemas.microsoft.com/office/drawing/2014/main" id="{15D50ED0-6B1D-4964-AE06-C6BB6A527AB6}"/>
                </a:ext>
              </a:extLst>
            </p:cNvPr>
            <p:cNvSpPr/>
            <p:nvPr/>
          </p:nvSpPr>
          <p:spPr>
            <a:xfrm>
              <a:off x="9968477" y="1797256"/>
              <a:ext cx="156716" cy="170254"/>
            </a:xfrm>
            <a:custGeom>
              <a:avLst/>
              <a:gdLst>
                <a:gd name="connsiteX0" fmla="*/ 156716 w 156716"/>
                <a:gd name="connsiteY0" fmla="*/ 16436 h 170254"/>
                <a:gd name="connsiteX1" fmla="*/ 126197 w 156716"/>
                <a:gd name="connsiteY1" fmla="*/ 3522 h 170254"/>
                <a:gd name="connsiteX2" fmla="*/ 101543 w 156716"/>
                <a:gd name="connsiteY2" fmla="*/ 0 h 170254"/>
                <a:gd name="connsiteX3" fmla="*/ 2932 w 156716"/>
                <a:gd name="connsiteY3" fmla="*/ 77495 h 170254"/>
                <a:gd name="connsiteX4" fmla="*/ 18195 w 156716"/>
                <a:gd name="connsiteY4" fmla="*/ 158511 h 170254"/>
                <a:gd name="connsiteX5" fmla="*/ 27584 w 156716"/>
                <a:gd name="connsiteY5" fmla="*/ 170255 h 170254"/>
                <a:gd name="connsiteX6" fmla="*/ 156716 w 156716"/>
                <a:gd name="connsiteY6" fmla="*/ 16436 h 170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716" h="170254">
                  <a:moveTo>
                    <a:pt x="156716" y="16436"/>
                  </a:moveTo>
                  <a:cubicBezTo>
                    <a:pt x="147327" y="10567"/>
                    <a:pt x="136761" y="5868"/>
                    <a:pt x="126197" y="3522"/>
                  </a:cubicBezTo>
                  <a:cubicBezTo>
                    <a:pt x="117976" y="1177"/>
                    <a:pt x="109763" y="0"/>
                    <a:pt x="101543" y="0"/>
                  </a:cubicBezTo>
                  <a:cubicBezTo>
                    <a:pt x="54583" y="0"/>
                    <a:pt x="14666" y="31702"/>
                    <a:pt x="2932" y="77495"/>
                  </a:cubicBezTo>
                  <a:cubicBezTo>
                    <a:pt x="-4113" y="106851"/>
                    <a:pt x="1755" y="136207"/>
                    <a:pt x="18195" y="158511"/>
                  </a:cubicBezTo>
                  <a:cubicBezTo>
                    <a:pt x="20541" y="162033"/>
                    <a:pt x="24062" y="166733"/>
                    <a:pt x="27584" y="170255"/>
                  </a:cubicBezTo>
                  <a:cubicBezTo>
                    <a:pt x="48707" y="103328"/>
                    <a:pt x="95669" y="48138"/>
                    <a:pt x="156716" y="16436"/>
                  </a:cubicBezTo>
                  <a:close/>
                </a:path>
              </a:pathLst>
            </a:custGeom>
            <a:solidFill>
              <a:srgbClr val="59B4D9">
                <a:alpha val="3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7" name="Freeform: Shape 236">
              <a:extLst>
                <a:ext uri="{FF2B5EF4-FFF2-40B4-BE49-F238E27FC236}">
                  <a16:creationId xmlns:a16="http://schemas.microsoft.com/office/drawing/2014/main" id="{B6D7B407-87B6-4231-BB03-0CCBAE456314}"/>
                </a:ext>
              </a:extLst>
            </p:cNvPr>
            <p:cNvSpPr/>
            <p:nvPr/>
          </p:nvSpPr>
          <p:spPr>
            <a:xfrm>
              <a:off x="9823486" y="1753795"/>
              <a:ext cx="392185" cy="392186"/>
            </a:xfrm>
            <a:custGeom>
              <a:avLst/>
              <a:gdLst>
                <a:gd name="connsiteX0" fmla="*/ 370987 w 392185"/>
                <a:gd name="connsiteY0" fmla="*/ 70457 h 392186"/>
                <a:gd name="connsiteX1" fmla="*/ 281764 w 392185"/>
                <a:gd name="connsiteY1" fmla="*/ 4699 h 392186"/>
                <a:gd name="connsiteX2" fmla="*/ 246546 w 392185"/>
                <a:gd name="connsiteY2" fmla="*/ 0 h 392186"/>
                <a:gd name="connsiteX3" fmla="*/ 105663 w 392185"/>
                <a:gd name="connsiteY3" fmla="*/ 110373 h 392186"/>
                <a:gd name="connsiteX4" fmla="*/ 120928 w 392185"/>
                <a:gd name="connsiteY4" fmla="*/ 217224 h 392186"/>
                <a:gd name="connsiteX5" fmla="*/ 10566 w 392185"/>
                <a:gd name="connsiteY5" fmla="*/ 328782 h 392186"/>
                <a:gd name="connsiteX6" fmla="*/ 10566 w 392185"/>
                <a:gd name="connsiteY6" fmla="*/ 381619 h 392186"/>
                <a:gd name="connsiteX7" fmla="*/ 37564 w 392185"/>
                <a:gd name="connsiteY7" fmla="*/ 392186 h 392186"/>
                <a:gd name="connsiteX8" fmla="*/ 64562 w 392185"/>
                <a:gd name="connsiteY8" fmla="*/ 381619 h 392186"/>
                <a:gd name="connsiteX9" fmla="*/ 174916 w 392185"/>
                <a:gd name="connsiteY9" fmla="*/ 270069 h 392186"/>
                <a:gd name="connsiteX10" fmla="*/ 212488 w 392185"/>
                <a:gd name="connsiteY10" fmla="*/ 285335 h 392186"/>
                <a:gd name="connsiteX11" fmla="*/ 247706 w 392185"/>
                <a:gd name="connsiteY11" fmla="*/ 290034 h 392186"/>
                <a:gd name="connsiteX12" fmla="*/ 388588 w 392185"/>
                <a:gd name="connsiteY12" fmla="*/ 179662 h 392186"/>
                <a:gd name="connsiteX13" fmla="*/ 370987 w 392185"/>
                <a:gd name="connsiteY13" fmla="*/ 70457 h 392186"/>
                <a:gd name="connsiteX14" fmla="*/ 345157 w 392185"/>
                <a:gd name="connsiteY14" fmla="*/ 169094 h 392186"/>
                <a:gd name="connsiteX15" fmla="*/ 246546 w 392185"/>
                <a:gd name="connsiteY15" fmla="*/ 246588 h 392186"/>
                <a:gd name="connsiteX16" fmla="*/ 221892 w 392185"/>
                <a:gd name="connsiteY16" fmla="*/ 243066 h 392186"/>
                <a:gd name="connsiteX17" fmla="*/ 189020 w 392185"/>
                <a:gd name="connsiteY17" fmla="*/ 227799 h 392186"/>
                <a:gd name="connsiteX18" fmla="*/ 163189 w 392185"/>
                <a:gd name="connsiteY18" fmla="*/ 201965 h 392186"/>
                <a:gd name="connsiteX19" fmla="*/ 147926 w 392185"/>
                <a:gd name="connsiteY19" fmla="*/ 120949 h 392186"/>
                <a:gd name="connsiteX20" fmla="*/ 246537 w 392185"/>
                <a:gd name="connsiteY20" fmla="*/ 43454 h 392186"/>
                <a:gd name="connsiteX21" fmla="*/ 271191 w 392185"/>
                <a:gd name="connsiteY21" fmla="*/ 46977 h 392186"/>
                <a:gd name="connsiteX22" fmla="*/ 333415 w 392185"/>
                <a:gd name="connsiteY22" fmla="*/ 92768 h 392186"/>
                <a:gd name="connsiteX23" fmla="*/ 345157 w 392185"/>
                <a:gd name="connsiteY23" fmla="*/ 169094 h 39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185" h="392186">
                  <a:moveTo>
                    <a:pt x="370987" y="70457"/>
                  </a:moveTo>
                  <a:cubicBezTo>
                    <a:pt x="351032" y="37578"/>
                    <a:pt x="319328" y="14098"/>
                    <a:pt x="281764" y="4699"/>
                  </a:cubicBezTo>
                  <a:cubicBezTo>
                    <a:pt x="270022" y="2353"/>
                    <a:pt x="258287" y="0"/>
                    <a:pt x="246546" y="0"/>
                  </a:cubicBezTo>
                  <a:cubicBezTo>
                    <a:pt x="179630" y="0"/>
                    <a:pt x="122104" y="45792"/>
                    <a:pt x="105663" y="110373"/>
                  </a:cubicBezTo>
                  <a:cubicBezTo>
                    <a:pt x="96274" y="146774"/>
                    <a:pt x="102142" y="184344"/>
                    <a:pt x="120928" y="217224"/>
                  </a:cubicBezTo>
                  <a:lnTo>
                    <a:pt x="10566" y="328782"/>
                  </a:lnTo>
                  <a:cubicBezTo>
                    <a:pt x="-3522" y="342872"/>
                    <a:pt x="-3522" y="367529"/>
                    <a:pt x="10566" y="381619"/>
                  </a:cubicBezTo>
                  <a:cubicBezTo>
                    <a:pt x="18786" y="388663"/>
                    <a:pt x="28175" y="392186"/>
                    <a:pt x="37564" y="392186"/>
                  </a:cubicBezTo>
                  <a:cubicBezTo>
                    <a:pt x="46953" y="392186"/>
                    <a:pt x="56350" y="388663"/>
                    <a:pt x="64562" y="381619"/>
                  </a:cubicBezTo>
                  <a:lnTo>
                    <a:pt x="174916" y="270069"/>
                  </a:lnTo>
                  <a:cubicBezTo>
                    <a:pt x="186658" y="277113"/>
                    <a:pt x="199569" y="281813"/>
                    <a:pt x="212488" y="285335"/>
                  </a:cubicBezTo>
                  <a:cubicBezTo>
                    <a:pt x="224229" y="287681"/>
                    <a:pt x="235964" y="290034"/>
                    <a:pt x="247706" y="290034"/>
                  </a:cubicBezTo>
                  <a:cubicBezTo>
                    <a:pt x="314622" y="290034"/>
                    <a:pt x="372148" y="244242"/>
                    <a:pt x="388588" y="179662"/>
                  </a:cubicBezTo>
                  <a:cubicBezTo>
                    <a:pt x="396809" y="142083"/>
                    <a:pt x="390941" y="103336"/>
                    <a:pt x="370987" y="70457"/>
                  </a:cubicBezTo>
                  <a:close/>
                  <a:moveTo>
                    <a:pt x="345157" y="169094"/>
                  </a:moveTo>
                  <a:cubicBezTo>
                    <a:pt x="333415" y="214885"/>
                    <a:pt x="293498" y="246588"/>
                    <a:pt x="246546" y="246588"/>
                  </a:cubicBezTo>
                  <a:cubicBezTo>
                    <a:pt x="238325" y="246588"/>
                    <a:pt x="230112" y="245412"/>
                    <a:pt x="221892" y="243066"/>
                  </a:cubicBezTo>
                  <a:cubicBezTo>
                    <a:pt x="210150" y="239543"/>
                    <a:pt x="198416" y="234844"/>
                    <a:pt x="189020" y="227799"/>
                  </a:cubicBezTo>
                  <a:cubicBezTo>
                    <a:pt x="178454" y="220754"/>
                    <a:pt x="170233" y="211363"/>
                    <a:pt x="163189" y="201965"/>
                  </a:cubicBezTo>
                  <a:cubicBezTo>
                    <a:pt x="147926" y="178484"/>
                    <a:pt x="140882" y="150297"/>
                    <a:pt x="147926" y="120949"/>
                  </a:cubicBezTo>
                  <a:cubicBezTo>
                    <a:pt x="159668" y="75156"/>
                    <a:pt x="199584" y="43454"/>
                    <a:pt x="246537" y="43454"/>
                  </a:cubicBezTo>
                  <a:cubicBezTo>
                    <a:pt x="254757" y="43454"/>
                    <a:pt x="262970" y="44631"/>
                    <a:pt x="271191" y="46977"/>
                  </a:cubicBezTo>
                  <a:cubicBezTo>
                    <a:pt x="297020" y="54022"/>
                    <a:pt x="319328" y="69288"/>
                    <a:pt x="333415" y="92768"/>
                  </a:cubicBezTo>
                  <a:cubicBezTo>
                    <a:pt x="347503" y="116249"/>
                    <a:pt x="352201" y="143260"/>
                    <a:pt x="345157" y="169094"/>
                  </a:cubicBezTo>
                  <a:close/>
                </a:path>
              </a:pathLst>
            </a:custGeom>
            <a:solidFill>
              <a:schemeClr val="accent1">
                <a:lumMod val="75000"/>
              </a:scheme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Freeform: Shape 237">
              <a:extLst>
                <a:ext uri="{FF2B5EF4-FFF2-40B4-BE49-F238E27FC236}">
                  <a16:creationId xmlns:a16="http://schemas.microsoft.com/office/drawing/2014/main" id="{F6FEF158-6657-47A1-97BB-A1E8EB98A8CE}"/>
                </a:ext>
              </a:extLst>
            </p:cNvPr>
            <p:cNvSpPr/>
            <p:nvPr/>
          </p:nvSpPr>
          <p:spPr>
            <a:xfrm>
              <a:off x="9933606" y="1971025"/>
              <a:ext cx="64797" cy="64581"/>
            </a:xfrm>
            <a:custGeom>
              <a:avLst/>
              <a:gdLst>
                <a:gd name="connsiteX0" fmla="*/ 54232 w 64797"/>
                <a:gd name="connsiteY0" fmla="*/ 46969 h 64581"/>
                <a:gd name="connsiteX1" fmla="*/ 16659 w 64797"/>
                <a:gd name="connsiteY1" fmla="*/ 9391 h 64581"/>
                <a:gd name="connsiteX2" fmla="*/ 10793 w 64797"/>
                <a:gd name="connsiteY2" fmla="*/ 0 h 64581"/>
                <a:gd name="connsiteX3" fmla="*/ 658 w 64797"/>
                <a:gd name="connsiteY3" fmla="*/ 10238 h 64581"/>
                <a:gd name="connsiteX4" fmla="*/ 0 w 64797"/>
                <a:gd name="connsiteY4" fmla="*/ 10905 h 64581"/>
                <a:gd name="connsiteX5" fmla="*/ 4917 w 64797"/>
                <a:gd name="connsiteY5" fmla="*/ 18789 h 64581"/>
                <a:gd name="connsiteX6" fmla="*/ 46011 w 64797"/>
                <a:gd name="connsiteY6" fmla="*/ 61059 h 64581"/>
                <a:gd name="connsiteX7" fmla="*/ 53180 w 64797"/>
                <a:gd name="connsiteY7" fmla="*/ 64582 h 64581"/>
                <a:gd name="connsiteX8" fmla="*/ 64797 w 64797"/>
                <a:gd name="connsiteY8" fmla="*/ 52837 h 64581"/>
                <a:gd name="connsiteX9" fmla="*/ 54232 w 64797"/>
                <a:gd name="connsiteY9" fmla="*/ 46969 h 6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797" h="64581">
                  <a:moveTo>
                    <a:pt x="54232" y="46969"/>
                  </a:moveTo>
                  <a:cubicBezTo>
                    <a:pt x="38967" y="36401"/>
                    <a:pt x="27234" y="24657"/>
                    <a:pt x="16659" y="9391"/>
                  </a:cubicBezTo>
                  <a:cubicBezTo>
                    <a:pt x="14315" y="5869"/>
                    <a:pt x="13138" y="3523"/>
                    <a:pt x="10793" y="0"/>
                  </a:cubicBezTo>
                  <a:lnTo>
                    <a:pt x="658" y="10238"/>
                  </a:lnTo>
                  <a:lnTo>
                    <a:pt x="0" y="10905"/>
                  </a:lnTo>
                  <a:cubicBezTo>
                    <a:pt x="1177" y="13250"/>
                    <a:pt x="2573" y="16435"/>
                    <a:pt x="4917" y="18789"/>
                  </a:cubicBezTo>
                  <a:cubicBezTo>
                    <a:pt x="16659" y="35225"/>
                    <a:pt x="29571" y="49315"/>
                    <a:pt x="46011" y="61059"/>
                  </a:cubicBezTo>
                  <a:cubicBezTo>
                    <a:pt x="47187" y="62235"/>
                    <a:pt x="49658" y="63404"/>
                    <a:pt x="53180" y="64582"/>
                  </a:cubicBezTo>
                  <a:lnTo>
                    <a:pt x="64797" y="52837"/>
                  </a:lnTo>
                  <a:cubicBezTo>
                    <a:pt x="60106" y="49315"/>
                    <a:pt x="57753" y="49315"/>
                    <a:pt x="54232" y="46969"/>
                  </a:cubicBezTo>
                  <a:close/>
                </a:path>
              </a:pathLst>
            </a:custGeom>
            <a:solidFill>
              <a:srgbClr val="1E1E1E">
                <a:alpha val="5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9" name="Freeform: Shape 238">
              <a:extLst>
                <a:ext uri="{FF2B5EF4-FFF2-40B4-BE49-F238E27FC236}">
                  <a16:creationId xmlns:a16="http://schemas.microsoft.com/office/drawing/2014/main" id="{3F5693DB-69FF-4095-ACB0-F9DB6FA8D20A}"/>
                </a:ext>
              </a:extLst>
            </p:cNvPr>
            <p:cNvSpPr/>
            <p:nvPr/>
          </p:nvSpPr>
          <p:spPr>
            <a:xfrm>
              <a:off x="10036029" y="1840388"/>
              <a:ext cx="86281" cy="114781"/>
            </a:xfrm>
            <a:custGeom>
              <a:avLst/>
              <a:gdLst>
                <a:gd name="connsiteX0" fmla="*/ 0 w 86281"/>
                <a:gd name="connsiteY0" fmla="*/ 0 h 114781"/>
                <a:gd name="connsiteX1" fmla="*/ 86282 w 86281"/>
                <a:gd name="connsiteY1" fmla="*/ 57395 h 114781"/>
                <a:gd name="connsiteX2" fmla="*/ 0 w 86281"/>
                <a:gd name="connsiteY2" fmla="*/ 114782 h 114781"/>
                <a:gd name="connsiteX3" fmla="*/ 0 w 86281"/>
                <a:gd name="connsiteY3" fmla="*/ 0 h 114781"/>
              </a:gdLst>
              <a:ahLst/>
              <a:cxnLst>
                <a:cxn ang="0">
                  <a:pos x="connsiteX0" y="connsiteY0"/>
                </a:cxn>
                <a:cxn ang="0">
                  <a:pos x="connsiteX1" y="connsiteY1"/>
                </a:cxn>
                <a:cxn ang="0">
                  <a:pos x="connsiteX2" y="connsiteY2"/>
                </a:cxn>
                <a:cxn ang="0">
                  <a:pos x="connsiteX3" y="connsiteY3"/>
                </a:cxn>
              </a:cxnLst>
              <a:rect l="l" t="t" r="r" b="b"/>
              <a:pathLst>
                <a:path w="86281" h="114781">
                  <a:moveTo>
                    <a:pt x="0" y="0"/>
                  </a:moveTo>
                  <a:lnTo>
                    <a:pt x="86282" y="57395"/>
                  </a:lnTo>
                  <a:lnTo>
                    <a:pt x="0" y="114782"/>
                  </a:lnTo>
                  <a:lnTo>
                    <a:pt x="0" y="0"/>
                  </a:lnTo>
                  <a:close/>
                </a:path>
              </a:pathLst>
            </a:custGeom>
            <a:solidFill>
              <a:srgbClr val="59B4D9"/>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40" name="Group 239">
            <a:extLst>
              <a:ext uri="{FF2B5EF4-FFF2-40B4-BE49-F238E27FC236}">
                <a16:creationId xmlns:a16="http://schemas.microsoft.com/office/drawing/2014/main" id="{077D8414-3010-4D19-8EB9-033355374CF8}"/>
              </a:ext>
            </a:extLst>
          </p:cNvPr>
          <p:cNvGrpSpPr>
            <a:grpSpLocks noChangeAspect="1"/>
          </p:cNvGrpSpPr>
          <p:nvPr/>
        </p:nvGrpSpPr>
        <p:grpSpPr>
          <a:xfrm>
            <a:off x="7359959" y="1707103"/>
            <a:ext cx="343466" cy="344924"/>
            <a:chOff x="3053354" y="-148013"/>
            <a:chExt cx="2485712" cy="2496263"/>
          </a:xfrm>
        </p:grpSpPr>
        <p:sp>
          <p:nvSpPr>
            <p:cNvPr id="241" name="Freeform 39">
              <a:extLst>
                <a:ext uri="{FF2B5EF4-FFF2-40B4-BE49-F238E27FC236}">
                  <a16:creationId xmlns:a16="http://schemas.microsoft.com/office/drawing/2014/main" id="{8CF6E866-5281-4AC0-A0C8-9BD687D62693}"/>
                </a:ext>
              </a:extLst>
            </p:cNvPr>
            <p:cNvSpPr>
              <a:spLocks/>
            </p:cNvSpPr>
            <p:nvPr/>
          </p:nvSpPr>
          <p:spPr bwMode="auto">
            <a:xfrm>
              <a:off x="3053354" y="-148013"/>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2" name="Oval 40">
              <a:extLst>
                <a:ext uri="{FF2B5EF4-FFF2-40B4-BE49-F238E27FC236}">
                  <a16:creationId xmlns:a16="http://schemas.microsoft.com/office/drawing/2014/main" id="{3746B2B5-C4E5-4CCA-BDAB-A36F9A4B7204}"/>
                </a:ext>
              </a:extLst>
            </p:cNvPr>
            <p:cNvSpPr>
              <a:spLocks noChangeArrowheads="1"/>
            </p:cNvSpPr>
            <p:nvPr/>
          </p:nvSpPr>
          <p:spPr bwMode="auto">
            <a:xfrm>
              <a:off x="3317737" y="-148013"/>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3" name="Oval 42">
              <a:extLst>
                <a:ext uri="{FF2B5EF4-FFF2-40B4-BE49-F238E27FC236}">
                  <a16:creationId xmlns:a16="http://schemas.microsoft.com/office/drawing/2014/main" id="{DFC4E286-55F4-4052-B4E7-8015865F41C3}"/>
                </a:ext>
              </a:extLst>
            </p:cNvPr>
            <p:cNvSpPr>
              <a:spLocks noChangeArrowheads="1"/>
            </p:cNvSpPr>
            <p:nvPr/>
          </p:nvSpPr>
          <p:spPr bwMode="auto">
            <a:xfrm>
              <a:off x="4803462" y="-148013"/>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4" name="Oval 43">
              <a:extLst>
                <a:ext uri="{FF2B5EF4-FFF2-40B4-BE49-F238E27FC236}">
                  <a16:creationId xmlns:a16="http://schemas.microsoft.com/office/drawing/2014/main" id="{00E574F9-A3DF-4974-B03B-4C8F3826B589}"/>
                </a:ext>
              </a:extLst>
            </p:cNvPr>
            <p:cNvSpPr>
              <a:spLocks noChangeArrowheads="1"/>
            </p:cNvSpPr>
            <p:nvPr/>
          </p:nvSpPr>
          <p:spPr bwMode="auto">
            <a:xfrm>
              <a:off x="5079823" y="-148013"/>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5" name="Oval 44">
              <a:extLst>
                <a:ext uri="{FF2B5EF4-FFF2-40B4-BE49-F238E27FC236}">
                  <a16:creationId xmlns:a16="http://schemas.microsoft.com/office/drawing/2014/main" id="{CC63E864-C309-4874-852D-879EB4576712}"/>
                </a:ext>
              </a:extLst>
            </p:cNvPr>
            <p:cNvSpPr>
              <a:spLocks noChangeArrowheads="1"/>
            </p:cNvSpPr>
            <p:nvPr/>
          </p:nvSpPr>
          <p:spPr bwMode="auto">
            <a:xfrm>
              <a:off x="5356186" y="-148013"/>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6" name="Freeform 45">
              <a:extLst>
                <a:ext uri="{FF2B5EF4-FFF2-40B4-BE49-F238E27FC236}">
                  <a16:creationId xmlns:a16="http://schemas.microsoft.com/office/drawing/2014/main" id="{4B3315EB-00D1-430F-B05F-7E515F27D7DE}"/>
                </a:ext>
              </a:extLst>
            </p:cNvPr>
            <p:cNvSpPr>
              <a:spLocks/>
            </p:cNvSpPr>
            <p:nvPr/>
          </p:nvSpPr>
          <p:spPr bwMode="auto">
            <a:xfrm>
              <a:off x="3053354" y="110043"/>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7" name="Oval 49">
              <a:extLst>
                <a:ext uri="{FF2B5EF4-FFF2-40B4-BE49-F238E27FC236}">
                  <a16:creationId xmlns:a16="http://schemas.microsoft.com/office/drawing/2014/main" id="{00102F35-4E32-4F24-939C-1BFC647EA830}"/>
                </a:ext>
              </a:extLst>
            </p:cNvPr>
            <p:cNvSpPr>
              <a:spLocks noChangeArrowheads="1"/>
            </p:cNvSpPr>
            <p:nvPr/>
          </p:nvSpPr>
          <p:spPr bwMode="auto">
            <a:xfrm>
              <a:off x="5091144" y="328915"/>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8" name="Oval 50">
              <a:extLst>
                <a:ext uri="{FF2B5EF4-FFF2-40B4-BE49-F238E27FC236}">
                  <a16:creationId xmlns:a16="http://schemas.microsoft.com/office/drawing/2014/main" id="{F4E7407B-A8B6-49FE-9F20-3E038951D757}"/>
                </a:ext>
              </a:extLst>
            </p:cNvPr>
            <p:cNvSpPr>
              <a:spLocks noChangeArrowheads="1"/>
            </p:cNvSpPr>
            <p:nvPr/>
          </p:nvSpPr>
          <p:spPr bwMode="auto">
            <a:xfrm>
              <a:off x="5356186" y="328915"/>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9" name="Oval 55">
              <a:extLst>
                <a:ext uri="{FF2B5EF4-FFF2-40B4-BE49-F238E27FC236}">
                  <a16:creationId xmlns:a16="http://schemas.microsoft.com/office/drawing/2014/main" id="{2DC85A4C-3CD8-4FA0-9206-3E749FBE266F}"/>
                </a:ext>
              </a:extLst>
            </p:cNvPr>
            <p:cNvSpPr>
              <a:spLocks noChangeArrowheads="1"/>
            </p:cNvSpPr>
            <p:nvPr/>
          </p:nvSpPr>
          <p:spPr bwMode="auto">
            <a:xfrm>
              <a:off x="5091144" y="805843"/>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0" name="Oval 56">
              <a:extLst>
                <a:ext uri="{FF2B5EF4-FFF2-40B4-BE49-F238E27FC236}">
                  <a16:creationId xmlns:a16="http://schemas.microsoft.com/office/drawing/2014/main" id="{A922D808-0C3C-4091-8DDE-CCBC25B87832}"/>
                </a:ext>
              </a:extLst>
            </p:cNvPr>
            <p:cNvSpPr>
              <a:spLocks noChangeArrowheads="1"/>
            </p:cNvSpPr>
            <p:nvPr/>
          </p:nvSpPr>
          <p:spPr bwMode="auto">
            <a:xfrm>
              <a:off x="5356186" y="805843"/>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1" name="Freeform 60">
              <a:extLst>
                <a:ext uri="{FF2B5EF4-FFF2-40B4-BE49-F238E27FC236}">
                  <a16:creationId xmlns:a16="http://schemas.microsoft.com/office/drawing/2014/main" id="{36EDF14C-4219-47A8-A3E2-997116E96D07}"/>
                </a:ext>
              </a:extLst>
            </p:cNvPr>
            <p:cNvSpPr>
              <a:spLocks/>
            </p:cNvSpPr>
            <p:nvPr/>
          </p:nvSpPr>
          <p:spPr bwMode="auto">
            <a:xfrm>
              <a:off x="3053354" y="1678536"/>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2" name="Oval 61">
              <a:extLst>
                <a:ext uri="{FF2B5EF4-FFF2-40B4-BE49-F238E27FC236}">
                  <a16:creationId xmlns:a16="http://schemas.microsoft.com/office/drawing/2014/main" id="{1FC79202-9292-4F4E-8CDA-3FBC4BEE5E41}"/>
                </a:ext>
              </a:extLst>
            </p:cNvPr>
            <p:cNvSpPr>
              <a:spLocks noChangeArrowheads="1"/>
            </p:cNvSpPr>
            <p:nvPr/>
          </p:nvSpPr>
          <p:spPr bwMode="auto">
            <a:xfrm>
              <a:off x="3317737" y="1694253"/>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3" name="Freeform 63">
              <a:extLst>
                <a:ext uri="{FF2B5EF4-FFF2-40B4-BE49-F238E27FC236}">
                  <a16:creationId xmlns:a16="http://schemas.microsoft.com/office/drawing/2014/main" id="{0135BD52-B240-4C23-A466-3BCD2241F552}"/>
                </a:ext>
              </a:extLst>
            </p:cNvPr>
            <p:cNvSpPr>
              <a:spLocks/>
            </p:cNvSpPr>
            <p:nvPr/>
          </p:nvSpPr>
          <p:spPr bwMode="auto">
            <a:xfrm>
              <a:off x="3053354" y="2154819"/>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4" name="Oval 64">
              <a:extLst>
                <a:ext uri="{FF2B5EF4-FFF2-40B4-BE49-F238E27FC236}">
                  <a16:creationId xmlns:a16="http://schemas.microsoft.com/office/drawing/2014/main" id="{B75D18DB-62ED-46D9-81B1-C10CF3F736BF}"/>
                </a:ext>
              </a:extLst>
            </p:cNvPr>
            <p:cNvSpPr>
              <a:spLocks noChangeArrowheads="1"/>
            </p:cNvSpPr>
            <p:nvPr/>
          </p:nvSpPr>
          <p:spPr bwMode="auto">
            <a:xfrm>
              <a:off x="3317737" y="2154819"/>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5" name="Oval 65">
              <a:extLst>
                <a:ext uri="{FF2B5EF4-FFF2-40B4-BE49-F238E27FC236}">
                  <a16:creationId xmlns:a16="http://schemas.microsoft.com/office/drawing/2014/main" id="{164D468A-C5DE-4B8C-84A9-0079CAC1DAB7}"/>
                </a:ext>
              </a:extLst>
            </p:cNvPr>
            <p:cNvSpPr>
              <a:spLocks noChangeArrowheads="1"/>
            </p:cNvSpPr>
            <p:nvPr/>
          </p:nvSpPr>
          <p:spPr bwMode="auto">
            <a:xfrm>
              <a:off x="3846503" y="2154819"/>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6" name="Oval 44">
              <a:extLst>
                <a:ext uri="{FF2B5EF4-FFF2-40B4-BE49-F238E27FC236}">
                  <a16:creationId xmlns:a16="http://schemas.microsoft.com/office/drawing/2014/main" id="{8BB68122-4D78-4A9A-BEF6-E30D24FCC410}"/>
                </a:ext>
              </a:extLst>
            </p:cNvPr>
            <p:cNvSpPr>
              <a:spLocks noChangeArrowheads="1"/>
            </p:cNvSpPr>
            <p:nvPr/>
          </p:nvSpPr>
          <p:spPr bwMode="auto">
            <a:xfrm>
              <a:off x="5356186" y="1521236"/>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7" name="Oval 54">
              <a:extLst>
                <a:ext uri="{FF2B5EF4-FFF2-40B4-BE49-F238E27FC236}">
                  <a16:creationId xmlns:a16="http://schemas.microsoft.com/office/drawing/2014/main" id="{1FD746D7-1CD1-4161-AEE5-30E125471DE1}"/>
                </a:ext>
              </a:extLst>
            </p:cNvPr>
            <p:cNvSpPr>
              <a:spLocks noChangeArrowheads="1"/>
            </p:cNvSpPr>
            <p:nvPr/>
          </p:nvSpPr>
          <p:spPr bwMode="auto">
            <a:xfrm>
              <a:off x="4375269" y="2154819"/>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8" name="Rectangle: Top Corners Rounded 257">
              <a:extLst>
                <a:ext uri="{FF2B5EF4-FFF2-40B4-BE49-F238E27FC236}">
                  <a16:creationId xmlns:a16="http://schemas.microsoft.com/office/drawing/2014/main" id="{00F6DB8B-B9CC-469F-88BA-79FE1D211CAE}"/>
                </a:ext>
              </a:extLst>
            </p:cNvPr>
            <p:cNvSpPr/>
            <p:nvPr/>
          </p:nvSpPr>
          <p:spPr bwMode="auto">
            <a:xfrm rot="8100000">
              <a:off x="4664643" y="1068090"/>
              <a:ext cx="310882" cy="1280160"/>
            </a:xfrm>
            <a:prstGeom prst="round2SameRect">
              <a:avLst>
                <a:gd name="adj1" fmla="val 50000"/>
                <a:gd name="adj2" fmla="val 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Circle: Hollow 258">
              <a:extLst>
                <a:ext uri="{FF2B5EF4-FFF2-40B4-BE49-F238E27FC236}">
                  <a16:creationId xmlns:a16="http://schemas.microsoft.com/office/drawing/2014/main" id="{B3F967A8-DD89-4BBD-9EB2-F6468141ECF1}"/>
                </a:ext>
              </a:extLst>
            </p:cNvPr>
            <p:cNvSpPr/>
            <p:nvPr/>
          </p:nvSpPr>
          <p:spPr bwMode="auto">
            <a:xfrm>
              <a:off x="3197581" y="48395"/>
              <a:ext cx="1533514" cy="1533514"/>
            </a:xfrm>
            <a:prstGeom prst="donut">
              <a:avLst>
                <a:gd name="adj" fmla="val 12948"/>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0" name="Oval 64">
              <a:extLst>
                <a:ext uri="{FF2B5EF4-FFF2-40B4-BE49-F238E27FC236}">
                  <a16:creationId xmlns:a16="http://schemas.microsoft.com/office/drawing/2014/main" id="{22184EF1-FA0D-41D8-BD07-87B0A348909F}"/>
                </a:ext>
              </a:extLst>
            </p:cNvPr>
            <p:cNvSpPr>
              <a:spLocks noChangeArrowheads="1"/>
            </p:cNvSpPr>
            <p:nvPr/>
          </p:nvSpPr>
          <p:spPr bwMode="auto">
            <a:xfrm>
              <a:off x="3582120" y="2154819"/>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1" name="Oval 65">
              <a:extLst>
                <a:ext uri="{FF2B5EF4-FFF2-40B4-BE49-F238E27FC236}">
                  <a16:creationId xmlns:a16="http://schemas.microsoft.com/office/drawing/2014/main" id="{435C7B15-63BA-4CD7-8E31-A67EB29A1C2E}"/>
                </a:ext>
              </a:extLst>
            </p:cNvPr>
            <p:cNvSpPr>
              <a:spLocks noChangeArrowheads="1"/>
            </p:cNvSpPr>
            <p:nvPr/>
          </p:nvSpPr>
          <p:spPr bwMode="auto">
            <a:xfrm>
              <a:off x="4110886" y="2154819"/>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2" name="Oval 54">
              <a:extLst>
                <a:ext uri="{FF2B5EF4-FFF2-40B4-BE49-F238E27FC236}">
                  <a16:creationId xmlns:a16="http://schemas.microsoft.com/office/drawing/2014/main" id="{E3574D7E-9CD1-4677-8AC5-D5F20E432813}"/>
                </a:ext>
              </a:extLst>
            </p:cNvPr>
            <p:cNvSpPr>
              <a:spLocks noChangeArrowheads="1"/>
            </p:cNvSpPr>
            <p:nvPr/>
          </p:nvSpPr>
          <p:spPr bwMode="auto">
            <a:xfrm>
              <a:off x="4639654" y="2154819"/>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3" name="Freeform 60">
              <a:extLst>
                <a:ext uri="{FF2B5EF4-FFF2-40B4-BE49-F238E27FC236}">
                  <a16:creationId xmlns:a16="http://schemas.microsoft.com/office/drawing/2014/main" id="{93CFC4A1-55C1-4A3F-906E-5BE0B753848E}"/>
                </a:ext>
              </a:extLst>
            </p:cNvPr>
            <p:cNvSpPr>
              <a:spLocks/>
            </p:cNvSpPr>
            <p:nvPr/>
          </p:nvSpPr>
          <p:spPr bwMode="auto">
            <a:xfrm>
              <a:off x="3053354" y="1916678"/>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4" name="Oval 61">
              <a:extLst>
                <a:ext uri="{FF2B5EF4-FFF2-40B4-BE49-F238E27FC236}">
                  <a16:creationId xmlns:a16="http://schemas.microsoft.com/office/drawing/2014/main" id="{BBD02351-D309-4BD3-B1E9-B7830577FC24}"/>
                </a:ext>
              </a:extLst>
            </p:cNvPr>
            <p:cNvSpPr>
              <a:spLocks noChangeArrowheads="1"/>
            </p:cNvSpPr>
            <p:nvPr/>
          </p:nvSpPr>
          <p:spPr bwMode="auto">
            <a:xfrm>
              <a:off x="3317737" y="1923438"/>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5" name="Oval 62">
              <a:extLst>
                <a:ext uri="{FF2B5EF4-FFF2-40B4-BE49-F238E27FC236}">
                  <a16:creationId xmlns:a16="http://schemas.microsoft.com/office/drawing/2014/main" id="{A86D72E6-082D-4CE5-9335-1F92F484A548}"/>
                </a:ext>
              </a:extLst>
            </p:cNvPr>
            <p:cNvSpPr>
              <a:spLocks noChangeArrowheads="1"/>
            </p:cNvSpPr>
            <p:nvPr/>
          </p:nvSpPr>
          <p:spPr bwMode="auto">
            <a:xfrm>
              <a:off x="3582120" y="1923438"/>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6" name="Oval 61">
              <a:extLst>
                <a:ext uri="{FF2B5EF4-FFF2-40B4-BE49-F238E27FC236}">
                  <a16:creationId xmlns:a16="http://schemas.microsoft.com/office/drawing/2014/main" id="{427AC7CB-1D18-4ED3-94A7-AB214DC804F1}"/>
                </a:ext>
              </a:extLst>
            </p:cNvPr>
            <p:cNvSpPr>
              <a:spLocks noChangeArrowheads="1"/>
            </p:cNvSpPr>
            <p:nvPr/>
          </p:nvSpPr>
          <p:spPr bwMode="auto">
            <a:xfrm>
              <a:off x="3846503" y="1923438"/>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7" name="Oval 62">
              <a:extLst>
                <a:ext uri="{FF2B5EF4-FFF2-40B4-BE49-F238E27FC236}">
                  <a16:creationId xmlns:a16="http://schemas.microsoft.com/office/drawing/2014/main" id="{D26E076C-590F-4BDC-BBB3-7F99154DCDF7}"/>
                </a:ext>
              </a:extLst>
            </p:cNvPr>
            <p:cNvSpPr>
              <a:spLocks noChangeArrowheads="1"/>
            </p:cNvSpPr>
            <p:nvPr/>
          </p:nvSpPr>
          <p:spPr bwMode="auto">
            <a:xfrm>
              <a:off x="4110886" y="1923438"/>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8" name="Freeform 60">
              <a:extLst>
                <a:ext uri="{FF2B5EF4-FFF2-40B4-BE49-F238E27FC236}">
                  <a16:creationId xmlns:a16="http://schemas.microsoft.com/office/drawing/2014/main" id="{F85AE152-4452-49B9-8781-6AC2CACDE97D}"/>
                </a:ext>
              </a:extLst>
            </p:cNvPr>
            <p:cNvSpPr>
              <a:spLocks/>
            </p:cNvSpPr>
            <p:nvPr/>
          </p:nvSpPr>
          <p:spPr bwMode="auto">
            <a:xfrm>
              <a:off x="3053354" y="1440394"/>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9" name="Freeform 60">
              <a:extLst>
                <a:ext uri="{FF2B5EF4-FFF2-40B4-BE49-F238E27FC236}">
                  <a16:creationId xmlns:a16="http://schemas.microsoft.com/office/drawing/2014/main" id="{451085C6-67A4-4F05-933F-9E182D57E0FB}"/>
                </a:ext>
              </a:extLst>
            </p:cNvPr>
            <p:cNvSpPr>
              <a:spLocks/>
            </p:cNvSpPr>
            <p:nvPr/>
          </p:nvSpPr>
          <p:spPr bwMode="auto">
            <a:xfrm>
              <a:off x="3053354" y="1202252"/>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0" name="Oval 42">
              <a:extLst>
                <a:ext uri="{FF2B5EF4-FFF2-40B4-BE49-F238E27FC236}">
                  <a16:creationId xmlns:a16="http://schemas.microsoft.com/office/drawing/2014/main" id="{D8F39B2C-BC80-4B13-9C8A-12FBCC9DCF07}"/>
                </a:ext>
              </a:extLst>
            </p:cNvPr>
            <p:cNvSpPr>
              <a:spLocks noChangeArrowheads="1"/>
            </p:cNvSpPr>
            <p:nvPr/>
          </p:nvSpPr>
          <p:spPr bwMode="auto">
            <a:xfrm>
              <a:off x="4527101" y="-148013"/>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1" name="Oval 42">
              <a:extLst>
                <a:ext uri="{FF2B5EF4-FFF2-40B4-BE49-F238E27FC236}">
                  <a16:creationId xmlns:a16="http://schemas.microsoft.com/office/drawing/2014/main" id="{56033387-F4DF-4134-BA02-0FA2DABAFBFB}"/>
                </a:ext>
              </a:extLst>
            </p:cNvPr>
            <p:cNvSpPr>
              <a:spLocks noChangeArrowheads="1"/>
            </p:cNvSpPr>
            <p:nvPr/>
          </p:nvSpPr>
          <p:spPr bwMode="auto">
            <a:xfrm>
              <a:off x="4250740" y="-148013"/>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2" name="Oval 49">
              <a:extLst>
                <a:ext uri="{FF2B5EF4-FFF2-40B4-BE49-F238E27FC236}">
                  <a16:creationId xmlns:a16="http://schemas.microsoft.com/office/drawing/2014/main" id="{3D8608F8-F0AD-444D-865A-A51C71DAF427}"/>
                </a:ext>
              </a:extLst>
            </p:cNvPr>
            <p:cNvSpPr>
              <a:spLocks noChangeArrowheads="1"/>
            </p:cNvSpPr>
            <p:nvPr/>
          </p:nvSpPr>
          <p:spPr bwMode="auto">
            <a:xfrm>
              <a:off x="5091144" y="86447"/>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3" name="Oval 50">
              <a:extLst>
                <a:ext uri="{FF2B5EF4-FFF2-40B4-BE49-F238E27FC236}">
                  <a16:creationId xmlns:a16="http://schemas.microsoft.com/office/drawing/2014/main" id="{BFDFC19E-EDB0-45DC-901B-14F24E22ABEC}"/>
                </a:ext>
              </a:extLst>
            </p:cNvPr>
            <p:cNvSpPr>
              <a:spLocks noChangeArrowheads="1"/>
            </p:cNvSpPr>
            <p:nvPr/>
          </p:nvSpPr>
          <p:spPr bwMode="auto">
            <a:xfrm>
              <a:off x="5356186" y="90451"/>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4" name="Oval 50">
              <a:extLst>
                <a:ext uri="{FF2B5EF4-FFF2-40B4-BE49-F238E27FC236}">
                  <a16:creationId xmlns:a16="http://schemas.microsoft.com/office/drawing/2014/main" id="{7F0193D5-AAF6-433E-811D-AFBFD08358A6}"/>
                </a:ext>
              </a:extLst>
            </p:cNvPr>
            <p:cNvSpPr>
              <a:spLocks noChangeArrowheads="1"/>
            </p:cNvSpPr>
            <p:nvPr/>
          </p:nvSpPr>
          <p:spPr bwMode="auto">
            <a:xfrm>
              <a:off x="4803462" y="86447"/>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5" name="Oval 55">
              <a:extLst>
                <a:ext uri="{FF2B5EF4-FFF2-40B4-BE49-F238E27FC236}">
                  <a16:creationId xmlns:a16="http://schemas.microsoft.com/office/drawing/2014/main" id="{275255D9-D3F6-4F93-B904-DB472AAB0A53}"/>
                </a:ext>
              </a:extLst>
            </p:cNvPr>
            <p:cNvSpPr>
              <a:spLocks noChangeArrowheads="1"/>
            </p:cNvSpPr>
            <p:nvPr/>
          </p:nvSpPr>
          <p:spPr bwMode="auto">
            <a:xfrm>
              <a:off x="5091144" y="567379"/>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6" name="Oval 56">
              <a:extLst>
                <a:ext uri="{FF2B5EF4-FFF2-40B4-BE49-F238E27FC236}">
                  <a16:creationId xmlns:a16="http://schemas.microsoft.com/office/drawing/2014/main" id="{1BC00031-14D5-49F6-A6F7-57E96A063C12}"/>
                </a:ext>
              </a:extLst>
            </p:cNvPr>
            <p:cNvSpPr>
              <a:spLocks noChangeArrowheads="1"/>
            </p:cNvSpPr>
            <p:nvPr/>
          </p:nvSpPr>
          <p:spPr bwMode="auto">
            <a:xfrm>
              <a:off x="5356186" y="567379"/>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7" name="Oval 55">
              <a:extLst>
                <a:ext uri="{FF2B5EF4-FFF2-40B4-BE49-F238E27FC236}">
                  <a16:creationId xmlns:a16="http://schemas.microsoft.com/office/drawing/2014/main" id="{30C037A5-5305-499A-B408-5817AC643174}"/>
                </a:ext>
              </a:extLst>
            </p:cNvPr>
            <p:cNvSpPr>
              <a:spLocks noChangeArrowheads="1"/>
            </p:cNvSpPr>
            <p:nvPr/>
          </p:nvSpPr>
          <p:spPr bwMode="auto">
            <a:xfrm>
              <a:off x="5091144" y="1282771"/>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8" name="Oval 56">
              <a:extLst>
                <a:ext uri="{FF2B5EF4-FFF2-40B4-BE49-F238E27FC236}">
                  <a16:creationId xmlns:a16="http://schemas.microsoft.com/office/drawing/2014/main" id="{A5E0FFDB-B384-4F75-AB94-850C0DF96DBC}"/>
                </a:ext>
              </a:extLst>
            </p:cNvPr>
            <p:cNvSpPr>
              <a:spLocks noChangeArrowheads="1"/>
            </p:cNvSpPr>
            <p:nvPr/>
          </p:nvSpPr>
          <p:spPr bwMode="auto">
            <a:xfrm>
              <a:off x="5356186" y="1282771"/>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2" name="Oval 55">
              <a:extLst>
                <a:ext uri="{FF2B5EF4-FFF2-40B4-BE49-F238E27FC236}">
                  <a16:creationId xmlns:a16="http://schemas.microsoft.com/office/drawing/2014/main" id="{C96A17E8-3FFE-48F0-AB49-EA27307FBCC4}"/>
                </a:ext>
              </a:extLst>
            </p:cNvPr>
            <p:cNvSpPr>
              <a:spLocks noChangeArrowheads="1"/>
            </p:cNvSpPr>
            <p:nvPr/>
          </p:nvSpPr>
          <p:spPr bwMode="auto">
            <a:xfrm>
              <a:off x="5091144" y="1044307"/>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3" name="Oval 56">
              <a:extLst>
                <a:ext uri="{FF2B5EF4-FFF2-40B4-BE49-F238E27FC236}">
                  <a16:creationId xmlns:a16="http://schemas.microsoft.com/office/drawing/2014/main" id="{7AB64385-A796-40D0-83EE-330DD076D0A4}"/>
                </a:ext>
              </a:extLst>
            </p:cNvPr>
            <p:cNvSpPr>
              <a:spLocks noChangeArrowheads="1"/>
            </p:cNvSpPr>
            <p:nvPr/>
          </p:nvSpPr>
          <p:spPr bwMode="auto">
            <a:xfrm>
              <a:off x="5356186" y="1044307"/>
              <a:ext cx="182880" cy="182880"/>
            </a:xfrm>
            <a:prstGeom prst="rect">
              <a:avLst/>
            </a:prstGeom>
            <a:solidFill>
              <a:srgbClr val="0278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4" name="Group 283">
              <a:extLst>
                <a:ext uri="{FF2B5EF4-FFF2-40B4-BE49-F238E27FC236}">
                  <a16:creationId xmlns:a16="http://schemas.microsoft.com/office/drawing/2014/main" id="{6DC68E33-D662-4FA4-9CC4-C655BF533071}"/>
                </a:ext>
              </a:extLst>
            </p:cNvPr>
            <p:cNvGrpSpPr/>
            <p:nvPr/>
          </p:nvGrpSpPr>
          <p:grpSpPr>
            <a:xfrm rot="1948906">
              <a:off x="3832009" y="447450"/>
              <a:ext cx="324704" cy="554492"/>
              <a:chOff x="3766023" y="467679"/>
              <a:chExt cx="324704" cy="554492"/>
            </a:xfrm>
          </p:grpSpPr>
          <p:sp>
            <p:nvSpPr>
              <p:cNvPr id="285" name="Rectangle: Rounded Corners 284">
                <a:extLst>
                  <a:ext uri="{FF2B5EF4-FFF2-40B4-BE49-F238E27FC236}">
                    <a16:creationId xmlns:a16="http://schemas.microsoft.com/office/drawing/2014/main" id="{BA1BD7AE-0097-4FC4-9944-41F307D4ACDF}"/>
                  </a:ext>
                </a:extLst>
              </p:cNvPr>
              <p:cNvSpPr/>
              <p:nvPr/>
            </p:nvSpPr>
            <p:spPr bwMode="auto">
              <a:xfrm>
                <a:off x="3953566" y="467679"/>
                <a:ext cx="137161" cy="552194"/>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6" name="Rectangle: Rounded Corners 285">
                <a:extLst>
                  <a:ext uri="{FF2B5EF4-FFF2-40B4-BE49-F238E27FC236}">
                    <a16:creationId xmlns:a16="http://schemas.microsoft.com/office/drawing/2014/main" id="{964AB05A-ED53-4990-9C72-9EEAA467C3EA}"/>
                  </a:ext>
                </a:extLst>
              </p:cNvPr>
              <p:cNvSpPr/>
              <p:nvPr/>
            </p:nvSpPr>
            <p:spPr bwMode="auto">
              <a:xfrm rot="16453605">
                <a:off x="3856516" y="794517"/>
                <a:ext cx="137161" cy="318147"/>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87" name="Group 286">
            <a:extLst>
              <a:ext uri="{FF2B5EF4-FFF2-40B4-BE49-F238E27FC236}">
                <a16:creationId xmlns:a16="http://schemas.microsoft.com/office/drawing/2014/main" id="{76BFD651-D960-4CE7-B6B2-730E700568F0}"/>
              </a:ext>
            </a:extLst>
          </p:cNvPr>
          <p:cNvGrpSpPr/>
          <p:nvPr/>
        </p:nvGrpSpPr>
        <p:grpSpPr>
          <a:xfrm>
            <a:off x="6231428" y="2765572"/>
            <a:ext cx="382674" cy="381336"/>
            <a:chOff x="5003098" y="3465627"/>
            <a:chExt cx="911033" cy="907847"/>
          </a:xfrm>
        </p:grpSpPr>
        <p:sp>
          <p:nvSpPr>
            <p:cNvPr id="288" name="L-Shape 287">
              <a:extLst>
                <a:ext uri="{FF2B5EF4-FFF2-40B4-BE49-F238E27FC236}">
                  <a16:creationId xmlns:a16="http://schemas.microsoft.com/office/drawing/2014/main" id="{04F9A135-0C1C-44F9-BD42-38D749F7758E}"/>
                </a:ext>
              </a:extLst>
            </p:cNvPr>
            <p:cNvSpPr/>
            <p:nvPr/>
          </p:nvSpPr>
          <p:spPr bwMode="auto">
            <a:xfrm rot="5400000">
              <a:off x="5003098" y="3465627"/>
              <a:ext cx="195342" cy="195342"/>
            </a:xfrm>
            <a:prstGeom prst="corner">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9" name="L-Shape 288">
              <a:extLst>
                <a:ext uri="{FF2B5EF4-FFF2-40B4-BE49-F238E27FC236}">
                  <a16:creationId xmlns:a16="http://schemas.microsoft.com/office/drawing/2014/main" id="{4E72369F-4F28-4163-9276-2D0D27CEA550}"/>
                </a:ext>
              </a:extLst>
            </p:cNvPr>
            <p:cNvSpPr/>
            <p:nvPr/>
          </p:nvSpPr>
          <p:spPr bwMode="auto">
            <a:xfrm rot="16200000" flipH="1">
              <a:off x="5718789" y="3465627"/>
              <a:ext cx="195342" cy="195342"/>
            </a:xfrm>
            <a:prstGeom prst="corner">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0" name="L-Shape 289">
              <a:extLst>
                <a:ext uri="{FF2B5EF4-FFF2-40B4-BE49-F238E27FC236}">
                  <a16:creationId xmlns:a16="http://schemas.microsoft.com/office/drawing/2014/main" id="{EE33035F-4565-43B3-B9BD-698DFA0A80EB}"/>
                </a:ext>
              </a:extLst>
            </p:cNvPr>
            <p:cNvSpPr/>
            <p:nvPr/>
          </p:nvSpPr>
          <p:spPr bwMode="auto">
            <a:xfrm rot="16200000" flipV="1">
              <a:off x="5003098" y="4178132"/>
              <a:ext cx="195342" cy="195342"/>
            </a:xfrm>
            <a:prstGeom prst="corner">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1" name="L-Shape 290">
              <a:extLst>
                <a:ext uri="{FF2B5EF4-FFF2-40B4-BE49-F238E27FC236}">
                  <a16:creationId xmlns:a16="http://schemas.microsoft.com/office/drawing/2014/main" id="{B93F0923-20A6-4722-AA66-E7EC4C10BD50}"/>
                </a:ext>
              </a:extLst>
            </p:cNvPr>
            <p:cNvSpPr/>
            <p:nvPr/>
          </p:nvSpPr>
          <p:spPr bwMode="auto">
            <a:xfrm rot="5400000" flipH="1" flipV="1">
              <a:off x="5718789" y="4178132"/>
              <a:ext cx="195342" cy="195342"/>
            </a:xfrm>
            <a:prstGeom prst="corner">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2" name="Rectangle 291">
              <a:extLst>
                <a:ext uri="{FF2B5EF4-FFF2-40B4-BE49-F238E27FC236}">
                  <a16:creationId xmlns:a16="http://schemas.microsoft.com/office/drawing/2014/main" id="{170E6457-CB85-4940-9534-70C8F47C5EB4}"/>
                </a:ext>
              </a:extLst>
            </p:cNvPr>
            <p:cNvSpPr/>
            <p:nvPr/>
          </p:nvSpPr>
          <p:spPr bwMode="auto">
            <a:xfrm>
              <a:off x="5098524" y="3706435"/>
              <a:ext cx="195342" cy="332701"/>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3" name="Rectangle 292">
              <a:extLst>
                <a:ext uri="{FF2B5EF4-FFF2-40B4-BE49-F238E27FC236}">
                  <a16:creationId xmlns:a16="http://schemas.microsoft.com/office/drawing/2014/main" id="{D8E76F99-2107-4B9A-995D-229F629F5EA0}"/>
                </a:ext>
              </a:extLst>
            </p:cNvPr>
            <p:cNvSpPr/>
            <p:nvPr/>
          </p:nvSpPr>
          <p:spPr bwMode="auto">
            <a:xfrm>
              <a:off x="5340386" y="3571039"/>
              <a:ext cx="195342" cy="332701"/>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4" name="Rectangle 293">
              <a:extLst>
                <a:ext uri="{FF2B5EF4-FFF2-40B4-BE49-F238E27FC236}">
                  <a16:creationId xmlns:a16="http://schemas.microsoft.com/office/drawing/2014/main" id="{A8657169-C14E-467A-9AA6-50E60CAD684F}"/>
                </a:ext>
              </a:extLst>
            </p:cNvPr>
            <p:cNvSpPr/>
            <p:nvPr/>
          </p:nvSpPr>
          <p:spPr bwMode="auto">
            <a:xfrm>
              <a:off x="5340386" y="3935721"/>
              <a:ext cx="195342" cy="332701"/>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Rectangle 294">
              <a:extLst>
                <a:ext uri="{FF2B5EF4-FFF2-40B4-BE49-F238E27FC236}">
                  <a16:creationId xmlns:a16="http://schemas.microsoft.com/office/drawing/2014/main" id="{C30417FC-78EC-4AF8-93B5-3AAD53A64629}"/>
                </a:ext>
              </a:extLst>
            </p:cNvPr>
            <p:cNvSpPr/>
            <p:nvPr/>
          </p:nvSpPr>
          <p:spPr bwMode="auto">
            <a:xfrm>
              <a:off x="5582248" y="3835779"/>
              <a:ext cx="195342" cy="332701"/>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3" name="Title 2">
            <a:extLst>
              <a:ext uri="{FF2B5EF4-FFF2-40B4-BE49-F238E27FC236}">
                <a16:creationId xmlns:a16="http://schemas.microsoft.com/office/drawing/2014/main" id="{35FF1FCF-AE77-4E8E-85C9-2EE264E3A061}"/>
              </a:ext>
            </a:extLst>
          </p:cNvPr>
          <p:cNvSpPr txBox="1">
            <a:spLocks/>
          </p:cNvSpPr>
          <p:nvPr/>
        </p:nvSpPr>
        <p:spPr>
          <a:xfrm>
            <a:off x="1553938" y="6032608"/>
            <a:ext cx="9323093" cy="307777"/>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rgbClr val="FFFFFF">
                    <a:lumMod val="75000"/>
                  </a:srgbClr>
                </a:solidFill>
                <a:effectLst/>
                <a:uLnTx/>
                <a:uFillTx/>
                <a:latin typeface="Segoe UI Semibold"/>
                <a:ea typeface="+mn-ea"/>
                <a:cs typeface="Segoe UI" pitchFamily="34" charset="0"/>
              </a:rPr>
              <a:t>Azure</a:t>
            </a:r>
          </a:p>
        </p:txBody>
      </p:sp>
      <p:sp>
        <p:nvSpPr>
          <p:cNvPr id="5" name="Title 4">
            <a:extLst>
              <a:ext uri="{FF2B5EF4-FFF2-40B4-BE49-F238E27FC236}">
                <a16:creationId xmlns:a16="http://schemas.microsoft.com/office/drawing/2014/main" id="{802D40E1-78DD-4AFD-AD30-1584DADF8925}"/>
              </a:ext>
            </a:extLst>
          </p:cNvPr>
          <p:cNvSpPr>
            <a:spLocks noGrp="1"/>
          </p:cNvSpPr>
          <p:nvPr>
            <p:ph type="title"/>
          </p:nvPr>
        </p:nvSpPr>
        <p:spPr/>
        <p:txBody>
          <a:bodyPr/>
          <a:lstStyle/>
          <a:p>
            <a:r>
              <a:rPr lang="en-US"/>
              <a:t>Azure AI</a:t>
            </a:r>
          </a:p>
        </p:txBody>
      </p:sp>
    </p:spTree>
    <p:extLst>
      <p:ext uri="{BB962C8B-B14F-4D97-AF65-F5344CB8AC3E}">
        <p14:creationId xmlns:p14="http://schemas.microsoft.com/office/powerpoint/2010/main" val="28039930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16"/>
                                        </p:tgtEl>
                                        <p:attrNameLst>
                                          <p:attrName>style.visibility</p:attrName>
                                        </p:attrNameLst>
                                      </p:cBhvr>
                                      <p:to>
                                        <p:strVal val="visible"/>
                                      </p:to>
                                    </p:set>
                                    <p:animEffect transition="in" filter="fade">
                                      <p:cBhvr>
                                        <p:cTn id="7" dur="1000"/>
                                        <p:tgtEl>
                                          <p:spTgt spid="316"/>
                                        </p:tgtEl>
                                      </p:cBhvr>
                                    </p:animEffect>
                                    <p:anim calcmode="lin" valueType="num">
                                      <p:cBhvr>
                                        <p:cTn id="8" dur="1000" fill="hold"/>
                                        <p:tgtEl>
                                          <p:spTgt spid="316"/>
                                        </p:tgtEl>
                                        <p:attrNameLst>
                                          <p:attrName>ppt_x</p:attrName>
                                        </p:attrNameLst>
                                      </p:cBhvr>
                                      <p:tavLst>
                                        <p:tav tm="0">
                                          <p:val>
                                            <p:strVal val="#ppt_x"/>
                                          </p:val>
                                        </p:tav>
                                        <p:tav tm="100000">
                                          <p:val>
                                            <p:strVal val="#ppt_x"/>
                                          </p:val>
                                        </p:tav>
                                      </p:tavLst>
                                    </p:anim>
                                    <p:anim calcmode="lin" valueType="num">
                                      <p:cBhvr>
                                        <p:cTn id="9" dur="1000" fill="hold"/>
                                        <p:tgtEl>
                                          <p:spTgt spid="31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279"/>
                                        </p:tgtEl>
                                        <p:attrNameLst>
                                          <p:attrName>style.visibility</p:attrName>
                                        </p:attrNameLst>
                                      </p:cBhvr>
                                      <p:to>
                                        <p:strVal val="visible"/>
                                      </p:to>
                                    </p:set>
                                    <p:animEffect transition="in" filter="fade">
                                      <p:cBhvr>
                                        <p:cTn id="17" dur="1000"/>
                                        <p:tgtEl>
                                          <p:spTgt spid="279"/>
                                        </p:tgtEl>
                                      </p:cBhvr>
                                    </p:animEffect>
                                    <p:anim calcmode="lin" valueType="num">
                                      <p:cBhvr>
                                        <p:cTn id="18" dur="1000" fill="hold"/>
                                        <p:tgtEl>
                                          <p:spTgt spid="279"/>
                                        </p:tgtEl>
                                        <p:attrNameLst>
                                          <p:attrName>ppt_x</p:attrName>
                                        </p:attrNameLst>
                                      </p:cBhvr>
                                      <p:tavLst>
                                        <p:tav tm="0">
                                          <p:val>
                                            <p:strVal val="#ppt_x"/>
                                          </p:val>
                                        </p:tav>
                                        <p:tav tm="100000">
                                          <p:val>
                                            <p:strVal val="#ppt_x"/>
                                          </p:val>
                                        </p:tav>
                                      </p:tavLst>
                                    </p:anim>
                                    <p:anim calcmode="lin" valueType="num">
                                      <p:cBhvr>
                                        <p:cTn id="19" dur="1000" fill="hold"/>
                                        <p:tgtEl>
                                          <p:spTgt spid="27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80"/>
                                        </p:tgtEl>
                                        <p:attrNameLst>
                                          <p:attrName>style.visibility</p:attrName>
                                        </p:attrNameLst>
                                      </p:cBhvr>
                                      <p:to>
                                        <p:strVal val="visible"/>
                                      </p:to>
                                    </p:set>
                                    <p:animEffect transition="in" filter="fade">
                                      <p:cBhvr>
                                        <p:cTn id="22" dur="1000"/>
                                        <p:tgtEl>
                                          <p:spTgt spid="280"/>
                                        </p:tgtEl>
                                      </p:cBhvr>
                                    </p:animEffect>
                                    <p:anim calcmode="lin" valueType="num">
                                      <p:cBhvr>
                                        <p:cTn id="23" dur="1000" fill="hold"/>
                                        <p:tgtEl>
                                          <p:spTgt spid="280"/>
                                        </p:tgtEl>
                                        <p:attrNameLst>
                                          <p:attrName>ppt_x</p:attrName>
                                        </p:attrNameLst>
                                      </p:cBhvr>
                                      <p:tavLst>
                                        <p:tav tm="0">
                                          <p:val>
                                            <p:strVal val="#ppt_x"/>
                                          </p:val>
                                        </p:tav>
                                        <p:tav tm="100000">
                                          <p:val>
                                            <p:strVal val="#ppt_x"/>
                                          </p:val>
                                        </p:tav>
                                      </p:tavLst>
                                    </p:anim>
                                    <p:anim calcmode="lin" valueType="num">
                                      <p:cBhvr>
                                        <p:cTn id="24" dur="1000" fill="hold"/>
                                        <p:tgtEl>
                                          <p:spTgt spid="280"/>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281"/>
                                        </p:tgtEl>
                                        <p:attrNameLst>
                                          <p:attrName>style.visibility</p:attrName>
                                        </p:attrNameLst>
                                      </p:cBhvr>
                                      <p:to>
                                        <p:strVal val="visible"/>
                                      </p:to>
                                    </p:set>
                                    <p:animEffect transition="in" filter="fade">
                                      <p:cBhvr>
                                        <p:cTn id="27" dur="1000"/>
                                        <p:tgtEl>
                                          <p:spTgt spid="281"/>
                                        </p:tgtEl>
                                      </p:cBhvr>
                                    </p:animEffect>
                                    <p:anim calcmode="lin" valueType="num">
                                      <p:cBhvr>
                                        <p:cTn id="28" dur="1000" fill="hold"/>
                                        <p:tgtEl>
                                          <p:spTgt spid="281"/>
                                        </p:tgtEl>
                                        <p:attrNameLst>
                                          <p:attrName>ppt_x</p:attrName>
                                        </p:attrNameLst>
                                      </p:cBhvr>
                                      <p:tavLst>
                                        <p:tav tm="0">
                                          <p:val>
                                            <p:strVal val="#ppt_x"/>
                                          </p:val>
                                        </p:tav>
                                        <p:tav tm="100000">
                                          <p:val>
                                            <p:strVal val="#ppt_x"/>
                                          </p:val>
                                        </p:tav>
                                      </p:tavLst>
                                    </p:anim>
                                    <p:anim calcmode="lin" valueType="num">
                                      <p:cBhvr>
                                        <p:cTn id="29" dur="1000" fill="hold"/>
                                        <p:tgtEl>
                                          <p:spTgt spid="281"/>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62"/>
                                        </p:tgtEl>
                                        <p:attrNameLst>
                                          <p:attrName>style.visibility</p:attrName>
                                        </p:attrNameLst>
                                      </p:cBhvr>
                                      <p:to>
                                        <p:strVal val="visible"/>
                                      </p:to>
                                    </p:set>
                                    <p:animEffect transition="in" filter="fade">
                                      <p:cBhvr>
                                        <p:cTn id="32" dur="1000"/>
                                        <p:tgtEl>
                                          <p:spTgt spid="62"/>
                                        </p:tgtEl>
                                      </p:cBhvr>
                                    </p:animEffect>
                                    <p:anim calcmode="lin" valueType="num">
                                      <p:cBhvr>
                                        <p:cTn id="33" dur="1000" fill="hold"/>
                                        <p:tgtEl>
                                          <p:spTgt spid="62"/>
                                        </p:tgtEl>
                                        <p:attrNameLst>
                                          <p:attrName>ppt_x</p:attrName>
                                        </p:attrNameLst>
                                      </p:cBhvr>
                                      <p:tavLst>
                                        <p:tav tm="0">
                                          <p:val>
                                            <p:strVal val="#ppt_x"/>
                                          </p:val>
                                        </p:tav>
                                        <p:tav tm="100000">
                                          <p:val>
                                            <p:strVal val="#ppt_x"/>
                                          </p:val>
                                        </p:tav>
                                      </p:tavLst>
                                    </p:anim>
                                    <p:anim calcmode="lin" valueType="num">
                                      <p:cBhvr>
                                        <p:cTn id="34" dur="1000" fill="hold"/>
                                        <p:tgtEl>
                                          <p:spTgt spid="62"/>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64"/>
                                        </p:tgtEl>
                                        <p:attrNameLst>
                                          <p:attrName>style.visibility</p:attrName>
                                        </p:attrNameLst>
                                      </p:cBhvr>
                                      <p:to>
                                        <p:strVal val="visible"/>
                                      </p:to>
                                    </p:set>
                                    <p:animEffect transition="in" filter="fade">
                                      <p:cBhvr>
                                        <p:cTn id="37" dur="1000"/>
                                        <p:tgtEl>
                                          <p:spTgt spid="64"/>
                                        </p:tgtEl>
                                      </p:cBhvr>
                                    </p:animEffect>
                                    <p:anim calcmode="lin" valueType="num">
                                      <p:cBhvr>
                                        <p:cTn id="38" dur="1000" fill="hold"/>
                                        <p:tgtEl>
                                          <p:spTgt spid="64"/>
                                        </p:tgtEl>
                                        <p:attrNameLst>
                                          <p:attrName>ppt_x</p:attrName>
                                        </p:attrNameLst>
                                      </p:cBhvr>
                                      <p:tavLst>
                                        <p:tav tm="0">
                                          <p:val>
                                            <p:strVal val="#ppt_x"/>
                                          </p:val>
                                        </p:tav>
                                        <p:tav tm="100000">
                                          <p:val>
                                            <p:strVal val="#ppt_x"/>
                                          </p:val>
                                        </p:tav>
                                      </p:tavLst>
                                    </p:anim>
                                    <p:anim calcmode="lin" valueType="num">
                                      <p:cBhvr>
                                        <p:cTn id="39" dur="1000" fill="hold"/>
                                        <p:tgtEl>
                                          <p:spTgt spid="64"/>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181"/>
                                        </p:tgtEl>
                                        <p:attrNameLst>
                                          <p:attrName>style.visibility</p:attrName>
                                        </p:attrNameLst>
                                      </p:cBhvr>
                                      <p:to>
                                        <p:strVal val="visible"/>
                                      </p:to>
                                    </p:set>
                                    <p:animEffect transition="in" filter="fade">
                                      <p:cBhvr>
                                        <p:cTn id="42" dur="1000"/>
                                        <p:tgtEl>
                                          <p:spTgt spid="181"/>
                                        </p:tgtEl>
                                      </p:cBhvr>
                                    </p:animEffect>
                                    <p:anim calcmode="lin" valueType="num">
                                      <p:cBhvr>
                                        <p:cTn id="43" dur="1000" fill="hold"/>
                                        <p:tgtEl>
                                          <p:spTgt spid="181"/>
                                        </p:tgtEl>
                                        <p:attrNameLst>
                                          <p:attrName>ppt_x</p:attrName>
                                        </p:attrNameLst>
                                      </p:cBhvr>
                                      <p:tavLst>
                                        <p:tav tm="0">
                                          <p:val>
                                            <p:strVal val="#ppt_x"/>
                                          </p:val>
                                        </p:tav>
                                        <p:tav tm="100000">
                                          <p:val>
                                            <p:strVal val="#ppt_x"/>
                                          </p:val>
                                        </p:tav>
                                      </p:tavLst>
                                    </p:anim>
                                    <p:anim calcmode="lin" valueType="num">
                                      <p:cBhvr>
                                        <p:cTn id="44" dur="1000" fill="hold"/>
                                        <p:tgtEl>
                                          <p:spTgt spid="181"/>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197"/>
                                        </p:tgtEl>
                                        <p:attrNameLst>
                                          <p:attrName>style.visibility</p:attrName>
                                        </p:attrNameLst>
                                      </p:cBhvr>
                                      <p:to>
                                        <p:strVal val="visible"/>
                                      </p:to>
                                    </p:set>
                                    <p:animEffect transition="in" filter="fade">
                                      <p:cBhvr>
                                        <p:cTn id="47" dur="1000"/>
                                        <p:tgtEl>
                                          <p:spTgt spid="197"/>
                                        </p:tgtEl>
                                      </p:cBhvr>
                                    </p:animEffect>
                                    <p:anim calcmode="lin" valueType="num">
                                      <p:cBhvr>
                                        <p:cTn id="48" dur="1000" fill="hold"/>
                                        <p:tgtEl>
                                          <p:spTgt spid="197"/>
                                        </p:tgtEl>
                                        <p:attrNameLst>
                                          <p:attrName>ppt_x</p:attrName>
                                        </p:attrNameLst>
                                      </p:cBhvr>
                                      <p:tavLst>
                                        <p:tav tm="0">
                                          <p:val>
                                            <p:strVal val="#ppt_x"/>
                                          </p:val>
                                        </p:tav>
                                        <p:tav tm="100000">
                                          <p:val>
                                            <p:strVal val="#ppt_x"/>
                                          </p:val>
                                        </p:tav>
                                      </p:tavLst>
                                    </p:anim>
                                    <p:anim calcmode="lin" valueType="num">
                                      <p:cBhvr>
                                        <p:cTn id="49" dur="1000" fill="hold"/>
                                        <p:tgtEl>
                                          <p:spTgt spid="197"/>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65"/>
                                        </p:tgtEl>
                                        <p:attrNameLst>
                                          <p:attrName>style.visibility</p:attrName>
                                        </p:attrNameLst>
                                      </p:cBhvr>
                                      <p:to>
                                        <p:strVal val="visible"/>
                                      </p:to>
                                    </p:set>
                                    <p:animEffect transition="in" filter="fade">
                                      <p:cBhvr>
                                        <p:cTn id="52" dur="1000"/>
                                        <p:tgtEl>
                                          <p:spTgt spid="65"/>
                                        </p:tgtEl>
                                      </p:cBhvr>
                                    </p:animEffect>
                                    <p:anim calcmode="lin" valueType="num">
                                      <p:cBhvr>
                                        <p:cTn id="53" dur="1000" fill="hold"/>
                                        <p:tgtEl>
                                          <p:spTgt spid="65"/>
                                        </p:tgtEl>
                                        <p:attrNameLst>
                                          <p:attrName>ppt_x</p:attrName>
                                        </p:attrNameLst>
                                      </p:cBhvr>
                                      <p:tavLst>
                                        <p:tav tm="0">
                                          <p:val>
                                            <p:strVal val="#ppt_x"/>
                                          </p:val>
                                        </p:tav>
                                        <p:tav tm="100000">
                                          <p:val>
                                            <p:strVal val="#ppt_x"/>
                                          </p:val>
                                        </p:tav>
                                      </p:tavLst>
                                    </p:anim>
                                    <p:anim calcmode="lin" valueType="num">
                                      <p:cBhvr>
                                        <p:cTn id="54" dur="1000" fill="hold"/>
                                        <p:tgtEl>
                                          <p:spTgt spid="65"/>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66"/>
                                        </p:tgtEl>
                                        <p:attrNameLst>
                                          <p:attrName>style.visibility</p:attrName>
                                        </p:attrNameLst>
                                      </p:cBhvr>
                                      <p:to>
                                        <p:strVal val="visible"/>
                                      </p:to>
                                    </p:set>
                                    <p:animEffect transition="in" filter="fade">
                                      <p:cBhvr>
                                        <p:cTn id="57" dur="1000"/>
                                        <p:tgtEl>
                                          <p:spTgt spid="66"/>
                                        </p:tgtEl>
                                      </p:cBhvr>
                                    </p:animEffect>
                                    <p:anim calcmode="lin" valueType="num">
                                      <p:cBhvr>
                                        <p:cTn id="58" dur="1000" fill="hold"/>
                                        <p:tgtEl>
                                          <p:spTgt spid="66"/>
                                        </p:tgtEl>
                                        <p:attrNameLst>
                                          <p:attrName>ppt_x</p:attrName>
                                        </p:attrNameLst>
                                      </p:cBhvr>
                                      <p:tavLst>
                                        <p:tav tm="0">
                                          <p:val>
                                            <p:strVal val="#ppt_x"/>
                                          </p:val>
                                        </p:tav>
                                        <p:tav tm="100000">
                                          <p:val>
                                            <p:strVal val="#ppt_x"/>
                                          </p:val>
                                        </p:tav>
                                      </p:tavLst>
                                    </p:anim>
                                    <p:anim calcmode="lin" valueType="num">
                                      <p:cBhvr>
                                        <p:cTn id="59" dur="1000" fill="hold"/>
                                        <p:tgtEl>
                                          <p:spTgt spid="66"/>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67"/>
                                        </p:tgtEl>
                                        <p:attrNameLst>
                                          <p:attrName>style.visibility</p:attrName>
                                        </p:attrNameLst>
                                      </p:cBhvr>
                                      <p:to>
                                        <p:strVal val="visible"/>
                                      </p:to>
                                    </p:set>
                                    <p:animEffect transition="in" filter="fade">
                                      <p:cBhvr>
                                        <p:cTn id="62" dur="1000"/>
                                        <p:tgtEl>
                                          <p:spTgt spid="67"/>
                                        </p:tgtEl>
                                      </p:cBhvr>
                                    </p:animEffect>
                                    <p:anim calcmode="lin" valueType="num">
                                      <p:cBhvr>
                                        <p:cTn id="63" dur="1000" fill="hold"/>
                                        <p:tgtEl>
                                          <p:spTgt spid="67"/>
                                        </p:tgtEl>
                                        <p:attrNameLst>
                                          <p:attrName>ppt_x</p:attrName>
                                        </p:attrNameLst>
                                      </p:cBhvr>
                                      <p:tavLst>
                                        <p:tav tm="0">
                                          <p:val>
                                            <p:strVal val="#ppt_x"/>
                                          </p:val>
                                        </p:tav>
                                        <p:tav tm="100000">
                                          <p:val>
                                            <p:strVal val="#ppt_x"/>
                                          </p:val>
                                        </p:tav>
                                      </p:tavLst>
                                    </p:anim>
                                    <p:anim calcmode="lin" valueType="num">
                                      <p:cBhvr>
                                        <p:cTn id="64" dur="1000" fill="hold"/>
                                        <p:tgtEl>
                                          <p:spTgt spid="67"/>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110"/>
                                        </p:tgtEl>
                                        <p:attrNameLst>
                                          <p:attrName>style.visibility</p:attrName>
                                        </p:attrNameLst>
                                      </p:cBhvr>
                                      <p:to>
                                        <p:strVal val="visible"/>
                                      </p:to>
                                    </p:set>
                                    <p:animEffect transition="in" filter="fade">
                                      <p:cBhvr>
                                        <p:cTn id="67" dur="1000"/>
                                        <p:tgtEl>
                                          <p:spTgt spid="110"/>
                                        </p:tgtEl>
                                      </p:cBhvr>
                                    </p:animEffect>
                                    <p:anim calcmode="lin" valueType="num">
                                      <p:cBhvr>
                                        <p:cTn id="68" dur="1000" fill="hold"/>
                                        <p:tgtEl>
                                          <p:spTgt spid="110"/>
                                        </p:tgtEl>
                                        <p:attrNameLst>
                                          <p:attrName>ppt_x</p:attrName>
                                        </p:attrNameLst>
                                      </p:cBhvr>
                                      <p:tavLst>
                                        <p:tav tm="0">
                                          <p:val>
                                            <p:strVal val="#ppt_x"/>
                                          </p:val>
                                        </p:tav>
                                        <p:tav tm="100000">
                                          <p:val>
                                            <p:strVal val="#ppt_x"/>
                                          </p:val>
                                        </p:tav>
                                      </p:tavLst>
                                    </p:anim>
                                    <p:anim calcmode="lin" valueType="num">
                                      <p:cBhvr>
                                        <p:cTn id="69" dur="1000" fill="hold"/>
                                        <p:tgtEl>
                                          <p:spTgt spid="110"/>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152"/>
                                        </p:tgtEl>
                                        <p:attrNameLst>
                                          <p:attrName>style.visibility</p:attrName>
                                        </p:attrNameLst>
                                      </p:cBhvr>
                                      <p:to>
                                        <p:strVal val="visible"/>
                                      </p:to>
                                    </p:set>
                                    <p:animEffect transition="in" filter="fade">
                                      <p:cBhvr>
                                        <p:cTn id="72" dur="1000"/>
                                        <p:tgtEl>
                                          <p:spTgt spid="152"/>
                                        </p:tgtEl>
                                      </p:cBhvr>
                                    </p:animEffect>
                                    <p:anim calcmode="lin" valueType="num">
                                      <p:cBhvr>
                                        <p:cTn id="73" dur="1000" fill="hold"/>
                                        <p:tgtEl>
                                          <p:spTgt spid="152"/>
                                        </p:tgtEl>
                                        <p:attrNameLst>
                                          <p:attrName>ppt_x</p:attrName>
                                        </p:attrNameLst>
                                      </p:cBhvr>
                                      <p:tavLst>
                                        <p:tav tm="0">
                                          <p:val>
                                            <p:strVal val="#ppt_x"/>
                                          </p:val>
                                        </p:tav>
                                        <p:tav tm="100000">
                                          <p:val>
                                            <p:strVal val="#ppt_x"/>
                                          </p:val>
                                        </p:tav>
                                      </p:tavLst>
                                    </p:anim>
                                    <p:anim calcmode="lin" valueType="num">
                                      <p:cBhvr>
                                        <p:cTn id="74" dur="1000" fill="hold"/>
                                        <p:tgtEl>
                                          <p:spTgt spid="152"/>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153"/>
                                        </p:tgtEl>
                                        <p:attrNameLst>
                                          <p:attrName>style.visibility</p:attrName>
                                        </p:attrNameLst>
                                      </p:cBhvr>
                                      <p:to>
                                        <p:strVal val="visible"/>
                                      </p:to>
                                    </p:set>
                                    <p:animEffect transition="in" filter="fade">
                                      <p:cBhvr>
                                        <p:cTn id="77" dur="1000"/>
                                        <p:tgtEl>
                                          <p:spTgt spid="153"/>
                                        </p:tgtEl>
                                      </p:cBhvr>
                                    </p:animEffect>
                                    <p:anim calcmode="lin" valueType="num">
                                      <p:cBhvr>
                                        <p:cTn id="78" dur="1000" fill="hold"/>
                                        <p:tgtEl>
                                          <p:spTgt spid="153"/>
                                        </p:tgtEl>
                                        <p:attrNameLst>
                                          <p:attrName>ppt_x</p:attrName>
                                        </p:attrNameLst>
                                      </p:cBhvr>
                                      <p:tavLst>
                                        <p:tav tm="0">
                                          <p:val>
                                            <p:strVal val="#ppt_x"/>
                                          </p:val>
                                        </p:tav>
                                        <p:tav tm="100000">
                                          <p:val>
                                            <p:strVal val="#ppt_x"/>
                                          </p:val>
                                        </p:tav>
                                      </p:tavLst>
                                    </p:anim>
                                    <p:anim calcmode="lin" valueType="num">
                                      <p:cBhvr>
                                        <p:cTn id="79" dur="1000" fill="hold"/>
                                        <p:tgtEl>
                                          <p:spTgt spid="153"/>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158"/>
                                        </p:tgtEl>
                                        <p:attrNameLst>
                                          <p:attrName>style.visibility</p:attrName>
                                        </p:attrNameLst>
                                      </p:cBhvr>
                                      <p:to>
                                        <p:strVal val="visible"/>
                                      </p:to>
                                    </p:set>
                                    <p:animEffect transition="in" filter="fade">
                                      <p:cBhvr>
                                        <p:cTn id="82" dur="1000"/>
                                        <p:tgtEl>
                                          <p:spTgt spid="158"/>
                                        </p:tgtEl>
                                      </p:cBhvr>
                                    </p:animEffect>
                                    <p:anim calcmode="lin" valueType="num">
                                      <p:cBhvr>
                                        <p:cTn id="83" dur="1000" fill="hold"/>
                                        <p:tgtEl>
                                          <p:spTgt spid="158"/>
                                        </p:tgtEl>
                                        <p:attrNameLst>
                                          <p:attrName>ppt_x</p:attrName>
                                        </p:attrNameLst>
                                      </p:cBhvr>
                                      <p:tavLst>
                                        <p:tav tm="0">
                                          <p:val>
                                            <p:strVal val="#ppt_x"/>
                                          </p:val>
                                        </p:tav>
                                        <p:tav tm="100000">
                                          <p:val>
                                            <p:strVal val="#ppt_x"/>
                                          </p:val>
                                        </p:tav>
                                      </p:tavLst>
                                    </p:anim>
                                    <p:anim calcmode="lin" valueType="num">
                                      <p:cBhvr>
                                        <p:cTn id="84" dur="1000" fill="hold"/>
                                        <p:tgtEl>
                                          <p:spTgt spid="158"/>
                                        </p:tgtEl>
                                        <p:attrNameLst>
                                          <p:attrName>ppt_y</p:attrName>
                                        </p:attrNameLst>
                                      </p:cBhvr>
                                      <p:tavLst>
                                        <p:tav tm="0">
                                          <p:val>
                                            <p:strVal val="#ppt_y+.1"/>
                                          </p:val>
                                        </p:tav>
                                        <p:tav tm="100000">
                                          <p:val>
                                            <p:strVal val="#ppt_y"/>
                                          </p:val>
                                        </p:tav>
                                      </p:tavLst>
                                    </p:anim>
                                  </p:childTnLst>
                                </p:cTn>
                              </p:par>
                              <p:par>
                                <p:cTn id="85" presetID="42" presetClass="entr" presetSubtype="0" fill="hold" grpId="0" nodeType="withEffect">
                                  <p:stCondLst>
                                    <p:cond delay="0"/>
                                  </p:stCondLst>
                                  <p:childTnLst>
                                    <p:set>
                                      <p:cBhvr>
                                        <p:cTn id="86" dur="1" fill="hold">
                                          <p:stCondLst>
                                            <p:cond delay="0"/>
                                          </p:stCondLst>
                                        </p:cTn>
                                        <p:tgtEl>
                                          <p:spTgt spid="159"/>
                                        </p:tgtEl>
                                        <p:attrNameLst>
                                          <p:attrName>style.visibility</p:attrName>
                                        </p:attrNameLst>
                                      </p:cBhvr>
                                      <p:to>
                                        <p:strVal val="visible"/>
                                      </p:to>
                                    </p:set>
                                    <p:animEffect transition="in" filter="fade">
                                      <p:cBhvr>
                                        <p:cTn id="87" dur="1000"/>
                                        <p:tgtEl>
                                          <p:spTgt spid="159"/>
                                        </p:tgtEl>
                                      </p:cBhvr>
                                    </p:animEffect>
                                    <p:anim calcmode="lin" valueType="num">
                                      <p:cBhvr>
                                        <p:cTn id="88" dur="1000" fill="hold"/>
                                        <p:tgtEl>
                                          <p:spTgt spid="159"/>
                                        </p:tgtEl>
                                        <p:attrNameLst>
                                          <p:attrName>ppt_x</p:attrName>
                                        </p:attrNameLst>
                                      </p:cBhvr>
                                      <p:tavLst>
                                        <p:tav tm="0">
                                          <p:val>
                                            <p:strVal val="#ppt_x"/>
                                          </p:val>
                                        </p:tav>
                                        <p:tav tm="100000">
                                          <p:val>
                                            <p:strVal val="#ppt_x"/>
                                          </p:val>
                                        </p:tav>
                                      </p:tavLst>
                                    </p:anim>
                                    <p:anim calcmode="lin" valueType="num">
                                      <p:cBhvr>
                                        <p:cTn id="89" dur="1000" fill="hold"/>
                                        <p:tgtEl>
                                          <p:spTgt spid="159"/>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0"/>
                                  </p:stCondLst>
                                  <p:childTnLst>
                                    <p:set>
                                      <p:cBhvr>
                                        <p:cTn id="91" dur="1" fill="hold">
                                          <p:stCondLst>
                                            <p:cond delay="0"/>
                                          </p:stCondLst>
                                        </p:cTn>
                                        <p:tgtEl>
                                          <p:spTgt spid="160"/>
                                        </p:tgtEl>
                                        <p:attrNameLst>
                                          <p:attrName>style.visibility</p:attrName>
                                        </p:attrNameLst>
                                      </p:cBhvr>
                                      <p:to>
                                        <p:strVal val="visible"/>
                                      </p:to>
                                    </p:set>
                                    <p:animEffect transition="in" filter="fade">
                                      <p:cBhvr>
                                        <p:cTn id="92" dur="1000"/>
                                        <p:tgtEl>
                                          <p:spTgt spid="160"/>
                                        </p:tgtEl>
                                      </p:cBhvr>
                                    </p:animEffect>
                                    <p:anim calcmode="lin" valueType="num">
                                      <p:cBhvr>
                                        <p:cTn id="93" dur="1000" fill="hold"/>
                                        <p:tgtEl>
                                          <p:spTgt spid="160"/>
                                        </p:tgtEl>
                                        <p:attrNameLst>
                                          <p:attrName>ppt_x</p:attrName>
                                        </p:attrNameLst>
                                      </p:cBhvr>
                                      <p:tavLst>
                                        <p:tav tm="0">
                                          <p:val>
                                            <p:strVal val="#ppt_x"/>
                                          </p:val>
                                        </p:tav>
                                        <p:tav tm="100000">
                                          <p:val>
                                            <p:strVal val="#ppt_x"/>
                                          </p:val>
                                        </p:tav>
                                      </p:tavLst>
                                    </p:anim>
                                    <p:anim calcmode="lin" valueType="num">
                                      <p:cBhvr>
                                        <p:cTn id="94" dur="1000" fill="hold"/>
                                        <p:tgtEl>
                                          <p:spTgt spid="160"/>
                                        </p:tgtEl>
                                        <p:attrNameLst>
                                          <p:attrName>ppt_y</p:attrName>
                                        </p:attrNameLst>
                                      </p:cBhvr>
                                      <p:tavLst>
                                        <p:tav tm="0">
                                          <p:val>
                                            <p:strVal val="#ppt_y+.1"/>
                                          </p:val>
                                        </p:tav>
                                        <p:tav tm="100000">
                                          <p:val>
                                            <p:strVal val="#ppt_y"/>
                                          </p:val>
                                        </p:tav>
                                      </p:tavLst>
                                    </p:anim>
                                  </p:childTnLst>
                                </p:cTn>
                              </p:par>
                              <p:par>
                                <p:cTn id="95" presetID="42" presetClass="entr" presetSubtype="0" fill="hold" grpId="0" nodeType="withEffect">
                                  <p:stCondLst>
                                    <p:cond delay="0"/>
                                  </p:stCondLst>
                                  <p:childTnLst>
                                    <p:set>
                                      <p:cBhvr>
                                        <p:cTn id="96" dur="1" fill="hold">
                                          <p:stCondLst>
                                            <p:cond delay="0"/>
                                          </p:stCondLst>
                                        </p:cTn>
                                        <p:tgtEl>
                                          <p:spTgt spid="191"/>
                                        </p:tgtEl>
                                        <p:attrNameLst>
                                          <p:attrName>style.visibility</p:attrName>
                                        </p:attrNameLst>
                                      </p:cBhvr>
                                      <p:to>
                                        <p:strVal val="visible"/>
                                      </p:to>
                                    </p:set>
                                    <p:animEffect transition="in" filter="fade">
                                      <p:cBhvr>
                                        <p:cTn id="97" dur="1000"/>
                                        <p:tgtEl>
                                          <p:spTgt spid="191"/>
                                        </p:tgtEl>
                                      </p:cBhvr>
                                    </p:animEffect>
                                    <p:anim calcmode="lin" valueType="num">
                                      <p:cBhvr>
                                        <p:cTn id="98" dur="1000" fill="hold"/>
                                        <p:tgtEl>
                                          <p:spTgt spid="191"/>
                                        </p:tgtEl>
                                        <p:attrNameLst>
                                          <p:attrName>ppt_x</p:attrName>
                                        </p:attrNameLst>
                                      </p:cBhvr>
                                      <p:tavLst>
                                        <p:tav tm="0">
                                          <p:val>
                                            <p:strVal val="#ppt_x"/>
                                          </p:val>
                                        </p:tav>
                                        <p:tav tm="100000">
                                          <p:val>
                                            <p:strVal val="#ppt_x"/>
                                          </p:val>
                                        </p:tav>
                                      </p:tavLst>
                                    </p:anim>
                                    <p:anim calcmode="lin" valueType="num">
                                      <p:cBhvr>
                                        <p:cTn id="99" dur="1000" fill="hold"/>
                                        <p:tgtEl>
                                          <p:spTgt spid="191"/>
                                        </p:tgtEl>
                                        <p:attrNameLst>
                                          <p:attrName>ppt_y</p:attrName>
                                        </p:attrNameLst>
                                      </p:cBhvr>
                                      <p:tavLst>
                                        <p:tav tm="0">
                                          <p:val>
                                            <p:strVal val="#ppt_y+.1"/>
                                          </p:val>
                                        </p:tav>
                                        <p:tav tm="100000">
                                          <p:val>
                                            <p:strVal val="#ppt_y"/>
                                          </p:val>
                                        </p:tav>
                                      </p:tavLst>
                                    </p:anim>
                                  </p:childTnLst>
                                </p:cTn>
                              </p:par>
                              <p:par>
                                <p:cTn id="100" presetID="42" presetClass="entr" presetSubtype="0" fill="hold" grpId="0" nodeType="withEffect">
                                  <p:stCondLst>
                                    <p:cond delay="0"/>
                                  </p:stCondLst>
                                  <p:childTnLst>
                                    <p:set>
                                      <p:cBhvr>
                                        <p:cTn id="101" dur="1" fill="hold">
                                          <p:stCondLst>
                                            <p:cond delay="0"/>
                                          </p:stCondLst>
                                        </p:cTn>
                                        <p:tgtEl>
                                          <p:spTgt spid="192"/>
                                        </p:tgtEl>
                                        <p:attrNameLst>
                                          <p:attrName>style.visibility</p:attrName>
                                        </p:attrNameLst>
                                      </p:cBhvr>
                                      <p:to>
                                        <p:strVal val="visible"/>
                                      </p:to>
                                    </p:set>
                                    <p:animEffect transition="in" filter="fade">
                                      <p:cBhvr>
                                        <p:cTn id="102" dur="1000"/>
                                        <p:tgtEl>
                                          <p:spTgt spid="192"/>
                                        </p:tgtEl>
                                      </p:cBhvr>
                                    </p:animEffect>
                                    <p:anim calcmode="lin" valueType="num">
                                      <p:cBhvr>
                                        <p:cTn id="103" dur="1000" fill="hold"/>
                                        <p:tgtEl>
                                          <p:spTgt spid="192"/>
                                        </p:tgtEl>
                                        <p:attrNameLst>
                                          <p:attrName>ppt_x</p:attrName>
                                        </p:attrNameLst>
                                      </p:cBhvr>
                                      <p:tavLst>
                                        <p:tav tm="0">
                                          <p:val>
                                            <p:strVal val="#ppt_x"/>
                                          </p:val>
                                        </p:tav>
                                        <p:tav tm="100000">
                                          <p:val>
                                            <p:strVal val="#ppt_x"/>
                                          </p:val>
                                        </p:tav>
                                      </p:tavLst>
                                    </p:anim>
                                    <p:anim calcmode="lin" valueType="num">
                                      <p:cBhvr>
                                        <p:cTn id="104" dur="1000" fill="hold"/>
                                        <p:tgtEl>
                                          <p:spTgt spid="192"/>
                                        </p:tgtEl>
                                        <p:attrNameLst>
                                          <p:attrName>ppt_y</p:attrName>
                                        </p:attrNameLst>
                                      </p:cBhvr>
                                      <p:tavLst>
                                        <p:tav tm="0">
                                          <p:val>
                                            <p:strVal val="#ppt_y+.1"/>
                                          </p:val>
                                        </p:tav>
                                        <p:tav tm="100000">
                                          <p:val>
                                            <p:strVal val="#ppt_y"/>
                                          </p:val>
                                        </p:tav>
                                      </p:tavLst>
                                    </p:anim>
                                  </p:childTnLst>
                                </p:cTn>
                              </p:par>
                              <p:par>
                                <p:cTn id="105" presetID="42" presetClass="entr" presetSubtype="0" fill="hold" nodeType="withEffect">
                                  <p:stCondLst>
                                    <p:cond delay="0"/>
                                  </p:stCondLst>
                                  <p:childTnLst>
                                    <p:set>
                                      <p:cBhvr>
                                        <p:cTn id="106" dur="1" fill="hold">
                                          <p:stCondLst>
                                            <p:cond delay="0"/>
                                          </p:stCondLst>
                                        </p:cTn>
                                        <p:tgtEl>
                                          <p:spTgt spid="193"/>
                                        </p:tgtEl>
                                        <p:attrNameLst>
                                          <p:attrName>style.visibility</p:attrName>
                                        </p:attrNameLst>
                                      </p:cBhvr>
                                      <p:to>
                                        <p:strVal val="visible"/>
                                      </p:to>
                                    </p:set>
                                    <p:animEffect transition="in" filter="fade">
                                      <p:cBhvr>
                                        <p:cTn id="107" dur="1000"/>
                                        <p:tgtEl>
                                          <p:spTgt spid="193"/>
                                        </p:tgtEl>
                                      </p:cBhvr>
                                    </p:animEffect>
                                    <p:anim calcmode="lin" valueType="num">
                                      <p:cBhvr>
                                        <p:cTn id="108" dur="1000" fill="hold"/>
                                        <p:tgtEl>
                                          <p:spTgt spid="193"/>
                                        </p:tgtEl>
                                        <p:attrNameLst>
                                          <p:attrName>ppt_x</p:attrName>
                                        </p:attrNameLst>
                                      </p:cBhvr>
                                      <p:tavLst>
                                        <p:tav tm="0">
                                          <p:val>
                                            <p:strVal val="#ppt_x"/>
                                          </p:val>
                                        </p:tav>
                                        <p:tav tm="100000">
                                          <p:val>
                                            <p:strVal val="#ppt_x"/>
                                          </p:val>
                                        </p:tav>
                                      </p:tavLst>
                                    </p:anim>
                                    <p:anim calcmode="lin" valueType="num">
                                      <p:cBhvr>
                                        <p:cTn id="109" dur="1000" fill="hold"/>
                                        <p:tgtEl>
                                          <p:spTgt spid="193"/>
                                        </p:tgtEl>
                                        <p:attrNameLst>
                                          <p:attrName>ppt_y</p:attrName>
                                        </p:attrNameLst>
                                      </p:cBhvr>
                                      <p:tavLst>
                                        <p:tav tm="0">
                                          <p:val>
                                            <p:strVal val="#ppt_y+.1"/>
                                          </p:val>
                                        </p:tav>
                                        <p:tav tm="100000">
                                          <p:val>
                                            <p:strVal val="#ppt_y"/>
                                          </p:val>
                                        </p:tav>
                                      </p:tavLst>
                                    </p:anim>
                                  </p:childTnLst>
                                </p:cTn>
                              </p:par>
                              <p:par>
                                <p:cTn id="110" presetID="42" presetClass="entr" presetSubtype="0" fill="hold" nodeType="withEffect">
                                  <p:stCondLst>
                                    <p:cond delay="0"/>
                                  </p:stCondLst>
                                  <p:childTnLst>
                                    <p:set>
                                      <p:cBhvr>
                                        <p:cTn id="111" dur="1" fill="hold">
                                          <p:stCondLst>
                                            <p:cond delay="0"/>
                                          </p:stCondLst>
                                        </p:cTn>
                                        <p:tgtEl>
                                          <p:spTgt spid="233"/>
                                        </p:tgtEl>
                                        <p:attrNameLst>
                                          <p:attrName>style.visibility</p:attrName>
                                        </p:attrNameLst>
                                      </p:cBhvr>
                                      <p:to>
                                        <p:strVal val="visible"/>
                                      </p:to>
                                    </p:set>
                                    <p:animEffect transition="in" filter="fade">
                                      <p:cBhvr>
                                        <p:cTn id="112" dur="1000"/>
                                        <p:tgtEl>
                                          <p:spTgt spid="233"/>
                                        </p:tgtEl>
                                      </p:cBhvr>
                                    </p:animEffect>
                                    <p:anim calcmode="lin" valueType="num">
                                      <p:cBhvr>
                                        <p:cTn id="113" dur="1000" fill="hold"/>
                                        <p:tgtEl>
                                          <p:spTgt spid="233"/>
                                        </p:tgtEl>
                                        <p:attrNameLst>
                                          <p:attrName>ppt_x</p:attrName>
                                        </p:attrNameLst>
                                      </p:cBhvr>
                                      <p:tavLst>
                                        <p:tav tm="0">
                                          <p:val>
                                            <p:strVal val="#ppt_x"/>
                                          </p:val>
                                        </p:tav>
                                        <p:tav tm="100000">
                                          <p:val>
                                            <p:strVal val="#ppt_x"/>
                                          </p:val>
                                        </p:tav>
                                      </p:tavLst>
                                    </p:anim>
                                    <p:anim calcmode="lin" valueType="num">
                                      <p:cBhvr>
                                        <p:cTn id="114" dur="1000" fill="hold"/>
                                        <p:tgtEl>
                                          <p:spTgt spid="233"/>
                                        </p:tgtEl>
                                        <p:attrNameLst>
                                          <p:attrName>ppt_y</p:attrName>
                                        </p:attrNameLst>
                                      </p:cBhvr>
                                      <p:tavLst>
                                        <p:tav tm="0">
                                          <p:val>
                                            <p:strVal val="#ppt_y+.1"/>
                                          </p:val>
                                        </p:tav>
                                        <p:tav tm="100000">
                                          <p:val>
                                            <p:strVal val="#ppt_y"/>
                                          </p:val>
                                        </p:tav>
                                      </p:tavLst>
                                    </p:anim>
                                  </p:childTnLst>
                                </p:cTn>
                              </p:par>
                              <p:par>
                                <p:cTn id="115" presetID="42" presetClass="entr" presetSubtype="0" fill="hold" nodeType="withEffect">
                                  <p:stCondLst>
                                    <p:cond delay="0"/>
                                  </p:stCondLst>
                                  <p:childTnLst>
                                    <p:set>
                                      <p:cBhvr>
                                        <p:cTn id="116" dur="1" fill="hold">
                                          <p:stCondLst>
                                            <p:cond delay="0"/>
                                          </p:stCondLst>
                                        </p:cTn>
                                        <p:tgtEl>
                                          <p:spTgt spid="240"/>
                                        </p:tgtEl>
                                        <p:attrNameLst>
                                          <p:attrName>style.visibility</p:attrName>
                                        </p:attrNameLst>
                                      </p:cBhvr>
                                      <p:to>
                                        <p:strVal val="visible"/>
                                      </p:to>
                                    </p:set>
                                    <p:animEffect transition="in" filter="fade">
                                      <p:cBhvr>
                                        <p:cTn id="117" dur="1000"/>
                                        <p:tgtEl>
                                          <p:spTgt spid="240"/>
                                        </p:tgtEl>
                                      </p:cBhvr>
                                    </p:animEffect>
                                    <p:anim calcmode="lin" valueType="num">
                                      <p:cBhvr>
                                        <p:cTn id="118" dur="1000" fill="hold"/>
                                        <p:tgtEl>
                                          <p:spTgt spid="240"/>
                                        </p:tgtEl>
                                        <p:attrNameLst>
                                          <p:attrName>ppt_x</p:attrName>
                                        </p:attrNameLst>
                                      </p:cBhvr>
                                      <p:tavLst>
                                        <p:tav tm="0">
                                          <p:val>
                                            <p:strVal val="#ppt_x"/>
                                          </p:val>
                                        </p:tav>
                                        <p:tav tm="100000">
                                          <p:val>
                                            <p:strVal val="#ppt_x"/>
                                          </p:val>
                                        </p:tav>
                                      </p:tavLst>
                                    </p:anim>
                                    <p:anim calcmode="lin" valueType="num">
                                      <p:cBhvr>
                                        <p:cTn id="119" dur="1000" fill="hold"/>
                                        <p:tgtEl>
                                          <p:spTgt spid="240"/>
                                        </p:tgtEl>
                                        <p:attrNameLst>
                                          <p:attrName>ppt_y</p:attrName>
                                        </p:attrNameLst>
                                      </p:cBhvr>
                                      <p:tavLst>
                                        <p:tav tm="0">
                                          <p:val>
                                            <p:strVal val="#ppt_y+.1"/>
                                          </p:val>
                                        </p:tav>
                                        <p:tav tm="100000">
                                          <p:val>
                                            <p:strVal val="#ppt_y"/>
                                          </p:val>
                                        </p:tav>
                                      </p:tavLst>
                                    </p:anim>
                                  </p:childTnLst>
                                </p:cTn>
                              </p:par>
                              <p:par>
                                <p:cTn id="120" presetID="42" presetClass="entr" presetSubtype="0" fill="hold" nodeType="withEffect">
                                  <p:stCondLst>
                                    <p:cond delay="0"/>
                                  </p:stCondLst>
                                  <p:childTnLst>
                                    <p:set>
                                      <p:cBhvr>
                                        <p:cTn id="121" dur="1" fill="hold">
                                          <p:stCondLst>
                                            <p:cond delay="0"/>
                                          </p:stCondLst>
                                        </p:cTn>
                                        <p:tgtEl>
                                          <p:spTgt spid="287"/>
                                        </p:tgtEl>
                                        <p:attrNameLst>
                                          <p:attrName>style.visibility</p:attrName>
                                        </p:attrNameLst>
                                      </p:cBhvr>
                                      <p:to>
                                        <p:strVal val="visible"/>
                                      </p:to>
                                    </p:set>
                                    <p:animEffect transition="in" filter="fade">
                                      <p:cBhvr>
                                        <p:cTn id="122" dur="1000"/>
                                        <p:tgtEl>
                                          <p:spTgt spid="287"/>
                                        </p:tgtEl>
                                      </p:cBhvr>
                                    </p:animEffect>
                                    <p:anim calcmode="lin" valueType="num">
                                      <p:cBhvr>
                                        <p:cTn id="123" dur="1000" fill="hold"/>
                                        <p:tgtEl>
                                          <p:spTgt spid="287"/>
                                        </p:tgtEl>
                                        <p:attrNameLst>
                                          <p:attrName>ppt_x</p:attrName>
                                        </p:attrNameLst>
                                      </p:cBhvr>
                                      <p:tavLst>
                                        <p:tav tm="0">
                                          <p:val>
                                            <p:strVal val="#ppt_x"/>
                                          </p:val>
                                        </p:tav>
                                        <p:tav tm="100000">
                                          <p:val>
                                            <p:strVal val="#ppt_x"/>
                                          </p:val>
                                        </p:tav>
                                      </p:tavLst>
                                    </p:anim>
                                    <p:anim calcmode="lin" valueType="num">
                                      <p:cBhvr>
                                        <p:cTn id="124" dur="1000" fill="hold"/>
                                        <p:tgtEl>
                                          <p:spTgt spid="28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6" grpId="0" animBg="1"/>
      <p:bldP spid="4" grpId="0"/>
      <p:bldP spid="279" grpId="0"/>
      <p:bldP spid="280" grpId="0"/>
      <p:bldP spid="281" grpId="0"/>
      <p:bldP spid="62" grpId="0" animBg="1"/>
      <p:bldP spid="64" grpId="0" animBg="1"/>
      <p:bldP spid="181" grpId="0" animBg="1"/>
      <p:bldP spid="197" grpId="0" animBg="1"/>
      <p:bldP spid="65" grpId="0" animBg="1"/>
      <p:bldP spid="66" grpId="0" animBg="1"/>
      <p:bldP spid="67" grpId="0" animBg="1"/>
      <p:bldP spid="110" grpId="0"/>
      <p:bldP spid="152" grpId="0"/>
      <p:bldP spid="158" grpId="0"/>
      <p:bldP spid="159" grpId="0"/>
      <p:bldP spid="191" grpId="0"/>
      <p:bldP spid="19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Picture Placeholder 3">
            <a:extLst>
              <a:ext uri="{FF2B5EF4-FFF2-40B4-BE49-F238E27FC236}">
                <a16:creationId xmlns:a16="http://schemas.microsoft.com/office/drawing/2014/main" id="{5505DC1B-8B7B-45FE-BCA9-5709119E44C6}"/>
              </a:ext>
            </a:extLst>
          </p:cNvPr>
          <p:cNvSpPr txBox="1">
            <a:spLocks/>
          </p:cNvSpPr>
          <p:nvPr/>
        </p:nvSpPr>
        <p:spPr>
          <a:xfrm>
            <a:off x="4381089" y="4056481"/>
            <a:ext cx="3414794" cy="640080"/>
          </a:xfrm>
          <a:prstGeom prst="rect">
            <a:avLst/>
          </a:prstGeom>
          <a:solidFill>
            <a:schemeClr val="bg1"/>
          </a:solidFill>
          <a:ln>
            <a:noFill/>
            <a:headEnd type="none" w="med" len="med"/>
            <a:tailEnd type="none" w="med" len="med"/>
          </a:ln>
          <a:effectLst>
            <a:outerShdw blurRad="736600" sx="102000" sy="102000" algn="ctr" rotWithShape="0">
              <a:schemeClr val="accent2">
                <a:alpha val="4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solidFill>
                  <a:srgbClr val="000000"/>
                </a:solidFill>
                <a:cs typeface="Segoe UI" pitchFamily="34" charset="0"/>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lumMod val="60000"/>
                    <a:lumOff val="40000"/>
                  </a:srgbClr>
                </a:solidFill>
                <a:effectLst/>
                <a:uLnTx/>
                <a:uFillTx/>
                <a:latin typeface="Segoe UI Semibold"/>
                <a:ea typeface="+mn-ea"/>
                <a:cs typeface="Segoe UI" pitchFamily="34" charset="0"/>
              </a:rPr>
              <a:t>AI-powered Apps</a:t>
            </a:r>
          </a:p>
        </p:txBody>
      </p:sp>
      <p:sp>
        <p:nvSpPr>
          <p:cNvPr id="31" name="Picture Placeholder 3">
            <a:extLst>
              <a:ext uri="{FF2B5EF4-FFF2-40B4-BE49-F238E27FC236}">
                <a16:creationId xmlns:a16="http://schemas.microsoft.com/office/drawing/2014/main" id="{CEB73097-ACF1-46A1-8B9F-10C2D52817E2}"/>
              </a:ext>
            </a:extLst>
          </p:cNvPr>
          <p:cNvSpPr txBox="1">
            <a:spLocks/>
          </p:cNvSpPr>
          <p:nvPr/>
        </p:nvSpPr>
        <p:spPr>
          <a:xfrm>
            <a:off x="8178515" y="4056480"/>
            <a:ext cx="3414794" cy="640080"/>
          </a:xfrm>
          <a:prstGeom prst="rect">
            <a:avLst/>
          </a:prstGeom>
          <a:solidFill>
            <a:schemeClr val="bg1"/>
          </a:solidFill>
          <a:ln>
            <a:noFill/>
            <a:headEnd type="none" w="med" len="med"/>
            <a:tailEnd type="none" w="med" len="med"/>
          </a:ln>
          <a:effectLst>
            <a:outerShdw blurRad="736600" sx="102000" sy="102000" algn="ctr" rotWithShape="0">
              <a:schemeClr val="accent2">
                <a:alpha val="4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solidFill>
                  <a:srgbClr val="000000"/>
                </a:solidFill>
                <a:cs typeface="Segoe UI" pitchFamily="34" charset="0"/>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lumMod val="60000"/>
                    <a:lumOff val="40000"/>
                  </a:srgbClr>
                </a:solidFill>
                <a:effectLst/>
                <a:uLnTx/>
                <a:uFillTx/>
                <a:latin typeface="Segoe UI Semibold"/>
                <a:ea typeface="+mn-ea"/>
                <a:cs typeface="Segoe UI" pitchFamily="34" charset="0"/>
              </a:rPr>
              <a:t>Knowledge Mining</a:t>
            </a:r>
          </a:p>
        </p:txBody>
      </p:sp>
      <p:sp>
        <p:nvSpPr>
          <p:cNvPr id="29" name="Picture Placeholder 3">
            <a:extLst>
              <a:ext uri="{FF2B5EF4-FFF2-40B4-BE49-F238E27FC236}">
                <a16:creationId xmlns:a16="http://schemas.microsoft.com/office/drawing/2014/main" id="{722BB519-1222-408F-BCB2-8B02F1C26677}"/>
              </a:ext>
            </a:extLst>
          </p:cNvPr>
          <p:cNvSpPr txBox="1">
            <a:spLocks/>
          </p:cNvSpPr>
          <p:nvPr/>
        </p:nvSpPr>
        <p:spPr>
          <a:xfrm>
            <a:off x="583663" y="4045695"/>
            <a:ext cx="3414794" cy="640080"/>
          </a:xfrm>
          <a:prstGeom prst="rect">
            <a:avLst/>
          </a:prstGeom>
          <a:solidFill>
            <a:schemeClr val="bg1"/>
          </a:solidFill>
          <a:ln>
            <a:noFill/>
            <a:headEnd type="none" w="med" len="med"/>
            <a:tailEnd type="none" w="med" len="med"/>
          </a:ln>
          <a:effectLst>
            <a:outerShdw blurRad="736600" sx="102000" sy="102000" algn="ctr" rotWithShape="0">
              <a:schemeClr val="accent2">
                <a:alpha val="4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solidFill>
                  <a:srgbClr val="000000"/>
                </a:solidFill>
                <a:cs typeface="Segoe UI" pitchFamily="34" charset="0"/>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lumMod val="60000"/>
                    <a:lumOff val="40000"/>
                  </a:srgbClr>
                </a:solidFill>
                <a:effectLst/>
                <a:uLnTx/>
                <a:uFillTx/>
                <a:latin typeface="Segoe UI Semibold"/>
                <a:ea typeface="+mn-ea"/>
                <a:cs typeface="Segoe UI" pitchFamily="34" charset="0"/>
              </a:rPr>
              <a:t>Machine Learning</a:t>
            </a:r>
          </a:p>
        </p:txBody>
      </p:sp>
      <p:sp>
        <p:nvSpPr>
          <p:cNvPr id="2" name="Title 1">
            <a:extLst>
              <a:ext uri="{FF2B5EF4-FFF2-40B4-BE49-F238E27FC236}">
                <a16:creationId xmlns:a16="http://schemas.microsoft.com/office/drawing/2014/main" id="{2FA66DE2-CA73-4ED1-8D7A-C7BB05622B17}"/>
              </a:ext>
            </a:extLst>
          </p:cNvPr>
          <p:cNvSpPr>
            <a:spLocks noGrp="1"/>
          </p:cNvSpPr>
          <p:nvPr>
            <p:ph type="title"/>
          </p:nvPr>
        </p:nvSpPr>
        <p:spPr/>
        <p:txBody>
          <a:bodyPr/>
          <a:lstStyle/>
          <a:p>
            <a:pPr algn="ctr"/>
            <a:r>
              <a:rPr lang="en-US"/>
              <a:t>Common AI Patterns</a:t>
            </a:r>
          </a:p>
        </p:txBody>
      </p:sp>
      <p:sp>
        <p:nvSpPr>
          <p:cNvPr id="82" name="Oval 81">
            <a:extLst>
              <a:ext uri="{FF2B5EF4-FFF2-40B4-BE49-F238E27FC236}">
                <a16:creationId xmlns:a16="http://schemas.microsoft.com/office/drawing/2014/main" id="{6EC47CBE-42FD-4F57-A0A5-F1830950D378}"/>
              </a:ext>
            </a:extLst>
          </p:cNvPr>
          <p:cNvSpPr>
            <a:spLocks noChangeAspect="1"/>
          </p:cNvSpPr>
          <p:nvPr/>
        </p:nvSpPr>
        <p:spPr bwMode="auto">
          <a:xfrm>
            <a:off x="1577968" y="2155367"/>
            <a:ext cx="1426184" cy="1426184"/>
          </a:xfrm>
          <a:prstGeom prst="ellipse">
            <a:avLst/>
          </a:prstGeom>
          <a:noFill/>
          <a:ln w="25400" cap="flat" cmpd="sng" algn="ctr">
            <a:solidFill>
              <a:srgbClr val="50E6FF"/>
            </a:solid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a:ln>
                  <a:noFill/>
                </a:ln>
                <a:noFill/>
                <a:effectLst/>
                <a:uLnTx/>
                <a:uFillTx/>
                <a:latin typeface="Segoe UI Semilight"/>
                <a:ea typeface="+mn-ea"/>
                <a:cs typeface="+mn-cs"/>
              </a:rPr>
              <a:t>b</a:t>
            </a:r>
          </a:p>
        </p:txBody>
      </p:sp>
      <p:grpSp>
        <p:nvGrpSpPr>
          <p:cNvPr id="83" name="Group 30">
            <a:extLst>
              <a:ext uri="{FF2B5EF4-FFF2-40B4-BE49-F238E27FC236}">
                <a16:creationId xmlns:a16="http://schemas.microsoft.com/office/drawing/2014/main" id="{DA7766C5-6C78-4113-8348-C98906436973}"/>
              </a:ext>
            </a:extLst>
          </p:cNvPr>
          <p:cNvGrpSpPr>
            <a:grpSpLocks noChangeAspect="1"/>
          </p:cNvGrpSpPr>
          <p:nvPr/>
        </p:nvGrpSpPr>
        <p:grpSpPr bwMode="auto">
          <a:xfrm>
            <a:off x="1893213" y="2537099"/>
            <a:ext cx="795695" cy="643418"/>
            <a:chOff x="3469" y="1860"/>
            <a:chExt cx="742" cy="600"/>
          </a:xfrm>
          <a:solidFill>
            <a:srgbClr val="FFFFFF"/>
          </a:solidFill>
        </p:grpSpPr>
        <p:sp>
          <p:nvSpPr>
            <p:cNvPr id="84" name="Freeform 31">
              <a:extLst>
                <a:ext uri="{FF2B5EF4-FFF2-40B4-BE49-F238E27FC236}">
                  <a16:creationId xmlns:a16="http://schemas.microsoft.com/office/drawing/2014/main" id="{26B5B492-D156-45B6-828B-9C8FB1E48755}"/>
                </a:ext>
              </a:extLst>
            </p:cNvPr>
            <p:cNvSpPr>
              <a:spLocks/>
            </p:cNvSpPr>
            <p:nvPr/>
          </p:nvSpPr>
          <p:spPr bwMode="auto">
            <a:xfrm>
              <a:off x="3662" y="1906"/>
              <a:ext cx="375" cy="508"/>
            </a:xfrm>
            <a:custGeom>
              <a:avLst/>
              <a:gdLst>
                <a:gd name="T0" fmla="*/ 186 w 375"/>
                <a:gd name="T1" fmla="*/ 508 h 508"/>
                <a:gd name="T2" fmla="*/ 0 w 375"/>
                <a:gd name="T3" fmla="*/ 204 h 508"/>
                <a:gd name="T4" fmla="*/ 16 w 375"/>
                <a:gd name="T5" fmla="*/ 195 h 508"/>
                <a:gd name="T6" fmla="*/ 168 w 375"/>
                <a:gd name="T7" fmla="*/ 444 h 508"/>
                <a:gd name="T8" fmla="*/ 168 w 375"/>
                <a:gd name="T9" fmla="*/ 0 h 508"/>
                <a:gd name="T10" fmla="*/ 375 w 375"/>
                <a:gd name="T11" fmla="*/ 192 h 508"/>
                <a:gd name="T12" fmla="*/ 365 w 375"/>
                <a:gd name="T13" fmla="*/ 206 h 508"/>
                <a:gd name="T14" fmla="*/ 186 w 375"/>
                <a:gd name="T15" fmla="*/ 41 h 508"/>
                <a:gd name="T16" fmla="*/ 186 w 375"/>
                <a:gd name="T17"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508">
                  <a:moveTo>
                    <a:pt x="186" y="508"/>
                  </a:moveTo>
                  <a:lnTo>
                    <a:pt x="0" y="204"/>
                  </a:lnTo>
                  <a:lnTo>
                    <a:pt x="16" y="195"/>
                  </a:lnTo>
                  <a:lnTo>
                    <a:pt x="168" y="444"/>
                  </a:lnTo>
                  <a:lnTo>
                    <a:pt x="168" y="0"/>
                  </a:lnTo>
                  <a:lnTo>
                    <a:pt x="375" y="192"/>
                  </a:lnTo>
                  <a:lnTo>
                    <a:pt x="365" y="206"/>
                  </a:lnTo>
                  <a:lnTo>
                    <a:pt x="186" y="41"/>
                  </a:lnTo>
                  <a:lnTo>
                    <a:pt x="186" y="5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85" name="Freeform 32">
              <a:extLst>
                <a:ext uri="{FF2B5EF4-FFF2-40B4-BE49-F238E27FC236}">
                  <a16:creationId xmlns:a16="http://schemas.microsoft.com/office/drawing/2014/main" id="{ADE55F59-A40D-4BDA-A9E0-8619FB6B0DF6}"/>
                </a:ext>
              </a:extLst>
            </p:cNvPr>
            <p:cNvSpPr>
              <a:spLocks/>
            </p:cNvSpPr>
            <p:nvPr/>
          </p:nvSpPr>
          <p:spPr bwMode="auto">
            <a:xfrm>
              <a:off x="3536" y="2098"/>
              <a:ext cx="501" cy="298"/>
            </a:xfrm>
            <a:custGeom>
              <a:avLst/>
              <a:gdLst>
                <a:gd name="T0" fmla="*/ 9 w 501"/>
                <a:gd name="T1" fmla="*/ 298 h 298"/>
                <a:gd name="T2" fmla="*/ 0 w 501"/>
                <a:gd name="T3" fmla="*/ 282 h 298"/>
                <a:gd name="T4" fmla="*/ 493 w 501"/>
                <a:gd name="T5" fmla="*/ 0 h 298"/>
                <a:gd name="T6" fmla="*/ 501 w 501"/>
                <a:gd name="T7" fmla="*/ 14 h 298"/>
                <a:gd name="T8" fmla="*/ 9 w 501"/>
                <a:gd name="T9" fmla="*/ 298 h 298"/>
              </a:gdLst>
              <a:ahLst/>
              <a:cxnLst>
                <a:cxn ang="0">
                  <a:pos x="T0" y="T1"/>
                </a:cxn>
                <a:cxn ang="0">
                  <a:pos x="T2" y="T3"/>
                </a:cxn>
                <a:cxn ang="0">
                  <a:pos x="T4" y="T5"/>
                </a:cxn>
                <a:cxn ang="0">
                  <a:pos x="T6" y="T7"/>
                </a:cxn>
                <a:cxn ang="0">
                  <a:pos x="T8" y="T9"/>
                </a:cxn>
              </a:cxnLst>
              <a:rect l="0" t="0" r="r" b="b"/>
              <a:pathLst>
                <a:path w="501" h="298">
                  <a:moveTo>
                    <a:pt x="9" y="298"/>
                  </a:moveTo>
                  <a:lnTo>
                    <a:pt x="0" y="282"/>
                  </a:lnTo>
                  <a:lnTo>
                    <a:pt x="493" y="0"/>
                  </a:lnTo>
                  <a:lnTo>
                    <a:pt x="501" y="14"/>
                  </a:lnTo>
                  <a:lnTo>
                    <a:pt x="9" y="2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86" name="Freeform 33">
              <a:extLst>
                <a:ext uri="{FF2B5EF4-FFF2-40B4-BE49-F238E27FC236}">
                  <a16:creationId xmlns:a16="http://schemas.microsoft.com/office/drawing/2014/main" id="{AA6FA0C5-8581-4E2E-9F9A-82A9AECC0BA3}"/>
                </a:ext>
              </a:extLst>
            </p:cNvPr>
            <p:cNvSpPr>
              <a:spLocks/>
            </p:cNvSpPr>
            <p:nvPr/>
          </p:nvSpPr>
          <p:spPr bwMode="auto">
            <a:xfrm>
              <a:off x="3533" y="2096"/>
              <a:ext cx="614" cy="295"/>
            </a:xfrm>
            <a:custGeom>
              <a:avLst/>
              <a:gdLst>
                <a:gd name="T0" fmla="*/ 16 w 614"/>
                <a:gd name="T1" fmla="*/ 295 h 295"/>
                <a:gd name="T2" fmla="*/ 0 w 614"/>
                <a:gd name="T3" fmla="*/ 287 h 295"/>
                <a:gd name="T4" fmla="*/ 131 w 614"/>
                <a:gd name="T5" fmla="*/ 0 h 295"/>
                <a:gd name="T6" fmla="*/ 506 w 614"/>
                <a:gd name="T7" fmla="*/ 0 h 295"/>
                <a:gd name="T8" fmla="*/ 614 w 614"/>
                <a:gd name="T9" fmla="*/ 287 h 295"/>
                <a:gd name="T10" fmla="*/ 596 w 614"/>
                <a:gd name="T11" fmla="*/ 295 h 295"/>
                <a:gd name="T12" fmla="*/ 494 w 614"/>
                <a:gd name="T13" fmla="*/ 18 h 295"/>
                <a:gd name="T14" fmla="*/ 143 w 614"/>
                <a:gd name="T15" fmla="*/ 18 h 295"/>
                <a:gd name="T16" fmla="*/ 16 w 614"/>
                <a:gd name="T17"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295">
                  <a:moveTo>
                    <a:pt x="16" y="295"/>
                  </a:moveTo>
                  <a:lnTo>
                    <a:pt x="0" y="287"/>
                  </a:lnTo>
                  <a:lnTo>
                    <a:pt x="131" y="0"/>
                  </a:lnTo>
                  <a:lnTo>
                    <a:pt x="506" y="0"/>
                  </a:lnTo>
                  <a:lnTo>
                    <a:pt x="614" y="287"/>
                  </a:lnTo>
                  <a:lnTo>
                    <a:pt x="596" y="295"/>
                  </a:lnTo>
                  <a:lnTo>
                    <a:pt x="494" y="18"/>
                  </a:lnTo>
                  <a:lnTo>
                    <a:pt x="143" y="18"/>
                  </a:lnTo>
                  <a:lnTo>
                    <a:pt x="16" y="2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87" name="Oval 34">
              <a:extLst>
                <a:ext uri="{FF2B5EF4-FFF2-40B4-BE49-F238E27FC236}">
                  <a16:creationId xmlns:a16="http://schemas.microsoft.com/office/drawing/2014/main" id="{4346DB59-61FC-4D78-801A-FF44FFDF7983}"/>
                </a:ext>
              </a:extLst>
            </p:cNvPr>
            <p:cNvSpPr>
              <a:spLocks noChangeArrowheads="1"/>
            </p:cNvSpPr>
            <p:nvPr/>
          </p:nvSpPr>
          <p:spPr bwMode="auto">
            <a:xfrm>
              <a:off x="3768" y="1860"/>
              <a:ext cx="144" cy="144"/>
            </a:xfrm>
            <a:prstGeom prst="ellipse">
              <a:avLst/>
            </a:pr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88" name="Oval 35">
              <a:extLst>
                <a:ext uri="{FF2B5EF4-FFF2-40B4-BE49-F238E27FC236}">
                  <a16:creationId xmlns:a16="http://schemas.microsoft.com/office/drawing/2014/main" id="{11363E0C-2C0C-4C41-9E29-E8E34ADC8450}"/>
                </a:ext>
              </a:extLst>
            </p:cNvPr>
            <p:cNvSpPr>
              <a:spLocks noChangeArrowheads="1"/>
            </p:cNvSpPr>
            <p:nvPr/>
          </p:nvSpPr>
          <p:spPr bwMode="auto">
            <a:xfrm>
              <a:off x="3604" y="2039"/>
              <a:ext cx="145" cy="14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89" name="Oval 36">
              <a:extLst>
                <a:ext uri="{FF2B5EF4-FFF2-40B4-BE49-F238E27FC236}">
                  <a16:creationId xmlns:a16="http://schemas.microsoft.com/office/drawing/2014/main" id="{7F198DA2-252D-4FE0-946E-921892D4E839}"/>
                </a:ext>
              </a:extLst>
            </p:cNvPr>
            <p:cNvSpPr>
              <a:spLocks noChangeArrowheads="1"/>
            </p:cNvSpPr>
            <p:nvPr/>
          </p:nvSpPr>
          <p:spPr bwMode="auto">
            <a:xfrm>
              <a:off x="3959" y="2032"/>
              <a:ext cx="146" cy="14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90" name="Oval 37">
              <a:extLst>
                <a:ext uri="{FF2B5EF4-FFF2-40B4-BE49-F238E27FC236}">
                  <a16:creationId xmlns:a16="http://schemas.microsoft.com/office/drawing/2014/main" id="{BA041BEF-DED8-467E-B8F4-4E289774B97D}"/>
                </a:ext>
              </a:extLst>
            </p:cNvPr>
            <p:cNvSpPr>
              <a:spLocks noChangeArrowheads="1"/>
            </p:cNvSpPr>
            <p:nvPr/>
          </p:nvSpPr>
          <p:spPr bwMode="auto">
            <a:xfrm>
              <a:off x="3768" y="2314"/>
              <a:ext cx="144" cy="146"/>
            </a:xfrm>
            <a:prstGeom prst="ellipse">
              <a:avLst/>
            </a:pr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91" name="Oval 38">
              <a:extLst>
                <a:ext uri="{FF2B5EF4-FFF2-40B4-BE49-F238E27FC236}">
                  <a16:creationId xmlns:a16="http://schemas.microsoft.com/office/drawing/2014/main" id="{9D4CD841-EBED-47F7-9D53-6BF2B3F9CED6}"/>
                </a:ext>
              </a:extLst>
            </p:cNvPr>
            <p:cNvSpPr>
              <a:spLocks noChangeArrowheads="1"/>
            </p:cNvSpPr>
            <p:nvPr/>
          </p:nvSpPr>
          <p:spPr bwMode="auto">
            <a:xfrm>
              <a:off x="3469" y="2314"/>
              <a:ext cx="145" cy="14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92" name="Oval 39">
              <a:extLst>
                <a:ext uri="{FF2B5EF4-FFF2-40B4-BE49-F238E27FC236}">
                  <a16:creationId xmlns:a16="http://schemas.microsoft.com/office/drawing/2014/main" id="{78A0A47E-5740-43F6-B9FA-66F126FBED22}"/>
                </a:ext>
              </a:extLst>
            </p:cNvPr>
            <p:cNvSpPr>
              <a:spLocks noChangeArrowheads="1"/>
            </p:cNvSpPr>
            <p:nvPr/>
          </p:nvSpPr>
          <p:spPr bwMode="auto">
            <a:xfrm>
              <a:off x="4066" y="2314"/>
              <a:ext cx="145" cy="14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grpSp>
      <p:sp>
        <p:nvSpPr>
          <p:cNvPr id="94" name="Oval 93">
            <a:extLst>
              <a:ext uri="{FF2B5EF4-FFF2-40B4-BE49-F238E27FC236}">
                <a16:creationId xmlns:a16="http://schemas.microsoft.com/office/drawing/2014/main" id="{F821D22A-35E4-416A-B07A-0A49F59D2FB4}"/>
              </a:ext>
            </a:extLst>
          </p:cNvPr>
          <p:cNvSpPr>
            <a:spLocks noChangeAspect="1"/>
          </p:cNvSpPr>
          <p:nvPr/>
        </p:nvSpPr>
        <p:spPr bwMode="auto">
          <a:xfrm>
            <a:off x="5375394" y="2155367"/>
            <a:ext cx="1426184" cy="1426184"/>
          </a:xfrm>
          <a:prstGeom prst="ellipse">
            <a:avLst/>
          </a:prstGeom>
          <a:noFill/>
          <a:ln w="25400" cap="flat" cmpd="sng" algn="ctr">
            <a:solidFill>
              <a:schemeClr val="accent1"/>
            </a:solid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a:ln>
                <a:noFill/>
              </a:ln>
              <a:noFill/>
              <a:effectLst/>
              <a:uLnTx/>
              <a:uFillTx/>
              <a:latin typeface="Segoe UI Semilight"/>
              <a:ea typeface="+mn-ea"/>
              <a:cs typeface="+mn-cs"/>
            </a:endParaRPr>
          </a:p>
        </p:txBody>
      </p:sp>
      <p:sp>
        <p:nvSpPr>
          <p:cNvPr id="95" name="Oval 94">
            <a:extLst>
              <a:ext uri="{FF2B5EF4-FFF2-40B4-BE49-F238E27FC236}">
                <a16:creationId xmlns:a16="http://schemas.microsoft.com/office/drawing/2014/main" id="{3FF22275-B4E3-4891-894B-56604346F5B8}"/>
              </a:ext>
            </a:extLst>
          </p:cNvPr>
          <p:cNvSpPr>
            <a:spLocks noChangeAspect="1"/>
          </p:cNvSpPr>
          <p:nvPr/>
        </p:nvSpPr>
        <p:spPr bwMode="auto">
          <a:xfrm>
            <a:off x="9172820" y="2155367"/>
            <a:ext cx="1426184" cy="1426184"/>
          </a:xfrm>
          <a:prstGeom prst="ellipse">
            <a:avLst/>
          </a:prstGeom>
          <a:noFill/>
          <a:ln w="25400" cap="flat" cmpd="sng" algn="ctr">
            <a:solidFill>
              <a:schemeClr val="accent1"/>
            </a:solid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a:ln>
                  <a:noFill/>
                </a:ln>
                <a:noFill/>
                <a:effectLst/>
                <a:uLnTx/>
                <a:uFillTx/>
                <a:latin typeface="Segoe UI Semilight"/>
                <a:ea typeface="+mn-ea"/>
                <a:cs typeface="+mn-cs"/>
              </a:rPr>
              <a:t>a</a:t>
            </a:r>
          </a:p>
        </p:txBody>
      </p:sp>
      <p:grpSp>
        <p:nvGrpSpPr>
          <p:cNvPr id="96" name="Group 95">
            <a:extLst>
              <a:ext uri="{FF2B5EF4-FFF2-40B4-BE49-F238E27FC236}">
                <a16:creationId xmlns:a16="http://schemas.microsoft.com/office/drawing/2014/main" id="{E139F872-35EE-459B-865B-D32A94E8F958}"/>
              </a:ext>
            </a:extLst>
          </p:cNvPr>
          <p:cNvGrpSpPr>
            <a:grpSpLocks noChangeAspect="1"/>
          </p:cNvGrpSpPr>
          <p:nvPr/>
        </p:nvGrpSpPr>
        <p:grpSpPr>
          <a:xfrm>
            <a:off x="9469383" y="2498758"/>
            <a:ext cx="833059" cy="758705"/>
            <a:chOff x="3345542" y="920428"/>
            <a:chExt cx="5500916" cy="5009936"/>
          </a:xfrm>
        </p:grpSpPr>
        <p:sp>
          <p:nvSpPr>
            <p:cNvPr id="97" name="Freeform 6">
              <a:extLst>
                <a:ext uri="{FF2B5EF4-FFF2-40B4-BE49-F238E27FC236}">
                  <a16:creationId xmlns:a16="http://schemas.microsoft.com/office/drawing/2014/main" id="{BD3C4C5F-B3C8-4B7C-AAB3-6FA7303F2884}"/>
                </a:ext>
              </a:extLst>
            </p:cNvPr>
            <p:cNvSpPr>
              <a:spLocks/>
            </p:cNvSpPr>
            <p:nvPr/>
          </p:nvSpPr>
          <p:spPr bwMode="auto">
            <a:xfrm>
              <a:off x="5735187" y="4599904"/>
              <a:ext cx="624353" cy="207884"/>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98" name="Freeform 7">
              <a:extLst>
                <a:ext uri="{FF2B5EF4-FFF2-40B4-BE49-F238E27FC236}">
                  <a16:creationId xmlns:a16="http://schemas.microsoft.com/office/drawing/2014/main" id="{32958331-A3A3-4963-BD4C-40A39AEDE0D9}"/>
                </a:ext>
              </a:extLst>
            </p:cNvPr>
            <p:cNvSpPr>
              <a:spLocks/>
            </p:cNvSpPr>
            <p:nvPr/>
          </p:nvSpPr>
          <p:spPr bwMode="auto">
            <a:xfrm>
              <a:off x="7482327" y="3446140"/>
              <a:ext cx="645338" cy="1252502"/>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99" name="Freeform 8">
              <a:extLst>
                <a:ext uri="{FF2B5EF4-FFF2-40B4-BE49-F238E27FC236}">
                  <a16:creationId xmlns:a16="http://schemas.microsoft.com/office/drawing/2014/main" id="{D8CC5C5D-A439-4935-948C-6656E0A53D0B}"/>
                </a:ext>
              </a:extLst>
            </p:cNvPr>
            <p:cNvSpPr>
              <a:spLocks/>
            </p:cNvSpPr>
            <p:nvPr/>
          </p:nvSpPr>
          <p:spPr bwMode="auto">
            <a:xfrm>
              <a:off x="7713178" y="2437906"/>
              <a:ext cx="881444" cy="379391"/>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00" name="Oval 9">
              <a:extLst>
                <a:ext uri="{FF2B5EF4-FFF2-40B4-BE49-F238E27FC236}">
                  <a16:creationId xmlns:a16="http://schemas.microsoft.com/office/drawing/2014/main" id="{553DC097-4E32-476B-BCC6-AD175B47D279}"/>
                </a:ext>
              </a:extLst>
            </p:cNvPr>
            <p:cNvSpPr>
              <a:spLocks noChangeArrowheads="1"/>
            </p:cNvSpPr>
            <p:nvPr/>
          </p:nvSpPr>
          <p:spPr bwMode="auto">
            <a:xfrm>
              <a:off x="5478102" y="4797388"/>
              <a:ext cx="508927" cy="504120"/>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01" name="Oval 11">
              <a:extLst>
                <a:ext uri="{FF2B5EF4-FFF2-40B4-BE49-F238E27FC236}">
                  <a16:creationId xmlns:a16="http://schemas.microsoft.com/office/drawing/2014/main" id="{851B9154-7D17-47B3-A004-FFA3AB5B473B}"/>
                </a:ext>
              </a:extLst>
            </p:cNvPr>
            <p:cNvSpPr>
              <a:spLocks noChangeArrowheads="1"/>
            </p:cNvSpPr>
            <p:nvPr/>
          </p:nvSpPr>
          <p:spPr bwMode="auto">
            <a:xfrm>
              <a:off x="7875823" y="4698649"/>
              <a:ext cx="508927" cy="504120"/>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02" name="Oval 12">
              <a:extLst>
                <a:ext uri="{FF2B5EF4-FFF2-40B4-BE49-F238E27FC236}">
                  <a16:creationId xmlns:a16="http://schemas.microsoft.com/office/drawing/2014/main" id="{2BAF7E91-978A-4182-B510-515F456138AE}"/>
                </a:ext>
              </a:extLst>
            </p:cNvPr>
            <p:cNvSpPr>
              <a:spLocks noChangeArrowheads="1"/>
            </p:cNvSpPr>
            <p:nvPr/>
          </p:nvSpPr>
          <p:spPr bwMode="auto">
            <a:xfrm>
              <a:off x="8337531" y="1933786"/>
              <a:ext cx="508927" cy="504120"/>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03" name="Freeform 5">
              <a:extLst>
                <a:ext uri="{FF2B5EF4-FFF2-40B4-BE49-F238E27FC236}">
                  <a16:creationId xmlns:a16="http://schemas.microsoft.com/office/drawing/2014/main" id="{79C21E65-4F5B-488C-808F-BBA51CE75F35}"/>
                </a:ext>
              </a:extLst>
            </p:cNvPr>
            <p:cNvSpPr>
              <a:spLocks/>
            </p:cNvSpPr>
            <p:nvPr/>
          </p:nvSpPr>
          <p:spPr bwMode="auto">
            <a:xfrm>
              <a:off x="6359547" y="3939867"/>
              <a:ext cx="451208" cy="174103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04" name="Oval 10">
              <a:extLst>
                <a:ext uri="{FF2B5EF4-FFF2-40B4-BE49-F238E27FC236}">
                  <a16:creationId xmlns:a16="http://schemas.microsoft.com/office/drawing/2014/main" id="{F6EEF597-217C-4D19-BB73-7E8383E50E7C}"/>
                </a:ext>
              </a:extLst>
            </p:cNvPr>
            <p:cNvSpPr>
              <a:spLocks noChangeArrowheads="1"/>
            </p:cNvSpPr>
            <p:nvPr/>
          </p:nvSpPr>
          <p:spPr bwMode="auto">
            <a:xfrm>
              <a:off x="6810755" y="5431441"/>
              <a:ext cx="503678" cy="49892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4237805D-6542-4CA6-AFB5-554DF7CB9B0C}"/>
                </a:ext>
              </a:extLst>
            </p:cNvPr>
            <p:cNvSpPr/>
            <p:nvPr/>
          </p:nvSpPr>
          <p:spPr>
            <a:xfrm flipH="1">
              <a:off x="3345542" y="920428"/>
              <a:ext cx="4622040" cy="4578399"/>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chemeClr val="accent1"/>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8C070996-CF04-422D-96FE-AB4CC92689D7}"/>
                </a:ext>
              </a:extLst>
            </p:cNvPr>
            <p:cNvSpPr/>
            <p:nvPr/>
          </p:nvSpPr>
          <p:spPr>
            <a:xfrm flipH="1">
              <a:off x="6024142" y="1489411"/>
              <a:ext cx="736847" cy="729890"/>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chemeClr val="accent2"/>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107" name="Group 106">
            <a:extLst>
              <a:ext uri="{FF2B5EF4-FFF2-40B4-BE49-F238E27FC236}">
                <a16:creationId xmlns:a16="http://schemas.microsoft.com/office/drawing/2014/main" id="{966623F6-1766-4E7D-84D7-1626D07D92E6}"/>
              </a:ext>
            </a:extLst>
          </p:cNvPr>
          <p:cNvGrpSpPr/>
          <p:nvPr/>
        </p:nvGrpSpPr>
        <p:grpSpPr>
          <a:xfrm>
            <a:off x="5615769" y="2523573"/>
            <a:ext cx="945434" cy="709074"/>
            <a:chOff x="2005532" y="3070858"/>
            <a:chExt cx="945434" cy="709074"/>
          </a:xfrm>
        </p:grpSpPr>
        <p:grpSp>
          <p:nvGrpSpPr>
            <p:cNvPr id="108" name="Group 107">
              <a:extLst>
                <a:ext uri="{FF2B5EF4-FFF2-40B4-BE49-F238E27FC236}">
                  <a16:creationId xmlns:a16="http://schemas.microsoft.com/office/drawing/2014/main" id="{79D68D40-CCDB-460D-9195-EA9477BF620D}"/>
                </a:ext>
              </a:extLst>
            </p:cNvPr>
            <p:cNvGrpSpPr/>
            <p:nvPr/>
          </p:nvGrpSpPr>
          <p:grpSpPr>
            <a:xfrm>
              <a:off x="2005532" y="3070858"/>
              <a:ext cx="945434" cy="709074"/>
              <a:chOff x="2087865" y="3132607"/>
              <a:chExt cx="780768" cy="585576"/>
            </a:xfrm>
          </p:grpSpPr>
          <p:sp>
            <p:nvSpPr>
              <p:cNvPr id="119" name="Rectangle 401">
                <a:extLst>
                  <a:ext uri="{FF2B5EF4-FFF2-40B4-BE49-F238E27FC236}">
                    <a16:creationId xmlns:a16="http://schemas.microsoft.com/office/drawing/2014/main" id="{FBE8C269-548B-436C-B313-C014A715CF5A}"/>
                  </a:ext>
                </a:extLst>
              </p:cNvPr>
              <p:cNvSpPr>
                <a:spLocks noChangeArrowheads="1"/>
              </p:cNvSpPr>
              <p:nvPr/>
            </p:nvSpPr>
            <p:spPr bwMode="auto">
              <a:xfrm flipH="1">
                <a:off x="2087865" y="3132607"/>
                <a:ext cx="780768" cy="72571"/>
              </a:xfrm>
              <a:prstGeom prst="rect">
                <a:avLst/>
              </a:prstGeom>
              <a:solidFill>
                <a:srgbClr val="FFFFFF"/>
              </a:solid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0" name="Rectangle 402">
                <a:extLst>
                  <a:ext uri="{FF2B5EF4-FFF2-40B4-BE49-F238E27FC236}">
                    <a16:creationId xmlns:a16="http://schemas.microsoft.com/office/drawing/2014/main" id="{8A8A964F-BADA-40FC-AACB-208474A8DD5A}"/>
                  </a:ext>
                </a:extLst>
              </p:cNvPr>
              <p:cNvSpPr>
                <a:spLocks noChangeArrowheads="1"/>
              </p:cNvSpPr>
              <p:nvPr/>
            </p:nvSpPr>
            <p:spPr bwMode="auto">
              <a:xfrm flipH="1">
                <a:off x="2087865" y="3205178"/>
                <a:ext cx="780768" cy="513005"/>
              </a:xfrm>
              <a:prstGeom prst="rect">
                <a:avLst/>
              </a:prstGeom>
              <a:no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1" name="Oval 403">
                <a:extLst>
                  <a:ext uri="{FF2B5EF4-FFF2-40B4-BE49-F238E27FC236}">
                    <a16:creationId xmlns:a16="http://schemas.microsoft.com/office/drawing/2014/main" id="{42036DA4-4F48-4A98-BAF5-630D0422D75E}"/>
                  </a:ext>
                </a:extLst>
              </p:cNvPr>
              <p:cNvSpPr>
                <a:spLocks noChangeArrowheads="1"/>
              </p:cNvSpPr>
              <p:nvPr/>
            </p:nvSpPr>
            <p:spPr bwMode="auto">
              <a:xfrm flipH="1">
                <a:off x="2818584" y="3157632"/>
                <a:ext cx="25025" cy="250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Oval 404">
                <a:extLst>
                  <a:ext uri="{FF2B5EF4-FFF2-40B4-BE49-F238E27FC236}">
                    <a16:creationId xmlns:a16="http://schemas.microsoft.com/office/drawing/2014/main" id="{8272B896-1C33-4774-8197-146EFCB4ECF0}"/>
                  </a:ext>
                </a:extLst>
              </p:cNvPr>
              <p:cNvSpPr>
                <a:spLocks noChangeArrowheads="1"/>
              </p:cNvSpPr>
              <p:nvPr/>
            </p:nvSpPr>
            <p:spPr bwMode="auto">
              <a:xfrm flipH="1">
                <a:off x="2783549" y="3157632"/>
                <a:ext cx="25025" cy="250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Oval 405">
                <a:extLst>
                  <a:ext uri="{FF2B5EF4-FFF2-40B4-BE49-F238E27FC236}">
                    <a16:creationId xmlns:a16="http://schemas.microsoft.com/office/drawing/2014/main" id="{DBAE34AE-0A8C-4CDE-B2B8-BA532CE31200}"/>
                  </a:ext>
                </a:extLst>
              </p:cNvPr>
              <p:cNvSpPr>
                <a:spLocks noChangeArrowheads="1"/>
              </p:cNvSpPr>
              <p:nvPr/>
            </p:nvSpPr>
            <p:spPr bwMode="auto">
              <a:xfrm flipH="1">
                <a:off x="2746012" y="3157632"/>
                <a:ext cx="25025" cy="250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9" name="Group 59">
              <a:extLst>
                <a:ext uri="{FF2B5EF4-FFF2-40B4-BE49-F238E27FC236}">
                  <a16:creationId xmlns:a16="http://schemas.microsoft.com/office/drawing/2014/main" id="{946955F8-1361-4973-8A78-3B6FFA93B3B3}"/>
                </a:ext>
              </a:extLst>
            </p:cNvPr>
            <p:cNvGrpSpPr>
              <a:grpSpLocks noChangeAspect="1"/>
            </p:cNvGrpSpPr>
            <p:nvPr/>
          </p:nvGrpSpPr>
          <p:grpSpPr bwMode="auto">
            <a:xfrm>
              <a:off x="2530840" y="3252657"/>
              <a:ext cx="308332" cy="308332"/>
              <a:chOff x="4013" y="2783"/>
              <a:chExt cx="312" cy="312"/>
            </a:xfrm>
          </p:grpSpPr>
          <p:sp>
            <p:nvSpPr>
              <p:cNvPr id="114" name="AutoShape 58">
                <a:extLst>
                  <a:ext uri="{FF2B5EF4-FFF2-40B4-BE49-F238E27FC236}">
                    <a16:creationId xmlns:a16="http://schemas.microsoft.com/office/drawing/2014/main" id="{C2516C66-F2D9-4BB5-81F9-BC91DF6566D3}"/>
                  </a:ext>
                </a:extLst>
              </p:cNvPr>
              <p:cNvSpPr>
                <a:spLocks noChangeAspect="1" noChangeArrowheads="1" noTextEdit="1"/>
              </p:cNvSpPr>
              <p:nvPr/>
            </p:nvSpPr>
            <p:spPr bwMode="auto">
              <a:xfrm>
                <a:off x="4013" y="278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Rectangle 60">
                <a:extLst>
                  <a:ext uri="{FF2B5EF4-FFF2-40B4-BE49-F238E27FC236}">
                    <a16:creationId xmlns:a16="http://schemas.microsoft.com/office/drawing/2014/main" id="{07D30FF2-A761-429F-8AA5-E2C83CFC20AC}"/>
                  </a:ext>
                </a:extLst>
              </p:cNvPr>
              <p:cNvSpPr>
                <a:spLocks noChangeArrowheads="1"/>
              </p:cNvSpPr>
              <p:nvPr/>
            </p:nvSpPr>
            <p:spPr bwMode="auto">
              <a:xfrm>
                <a:off x="4013" y="2784"/>
                <a:ext cx="312" cy="3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Rectangle 61">
                <a:extLst>
                  <a:ext uri="{FF2B5EF4-FFF2-40B4-BE49-F238E27FC236}">
                    <a16:creationId xmlns:a16="http://schemas.microsoft.com/office/drawing/2014/main" id="{1337D987-7CC4-4343-B1B9-2B9B78DE7C3A}"/>
                  </a:ext>
                </a:extLst>
              </p:cNvPr>
              <p:cNvSpPr>
                <a:spLocks noChangeArrowheads="1"/>
              </p:cNvSpPr>
              <p:nvPr/>
            </p:nvSpPr>
            <p:spPr bwMode="auto">
              <a:xfrm>
                <a:off x="4013" y="2783"/>
                <a:ext cx="312" cy="3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62">
                <a:extLst>
                  <a:ext uri="{FF2B5EF4-FFF2-40B4-BE49-F238E27FC236}">
                    <a16:creationId xmlns:a16="http://schemas.microsoft.com/office/drawing/2014/main" id="{EFFA3CDB-432A-4CE2-A04B-DAB8E7ABBB17}"/>
                  </a:ext>
                </a:extLst>
              </p:cNvPr>
              <p:cNvSpPr>
                <a:spLocks/>
              </p:cNvSpPr>
              <p:nvPr/>
            </p:nvSpPr>
            <p:spPr bwMode="auto">
              <a:xfrm>
                <a:off x="4013" y="2900"/>
                <a:ext cx="312" cy="195"/>
              </a:xfrm>
              <a:custGeom>
                <a:avLst/>
                <a:gdLst>
                  <a:gd name="T0" fmla="*/ 263 w 312"/>
                  <a:gd name="T1" fmla="*/ 78 h 195"/>
                  <a:gd name="T2" fmla="*/ 214 w 312"/>
                  <a:gd name="T3" fmla="*/ 127 h 195"/>
                  <a:gd name="T4" fmla="*/ 88 w 312"/>
                  <a:gd name="T5" fmla="*/ 0 h 195"/>
                  <a:gd name="T6" fmla="*/ 0 w 312"/>
                  <a:gd name="T7" fmla="*/ 88 h 195"/>
                  <a:gd name="T8" fmla="*/ 0 w 312"/>
                  <a:gd name="T9" fmla="*/ 195 h 195"/>
                  <a:gd name="T10" fmla="*/ 88 w 312"/>
                  <a:gd name="T11" fmla="*/ 195 h 195"/>
                  <a:gd name="T12" fmla="*/ 146 w 312"/>
                  <a:gd name="T13" fmla="*/ 195 h 195"/>
                  <a:gd name="T14" fmla="*/ 263 w 312"/>
                  <a:gd name="T15" fmla="*/ 195 h 195"/>
                  <a:gd name="T16" fmla="*/ 282 w 312"/>
                  <a:gd name="T17" fmla="*/ 195 h 195"/>
                  <a:gd name="T18" fmla="*/ 312 w 312"/>
                  <a:gd name="T19" fmla="*/ 195 h 195"/>
                  <a:gd name="T20" fmla="*/ 312 w 312"/>
                  <a:gd name="T21" fmla="*/ 126 h 195"/>
                  <a:gd name="T22" fmla="*/ 263 w 312"/>
                  <a:gd name="T23" fmla="*/ 7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2" h="195">
                    <a:moveTo>
                      <a:pt x="263" y="78"/>
                    </a:moveTo>
                    <a:lnTo>
                      <a:pt x="214" y="127"/>
                    </a:lnTo>
                    <a:lnTo>
                      <a:pt x="88" y="0"/>
                    </a:lnTo>
                    <a:lnTo>
                      <a:pt x="0" y="88"/>
                    </a:lnTo>
                    <a:lnTo>
                      <a:pt x="0" y="195"/>
                    </a:lnTo>
                    <a:lnTo>
                      <a:pt x="88" y="195"/>
                    </a:lnTo>
                    <a:lnTo>
                      <a:pt x="146" y="195"/>
                    </a:lnTo>
                    <a:lnTo>
                      <a:pt x="263" y="195"/>
                    </a:lnTo>
                    <a:lnTo>
                      <a:pt x="282" y="195"/>
                    </a:lnTo>
                    <a:lnTo>
                      <a:pt x="312" y="195"/>
                    </a:lnTo>
                    <a:lnTo>
                      <a:pt x="312" y="126"/>
                    </a:lnTo>
                    <a:lnTo>
                      <a:pt x="263" y="7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8" name="Oval 63">
                <a:extLst>
                  <a:ext uri="{FF2B5EF4-FFF2-40B4-BE49-F238E27FC236}">
                    <a16:creationId xmlns:a16="http://schemas.microsoft.com/office/drawing/2014/main" id="{83FF1787-31B5-425B-A3EE-598B376488FB}"/>
                  </a:ext>
                </a:extLst>
              </p:cNvPr>
              <p:cNvSpPr>
                <a:spLocks noChangeArrowheads="1"/>
              </p:cNvSpPr>
              <p:nvPr/>
            </p:nvSpPr>
            <p:spPr bwMode="auto">
              <a:xfrm>
                <a:off x="4198" y="2822"/>
                <a:ext cx="88" cy="88"/>
              </a:xfrm>
              <a:prstGeom prst="ellipse">
                <a:avLst/>
              </a:prstGeom>
              <a:solidFill>
                <a:srgbClr val="F4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0" name="Rectangle 109">
              <a:extLst>
                <a:ext uri="{FF2B5EF4-FFF2-40B4-BE49-F238E27FC236}">
                  <a16:creationId xmlns:a16="http://schemas.microsoft.com/office/drawing/2014/main" id="{22254763-24F9-4BE3-A96F-1181E65046E3}"/>
                </a:ext>
              </a:extLst>
            </p:cNvPr>
            <p:cNvSpPr/>
            <p:nvPr/>
          </p:nvSpPr>
          <p:spPr bwMode="auto">
            <a:xfrm flipH="1">
              <a:off x="2066366" y="3656928"/>
              <a:ext cx="650981" cy="485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110">
              <a:extLst>
                <a:ext uri="{FF2B5EF4-FFF2-40B4-BE49-F238E27FC236}">
                  <a16:creationId xmlns:a16="http://schemas.microsoft.com/office/drawing/2014/main" id="{97A473B1-C1E8-4240-943B-9D734C235662}"/>
                </a:ext>
              </a:extLst>
            </p:cNvPr>
            <p:cNvSpPr/>
            <p:nvPr/>
          </p:nvSpPr>
          <p:spPr bwMode="auto">
            <a:xfrm flipH="1">
              <a:off x="2066369" y="3546511"/>
              <a:ext cx="297192" cy="497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11">
              <a:extLst>
                <a:ext uri="{FF2B5EF4-FFF2-40B4-BE49-F238E27FC236}">
                  <a16:creationId xmlns:a16="http://schemas.microsoft.com/office/drawing/2014/main" id="{BFC8A991-0EBA-4010-9A23-E7B06ADA7B2A}"/>
                </a:ext>
              </a:extLst>
            </p:cNvPr>
            <p:cNvSpPr/>
            <p:nvPr/>
          </p:nvSpPr>
          <p:spPr bwMode="auto">
            <a:xfrm flipH="1">
              <a:off x="2066365" y="3437305"/>
              <a:ext cx="347546" cy="485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B07EA3DF-0FE0-461E-B617-C0EF466E2821}"/>
                </a:ext>
              </a:extLst>
            </p:cNvPr>
            <p:cNvSpPr/>
            <p:nvPr/>
          </p:nvSpPr>
          <p:spPr bwMode="auto">
            <a:xfrm flipH="1">
              <a:off x="2066369" y="3329080"/>
              <a:ext cx="250572" cy="475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76777561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a:extLst>
              <a:ext uri="{FF2B5EF4-FFF2-40B4-BE49-F238E27FC236}">
                <a16:creationId xmlns:a16="http://schemas.microsoft.com/office/drawing/2014/main" id="{E61ED51F-7EDB-4FE6-BD4F-A0A2E4AFD594}"/>
              </a:ext>
            </a:extLst>
          </p:cNvPr>
          <p:cNvGrpSpPr/>
          <p:nvPr/>
        </p:nvGrpSpPr>
        <p:grpSpPr>
          <a:xfrm>
            <a:off x="3961639" y="1422217"/>
            <a:ext cx="414950" cy="512847"/>
            <a:chOff x="3973963" y="1325161"/>
            <a:chExt cx="414950" cy="512847"/>
          </a:xfrm>
        </p:grpSpPr>
        <p:grpSp>
          <p:nvGrpSpPr>
            <p:cNvPr id="123" name="Group 122">
              <a:extLst>
                <a:ext uri="{FF2B5EF4-FFF2-40B4-BE49-F238E27FC236}">
                  <a16:creationId xmlns:a16="http://schemas.microsoft.com/office/drawing/2014/main" id="{0E28348D-34A9-421A-B35C-9E9EBE05159F}"/>
                </a:ext>
              </a:extLst>
            </p:cNvPr>
            <p:cNvGrpSpPr/>
            <p:nvPr/>
          </p:nvGrpSpPr>
          <p:grpSpPr>
            <a:xfrm>
              <a:off x="3973963" y="1534721"/>
              <a:ext cx="414950" cy="303287"/>
              <a:chOff x="-709939" y="1835886"/>
              <a:chExt cx="2805497" cy="2050536"/>
            </a:xfrm>
            <a:solidFill>
              <a:schemeClr val="bg2">
                <a:lumMod val="50000"/>
              </a:schemeClr>
            </a:solidFill>
          </p:grpSpPr>
          <p:sp>
            <p:nvSpPr>
              <p:cNvPr id="124" name="Oval 87">
                <a:extLst>
                  <a:ext uri="{FF2B5EF4-FFF2-40B4-BE49-F238E27FC236}">
                    <a16:creationId xmlns:a16="http://schemas.microsoft.com/office/drawing/2014/main" id="{0E3D9087-A5A6-49D6-96BA-1FBA3C81BCB4}"/>
                  </a:ext>
                </a:extLst>
              </p:cNvPr>
              <p:cNvSpPr/>
              <p:nvPr/>
            </p:nvSpPr>
            <p:spPr>
              <a:xfrm>
                <a:off x="-709939" y="2649679"/>
                <a:ext cx="2805497" cy="1236743"/>
              </a:xfrm>
              <a:custGeom>
                <a:avLst/>
                <a:gdLst>
                  <a:gd name="connsiteX0" fmla="*/ 0 w 2131421"/>
                  <a:gd name="connsiteY0" fmla="*/ 629088 h 1258176"/>
                  <a:gd name="connsiteX1" fmla="*/ 1065711 w 2131421"/>
                  <a:gd name="connsiteY1" fmla="*/ 0 h 1258176"/>
                  <a:gd name="connsiteX2" fmla="*/ 2131422 w 2131421"/>
                  <a:gd name="connsiteY2" fmla="*/ 629088 h 1258176"/>
                  <a:gd name="connsiteX3" fmla="*/ 1065711 w 2131421"/>
                  <a:gd name="connsiteY3" fmla="*/ 1258176 h 1258176"/>
                  <a:gd name="connsiteX4" fmla="*/ 0 w 2131421"/>
                  <a:gd name="connsiteY4" fmla="*/ 629088 h 1258176"/>
                  <a:gd name="connsiteX0" fmla="*/ 0 w 2472384"/>
                  <a:gd name="connsiteY0" fmla="*/ 632912 h 1273485"/>
                  <a:gd name="connsiteX1" fmla="*/ 1065711 w 2472384"/>
                  <a:gd name="connsiteY1" fmla="*/ 3824 h 1273485"/>
                  <a:gd name="connsiteX2" fmla="*/ 2472384 w 2472384"/>
                  <a:gd name="connsiteY2" fmla="*/ 890184 h 1273485"/>
                  <a:gd name="connsiteX3" fmla="*/ 1065711 w 2472384"/>
                  <a:gd name="connsiteY3" fmla="*/ 1262000 h 1273485"/>
                  <a:gd name="connsiteX4" fmla="*/ 0 w 2472384"/>
                  <a:gd name="connsiteY4" fmla="*/ 632912 h 1273485"/>
                  <a:gd name="connsiteX0" fmla="*/ 0 w 2779250"/>
                  <a:gd name="connsiteY0" fmla="*/ 917394 h 1259324"/>
                  <a:gd name="connsiteX1" fmla="*/ 1372577 w 2779250"/>
                  <a:gd name="connsiteY1" fmla="*/ 37 h 1259324"/>
                  <a:gd name="connsiteX2" fmla="*/ 2779250 w 2779250"/>
                  <a:gd name="connsiteY2" fmla="*/ 886397 h 1259324"/>
                  <a:gd name="connsiteX3" fmla="*/ 1372577 w 2779250"/>
                  <a:gd name="connsiteY3" fmla="*/ 1258213 h 1259324"/>
                  <a:gd name="connsiteX4" fmla="*/ 0 w 2779250"/>
                  <a:gd name="connsiteY4" fmla="*/ 917394 h 1259324"/>
                  <a:gd name="connsiteX0" fmla="*/ 0 w 2779250"/>
                  <a:gd name="connsiteY0" fmla="*/ 917394 h 1258354"/>
                  <a:gd name="connsiteX1" fmla="*/ 1372577 w 2779250"/>
                  <a:gd name="connsiteY1" fmla="*/ 37 h 1258354"/>
                  <a:gd name="connsiteX2" fmla="*/ 2779250 w 2779250"/>
                  <a:gd name="connsiteY2" fmla="*/ 886397 h 1258354"/>
                  <a:gd name="connsiteX3" fmla="*/ 1372577 w 2779250"/>
                  <a:gd name="connsiteY3" fmla="*/ 1258213 h 1258354"/>
                  <a:gd name="connsiteX4" fmla="*/ 0 w 2779250"/>
                  <a:gd name="connsiteY4" fmla="*/ 917394 h 1258354"/>
                  <a:gd name="connsiteX0" fmla="*/ 31345 w 2810595"/>
                  <a:gd name="connsiteY0" fmla="*/ 930067 h 1271027"/>
                  <a:gd name="connsiteX1" fmla="*/ 520019 w 2810595"/>
                  <a:gd name="connsiteY1" fmla="*/ 412315 h 1271027"/>
                  <a:gd name="connsiteX2" fmla="*/ 1403922 w 2810595"/>
                  <a:gd name="connsiteY2" fmla="*/ 12710 h 1271027"/>
                  <a:gd name="connsiteX3" fmla="*/ 2810595 w 2810595"/>
                  <a:gd name="connsiteY3" fmla="*/ 899070 h 1271027"/>
                  <a:gd name="connsiteX4" fmla="*/ 1403922 w 2810595"/>
                  <a:gd name="connsiteY4" fmla="*/ 1270886 h 1271027"/>
                  <a:gd name="connsiteX5" fmla="*/ 31345 w 2810595"/>
                  <a:gd name="connsiteY5" fmla="*/ 930067 h 1271027"/>
                  <a:gd name="connsiteX0" fmla="*/ 48540 w 2827790"/>
                  <a:gd name="connsiteY0" fmla="*/ 943388 h 1284314"/>
                  <a:gd name="connsiteX1" fmla="*/ 413228 w 2827790"/>
                  <a:gd name="connsiteY1" fmla="*/ 298550 h 1284314"/>
                  <a:gd name="connsiteX2" fmla="*/ 1421117 w 2827790"/>
                  <a:gd name="connsiteY2" fmla="*/ 26031 h 1284314"/>
                  <a:gd name="connsiteX3" fmla="*/ 2827790 w 2827790"/>
                  <a:gd name="connsiteY3" fmla="*/ 912391 h 1284314"/>
                  <a:gd name="connsiteX4" fmla="*/ 1421117 w 2827790"/>
                  <a:gd name="connsiteY4" fmla="*/ 1284207 h 1284314"/>
                  <a:gd name="connsiteX5" fmla="*/ 48540 w 2827790"/>
                  <a:gd name="connsiteY5" fmla="*/ 943388 h 1284314"/>
                  <a:gd name="connsiteX0" fmla="*/ 48540 w 2848791"/>
                  <a:gd name="connsiteY0" fmla="*/ 917737 h 1258663"/>
                  <a:gd name="connsiteX1" fmla="*/ 413228 w 2848791"/>
                  <a:gd name="connsiteY1" fmla="*/ 272899 h 1258663"/>
                  <a:gd name="connsiteX2" fmla="*/ 1421117 w 2848791"/>
                  <a:gd name="connsiteY2" fmla="*/ 380 h 1258663"/>
                  <a:gd name="connsiteX3" fmla="*/ 2207932 w 2848791"/>
                  <a:gd name="connsiteY3" fmla="*/ 322495 h 1258663"/>
                  <a:gd name="connsiteX4" fmla="*/ 2827790 w 2848791"/>
                  <a:gd name="connsiteY4" fmla="*/ 886740 h 1258663"/>
                  <a:gd name="connsiteX5" fmla="*/ 1421117 w 2848791"/>
                  <a:gd name="connsiteY5" fmla="*/ 1258556 h 1258663"/>
                  <a:gd name="connsiteX6" fmla="*/ 48540 w 2848791"/>
                  <a:gd name="connsiteY6" fmla="*/ 917737 h 1258663"/>
                  <a:gd name="connsiteX0" fmla="*/ 48540 w 2862285"/>
                  <a:gd name="connsiteY0" fmla="*/ 917364 h 1258290"/>
                  <a:gd name="connsiteX1" fmla="*/ 413228 w 2862285"/>
                  <a:gd name="connsiteY1" fmla="*/ 272526 h 1258290"/>
                  <a:gd name="connsiteX2" fmla="*/ 1421117 w 2862285"/>
                  <a:gd name="connsiteY2" fmla="*/ 7 h 1258290"/>
                  <a:gd name="connsiteX3" fmla="*/ 2455905 w 2862285"/>
                  <a:gd name="connsiteY3" fmla="*/ 266328 h 1258290"/>
                  <a:gd name="connsiteX4" fmla="*/ 2827790 w 2862285"/>
                  <a:gd name="connsiteY4" fmla="*/ 886367 h 1258290"/>
                  <a:gd name="connsiteX5" fmla="*/ 1421117 w 2862285"/>
                  <a:gd name="connsiteY5" fmla="*/ 1258183 h 1258290"/>
                  <a:gd name="connsiteX6" fmla="*/ 48540 w 2862285"/>
                  <a:gd name="connsiteY6" fmla="*/ 917364 h 1258290"/>
                  <a:gd name="connsiteX0" fmla="*/ 48540 w 2862285"/>
                  <a:gd name="connsiteY0" fmla="*/ 870873 h 1211799"/>
                  <a:gd name="connsiteX1" fmla="*/ 413228 w 2862285"/>
                  <a:gd name="connsiteY1" fmla="*/ 226035 h 1211799"/>
                  <a:gd name="connsiteX2" fmla="*/ 1418017 w 2862285"/>
                  <a:gd name="connsiteY2" fmla="*/ 11 h 1211799"/>
                  <a:gd name="connsiteX3" fmla="*/ 2455905 w 2862285"/>
                  <a:gd name="connsiteY3" fmla="*/ 219837 h 1211799"/>
                  <a:gd name="connsiteX4" fmla="*/ 2827790 w 2862285"/>
                  <a:gd name="connsiteY4" fmla="*/ 839876 h 1211799"/>
                  <a:gd name="connsiteX5" fmla="*/ 1421117 w 2862285"/>
                  <a:gd name="connsiteY5" fmla="*/ 1211692 h 1211799"/>
                  <a:gd name="connsiteX6" fmla="*/ 48540 w 2862285"/>
                  <a:gd name="connsiteY6" fmla="*/ 870873 h 1211799"/>
                  <a:gd name="connsiteX0" fmla="*/ 48540 w 2853817"/>
                  <a:gd name="connsiteY0" fmla="*/ 870873 h 1214250"/>
                  <a:gd name="connsiteX1" fmla="*/ 413228 w 2853817"/>
                  <a:gd name="connsiteY1" fmla="*/ 226035 h 1214250"/>
                  <a:gd name="connsiteX2" fmla="*/ 1418017 w 2853817"/>
                  <a:gd name="connsiteY2" fmla="*/ 11 h 1214250"/>
                  <a:gd name="connsiteX3" fmla="*/ 2455905 w 2853817"/>
                  <a:gd name="connsiteY3" fmla="*/ 219837 h 1214250"/>
                  <a:gd name="connsiteX4" fmla="*/ 2818491 w 2853817"/>
                  <a:gd name="connsiteY4" fmla="*/ 985560 h 1214250"/>
                  <a:gd name="connsiteX5" fmla="*/ 1421117 w 2853817"/>
                  <a:gd name="connsiteY5" fmla="*/ 1211692 h 1214250"/>
                  <a:gd name="connsiteX6" fmla="*/ 48540 w 2853817"/>
                  <a:gd name="connsiteY6" fmla="*/ 870873 h 1214250"/>
                  <a:gd name="connsiteX0" fmla="*/ 50935 w 2834514"/>
                  <a:gd name="connsiteY0" fmla="*/ 997959 h 1211751"/>
                  <a:gd name="connsiteX1" fmla="*/ 393925 w 2834514"/>
                  <a:gd name="connsiteY1" fmla="*/ 226035 h 1211751"/>
                  <a:gd name="connsiteX2" fmla="*/ 1398714 w 2834514"/>
                  <a:gd name="connsiteY2" fmla="*/ 11 h 1211751"/>
                  <a:gd name="connsiteX3" fmla="*/ 2436602 w 2834514"/>
                  <a:gd name="connsiteY3" fmla="*/ 219837 h 1211751"/>
                  <a:gd name="connsiteX4" fmla="*/ 2799188 w 2834514"/>
                  <a:gd name="connsiteY4" fmla="*/ 985560 h 1211751"/>
                  <a:gd name="connsiteX5" fmla="*/ 1401814 w 2834514"/>
                  <a:gd name="connsiteY5" fmla="*/ 1211692 h 1211751"/>
                  <a:gd name="connsiteX6" fmla="*/ 50935 w 2834514"/>
                  <a:gd name="connsiteY6" fmla="*/ 997959 h 1211751"/>
                  <a:gd name="connsiteX0" fmla="*/ 37723 w 2821302"/>
                  <a:gd name="connsiteY0" fmla="*/ 997959 h 1211882"/>
                  <a:gd name="connsiteX1" fmla="*/ 380713 w 2821302"/>
                  <a:gd name="connsiteY1" fmla="*/ 226035 h 1211882"/>
                  <a:gd name="connsiteX2" fmla="*/ 1385502 w 2821302"/>
                  <a:gd name="connsiteY2" fmla="*/ 11 h 1211882"/>
                  <a:gd name="connsiteX3" fmla="*/ 2423390 w 2821302"/>
                  <a:gd name="connsiteY3" fmla="*/ 219837 h 1211882"/>
                  <a:gd name="connsiteX4" fmla="*/ 2785976 w 2821302"/>
                  <a:gd name="connsiteY4" fmla="*/ 985560 h 1211882"/>
                  <a:gd name="connsiteX5" fmla="*/ 1388602 w 2821302"/>
                  <a:gd name="connsiteY5" fmla="*/ 1211692 h 1211882"/>
                  <a:gd name="connsiteX6" fmla="*/ 37723 w 2821302"/>
                  <a:gd name="connsiteY6" fmla="*/ 997959 h 1211882"/>
                  <a:gd name="connsiteX0" fmla="*/ 37723 w 2796135"/>
                  <a:gd name="connsiteY0" fmla="*/ 997959 h 1211726"/>
                  <a:gd name="connsiteX1" fmla="*/ 380713 w 2796135"/>
                  <a:gd name="connsiteY1" fmla="*/ 226035 h 1211726"/>
                  <a:gd name="connsiteX2" fmla="*/ 1385502 w 2796135"/>
                  <a:gd name="connsiteY2" fmla="*/ 11 h 1211726"/>
                  <a:gd name="connsiteX3" fmla="*/ 2423390 w 2796135"/>
                  <a:gd name="connsiteY3" fmla="*/ 219837 h 1211726"/>
                  <a:gd name="connsiteX4" fmla="*/ 2758079 w 2796135"/>
                  <a:gd name="connsiteY4" fmla="*/ 1007258 h 1211726"/>
                  <a:gd name="connsiteX5" fmla="*/ 1388602 w 2796135"/>
                  <a:gd name="connsiteY5" fmla="*/ 1211692 h 1211726"/>
                  <a:gd name="connsiteX6" fmla="*/ 37723 w 2796135"/>
                  <a:gd name="connsiteY6" fmla="*/ 997959 h 1211726"/>
                  <a:gd name="connsiteX0" fmla="*/ 37723 w 2796135"/>
                  <a:gd name="connsiteY0" fmla="*/ 1022592 h 1236359"/>
                  <a:gd name="connsiteX1" fmla="*/ 380713 w 2796135"/>
                  <a:gd name="connsiteY1" fmla="*/ 250668 h 1236359"/>
                  <a:gd name="connsiteX2" fmla="*/ 1180426 w 2796135"/>
                  <a:gd name="connsiteY2" fmla="*/ 30591 h 1236359"/>
                  <a:gd name="connsiteX3" fmla="*/ 1385502 w 2796135"/>
                  <a:gd name="connsiteY3" fmla="*/ 24644 h 1236359"/>
                  <a:gd name="connsiteX4" fmla="*/ 2423390 w 2796135"/>
                  <a:gd name="connsiteY4" fmla="*/ 244470 h 1236359"/>
                  <a:gd name="connsiteX5" fmla="*/ 2758079 w 2796135"/>
                  <a:gd name="connsiteY5" fmla="*/ 1031891 h 1236359"/>
                  <a:gd name="connsiteX6" fmla="*/ 1388602 w 2796135"/>
                  <a:gd name="connsiteY6" fmla="*/ 1236325 h 1236359"/>
                  <a:gd name="connsiteX7" fmla="*/ 37723 w 2796135"/>
                  <a:gd name="connsiteY7" fmla="*/ 1022592 h 1236359"/>
                  <a:gd name="connsiteX0" fmla="*/ 37723 w 2796135"/>
                  <a:gd name="connsiteY0" fmla="*/ 1033639 h 1247406"/>
                  <a:gd name="connsiteX1" fmla="*/ 380713 w 2796135"/>
                  <a:gd name="connsiteY1" fmla="*/ 261715 h 1247406"/>
                  <a:gd name="connsiteX2" fmla="*/ 913855 w 2796135"/>
                  <a:gd name="connsiteY2" fmla="*/ 23040 h 1247406"/>
                  <a:gd name="connsiteX3" fmla="*/ 1385502 w 2796135"/>
                  <a:gd name="connsiteY3" fmla="*/ 35691 h 1247406"/>
                  <a:gd name="connsiteX4" fmla="*/ 2423390 w 2796135"/>
                  <a:gd name="connsiteY4" fmla="*/ 255517 h 1247406"/>
                  <a:gd name="connsiteX5" fmla="*/ 2758079 w 2796135"/>
                  <a:gd name="connsiteY5" fmla="*/ 1042938 h 1247406"/>
                  <a:gd name="connsiteX6" fmla="*/ 1388602 w 2796135"/>
                  <a:gd name="connsiteY6" fmla="*/ 1247372 h 1247406"/>
                  <a:gd name="connsiteX7" fmla="*/ 37723 w 2796135"/>
                  <a:gd name="connsiteY7" fmla="*/ 1033639 h 1247406"/>
                  <a:gd name="connsiteX0" fmla="*/ 37723 w 2796135"/>
                  <a:gd name="connsiteY0" fmla="*/ 1011616 h 1225383"/>
                  <a:gd name="connsiteX1" fmla="*/ 380713 w 2796135"/>
                  <a:gd name="connsiteY1" fmla="*/ 239692 h 1225383"/>
                  <a:gd name="connsiteX2" fmla="*/ 913855 w 2796135"/>
                  <a:gd name="connsiteY2" fmla="*/ 1017 h 1225383"/>
                  <a:gd name="connsiteX3" fmla="*/ 1401001 w 2796135"/>
                  <a:gd name="connsiteY3" fmla="*/ 1024158 h 1225383"/>
                  <a:gd name="connsiteX4" fmla="*/ 2423390 w 2796135"/>
                  <a:gd name="connsiteY4" fmla="*/ 233494 h 1225383"/>
                  <a:gd name="connsiteX5" fmla="*/ 2758079 w 2796135"/>
                  <a:gd name="connsiteY5" fmla="*/ 1020915 h 1225383"/>
                  <a:gd name="connsiteX6" fmla="*/ 1388602 w 2796135"/>
                  <a:gd name="connsiteY6" fmla="*/ 1225349 h 1225383"/>
                  <a:gd name="connsiteX7" fmla="*/ 37723 w 2796135"/>
                  <a:gd name="connsiteY7" fmla="*/ 1011616 h 1225383"/>
                  <a:gd name="connsiteX0" fmla="*/ 37723 w 2786074"/>
                  <a:gd name="connsiteY0" fmla="*/ 1011632 h 1225399"/>
                  <a:gd name="connsiteX1" fmla="*/ 380713 w 2786074"/>
                  <a:gd name="connsiteY1" fmla="*/ 239708 h 1225399"/>
                  <a:gd name="connsiteX2" fmla="*/ 913855 w 2786074"/>
                  <a:gd name="connsiteY2" fmla="*/ 1033 h 1225399"/>
                  <a:gd name="connsiteX3" fmla="*/ 1401001 w 2786074"/>
                  <a:gd name="connsiteY3" fmla="*/ 1024174 h 1225399"/>
                  <a:gd name="connsiteX4" fmla="*/ 2163019 w 2786074"/>
                  <a:gd name="connsiteY4" fmla="*/ 338897 h 1225399"/>
                  <a:gd name="connsiteX5" fmla="*/ 2423390 w 2786074"/>
                  <a:gd name="connsiteY5" fmla="*/ 233510 h 1225399"/>
                  <a:gd name="connsiteX6" fmla="*/ 2758079 w 2786074"/>
                  <a:gd name="connsiteY6" fmla="*/ 1020931 h 1225399"/>
                  <a:gd name="connsiteX7" fmla="*/ 1388602 w 2786074"/>
                  <a:gd name="connsiteY7" fmla="*/ 1225365 h 1225399"/>
                  <a:gd name="connsiteX8" fmla="*/ 37723 w 2786074"/>
                  <a:gd name="connsiteY8" fmla="*/ 1011632 h 1225399"/>
                  <a:gd name="connsiteX0" fmla="*/ 37723 w 2786074"/>
                  <a:gd name="connsiteY0" fmla="*/ 1059094 h 1272861"/>
                  <a:gd name="connsiteX1" fmla="*/ 380713 w 2786074"/>
                  <a:gd name="connsiteY1" fmla="*/ 287170 h 1272861"/>
                  <a:gd name="connsiteX2" fmla="*/ 913855 w 2786074"/>
                  <a:gd name="connsiteY2" fmla="*/ 48495 h 1272861"/>
                  <a:gd name="connsiteX3" fmla="*/ 1401001 w 2786074"/>
                  <a:gd name="connsiteY3" fmla="*/ 1071636 h 1272861"/>
                  <a:gd name="connsiteX4" fmla="*/ 1899548 w 2786074"/>
                  <a:gd name="connsiteY4" fmla="*/ 36097 h 1272861"/>
                  <a:gd name="connsiteX5" fmla="*/ 2423390 w 2786074"/>
                  <a:gd name="connsiteY5" fmla="*/ 280972 h 1272861"/>
                  <a:gd name="connsiteX6" fmla="*/ 2758079 w 2786074"/>
                  <a:gd name="connsiteY6" fmla="*/ 1068393 h 1272861"/>
                  <a:gd name="connsiteX7" fmla="*/ 1388602 w 2786074"/>
                  <a:gd name="connsiteY7" fmla="*/ 1272827 h 1272861"/>
                  <a:gd name="connsiteX8" fmla="*/ 37723 w 2786074"/>
                  <a:gd name="connsiteY8" fmla="*/ 1059094 h 1272861"/>
                  <a:gd name="connsiteX0" fmla="*/ 37723 w 2786074"/>
                  <a:gd name="connsiteY0" fmla="*/ 1022997 h 1236764"/>
                  <a:gd name="connsiteX1" fmla="*/ 380713 w 2786074"/>
                  <a:gd name="connsiteY1" fmla="*/ 251073 h 1236764"/>
                  <a:gd name="connsiteX2" fmla="*/ 913855 w 2786074"/>
                  <a:gd name="connsiteY2" fmla="*/ 12398 h 1236764"/>
                  <a:gd name="connsiteX3" fmla="*/ 1401001 w 2786074"/>
                  <a:gd name="connsiteY3" fmla="*/ 1035539 h 1236764"/>
                  <a:gd name="connsiteX4" fmla="*/ 1899548 w 2786074"/>
                  <a:gd name="connsiteY4" fmla="*/ 0 h 1236764"/>
                  <a:gd name="connsiteX5" fmla="*/ 2423390 w 2786074"/>
                  <a:gd name="connsiteY5" fmla="*/ 244875 h 1236764"/>
                  <a:gd name="connsiteX6" fmla="*/ 2758079 w 2786074"/>
                  <a:gd name="connsiteY6" fmla="*/ 1032296 h 1236764"/>
                  <a:gd name="connsiteX7" fmla="*/ 1388602 w 2786074"/>
                  <a:gd name="connsiteY7" fmla="*/ 1236730 h 1236764"/>
                  <a:gd name="connsiteX8" fmla="*/ 37723 w 2786074"/>
                  <a:gd name="connsiteY8" fmla="*/ 1022997 h 1236764"/>
                  <a:gd name="connsiteX0" fmla="*/ 37723 w 2786074"/>
                  <a:gd name="connsiteY0" fmla="*/ 1022997 h 1236764"/>
                  <a:gd name="connsiteX1" fmla="*/ 380713 w 2786074"/>
                  <a:gd name="connsiteY1" fmla="*/ 251073 h 1236764"/>
                  <a:gd name="connsiteX2" fmla="*/ 913855 w 2786074"/>
                  <a:gd name="connsiteY2" fmla="*/ 12398 h 1236764"/>
                  <a:gd name="connsiteX3" fmla="*/ 1401001 w 2786074"/>
                  <a:gd name="connsiteY3" fmla="*/ 1035539 h 1236764"/>
                  <a:gd name="connsiteX4" fmla="*/ 1899548 w 2786074"/>
                  <a:gd name="connsiteY4" fmla="*/ 0 h 1236764"/>
                  <a:gd name="connsiteX5" fmla="*/ 2423390 w 2786074"/>
                  <a:gd name="connsiteY5" fmla="*/ 244875 h 1236764"/>
                  <a:gd name="connsiteX6" fmla="*/ 2758079 w 2786074"/>
                  <a:gd name="connsiteY6" fmla="*/ 1032296 h 1236764"/>
                  <a:gd name="connsiteX7" fmla="*/ 1388602 w 2786074"/>
                  <a:gd name="connsiteY7" fmla="*/ 1236730 h 1236764"/>
                  <a:gd name="connsiteX8" fmla="*/ 37723 w 2786074"/>
                  <a:gd name="connsiteY8" fmla="*/ 1022997 h 1236764"/>
                  <a:gd name="connsiteX0" fmla="*/ 37723 w 2786074"/>
                  <a:gd name="connsiteY0" fmla="*/ 1022997 h 1236764"/>
                  <a:gd name="connsiteX1" fmla="*/ 380713 w 2786074"/>
                  <a:gd name="connsiteY1" fmla="*/ 251073 h 1236764"/>
                  <a:gd name="connsiteX2" fmla="*/ 913855 w 2786074"/>
                  <a:gd name="connsiteY2" fmla="*/ 12398 h 1236764"/>
                  <a:gd name="connsiteX3" fmla="*/ 1401001 w 2786074"/>
                  <a:gd name="connsiteY3" fmla="*/ 1035539 h 1236764"/>
                  <a:gd name="connsiteX4" fmla="*/ 1899548 w 2786074"/>
                  <a:gd name="connsiteY4" fmla="*/ 0 h 1236764"/>
                  <a:gd name="connsiteX5" fmla="*/ 2423390 w 2786074"/>
                  <a:gd name="connsiteY5" fmla="*/ 244875 h 1236764"/>
                  <a:gd name="connsiteX6" fmla="*/ 2758079 w 2786074"/>
                  <a:gd name="connsiteY6" fmla="*/ 1032296 h 1236764"/>
                  <a:gd name="connsiteX7" fmla="*/ 1388602 w 2786074"/>
                  <a:gd name="connsiteY7" fmla="*/ 1236730 h 1236764"/>
                  <a:gd name="connsiteX8" fmla="*/ 37723 w 2786074"/>
                  <a:gd name="connsiteY8" fmla="*/ 1022997 h 1236764"/>
                  <a:gd name="connsiteX0" fmla="*/ 37723 w 2786074"/>
                  <a:gd name="connsiteY0" fmla="*/ 1022997 h 1236764"/>
                  <a:gd name="connsiteX1" fmla="*/ 380713 w 2786074"/>
                  <a:gd name="connsiteY1" fmla="*/ 251073 h 1236764"/>
                  <a:gd name="connsiteX2" fmla="*/ 913855 w 2786074"/>
                  <a:gd name="connsiteY2" fmla="*/ 12398 h 1236764"/>
                  <a:gd name="connsiteX3" fmla="*/ 1401001 w 2786074"/>
                  <a:gd name="connsiteY3" fmla="*/ 1035539 h 1236764"/>
                  <a:gd name="connsiteX4" fmla="*/ 1899548 w 2786074"/>
                  <a:gd name="connsiteY4" fmla="*/ 0 h 1236764"/>
                  <a:gd name="connsiteX5" fmla="*/ 2423390 w 2786074"/>
                  <a:gd name="connsiteY5" fmla="*/ 244875 h 1236764"/>
                  <a:gd name="connsiteX6" fmla="*/ 2758079 w 2786074"/>
                  <a:gd name="connsiteY6" fmla="*/ 1032296 h 1236764"/>
                  <a:gd name="connsiteX7" fmla="*/ 1388602 w 2786074"/>
                  <a:gd name="connsiteY7" fmla="*/ 1236730 h 1236764"/>
                  <a:gd name="connsiteX8" fmla="*/ 37723 w 2786074"/>
                  <a:gd name="connsiteY8" fmla="*/ 1022997 h 1236764"/>
                  <a:gd name="connsiteX0" fmla="*/ 37723 w 2786074"/>
                  <a:gd name="connsiteY0" fmla="*/ 1022997 h 1236764"/>
                  <a:gd name="connsiteX1" fmla="*/ 380713 w 2786074"/>
                  <a:gd name="connsiteY1" fmla="*/ 251073 h 1236764"/>
                  <a:gd name="connsiteX2" fmla="*/ 913855 w 2786074"/>
                  <a:gd name="connsiteY2" fmla="*/ 12398 h 1236764"/>
                  <a:gd name="connsiteX3" fmla="*/ 1413400 w 2786074"/>
                  <a:gd name="connsiteY3" fmla="*/ 1060337 h 1236764"/>
                  <a:gd name="connsiteX4" fmla="*/ 1899548 w 2786074"/>
                  <a:gd name="connsiteY4" fmla="*/ 0 h 1236764"/>
                  <a:gd name="connsiteX5" fmla="*/ 2423390 w 2786074"/>
                  <a:gd name="connsiteY5" fmla="*/ 244875 h 1236764"/>
                  <a:gd name="connsiteX6" fmla="*/ 2758079 w 2786074"/>
                  <a:gd name="connsiteY6" fmla="*/ 1032296 h 1236764"/>
                  <a:gd name="connsiteX7" fmla="*/ 1388602 w 2786074"/>
                  <a:gd name="connsiteY7" fmla="*/ 1236730 h 1236764"/>
                  <a:gd name="connsiteX8" fmla="*/ 37723 w 2786074"/>
                  <a:gd name="connsiteY8" fmla="*/ 1022997 h 1236764"/>
                  <a:gd name="connsiteX0" fmla="*/ 37723 w 2790021"/>
                  <a:gd name="connsiteY0" fmla="*/ 1022997 h 1236764"/>
                  <a:gd name="connsiteX1" fmla="*/ 380713 w 2790021"/>
                  <a:gd name="connsiteY1" fmla="*/ 251073 h 1236764"/>
                  <a:gd name="connsiteX2" fmla="*/ 913855 w 2790021"/>
                  <a:gd name="connsiteY2" fmla="*/ 12398 h 1236764"/>
                  <a:gd name="connsiteX3" fmla="*/ 1413400 w 2790021"/>
                  <a:gd name="connsiteY3" fmla="*/ 1060337 h 1236764"/>
                  <a:gd name="connsiteX4" fmla="*/ 1899548 w 2790021"/>
                  <a:gd name="connsiteY4" fmla="*/ 0 h 1236764"/>
                  <a:gd name="connsiteX5" fmla="*/ 2423390 w 2790021"/>
                  <a:gd name="connsiteY5" fmla="*/ 244875 h 1236764"/>
                  <a:gd name="connsiteX6" fmla="*/ 2758079 w 2790021"/>
                  <a:gd name="connsiteY6" fmla="*/ 1032296 h 1236764"/>
                  <a:gd name="connsiteX7" fmla="*/ 1388602 w 2790021"/>
                  <a:gd name="connsiteY7" fmla="*/ 1236730 h 1236764"/>
                  <a:gd name="connsiteX8" fmla="*/ 37723 w 2790021"/>
                  <a:gd name="connsiteY8" fmla="*/ 1022997 h 1236764"/>
                  <a:gd name="connsiteX0" fmla="*/ 37723 w 2790021"/>
                  <a:gd name="connsiteY0" fmla="*/ 1022997 h 1236764"/>
                  <a:gd name="connsiteX1" fmla="*/ 380713 w 2790021"/>
                  <a:gd name="connsiteY1" fmla="*/ 251073 h 1236764"/>
                  <a:gd name="connsiteX2" fmla="*/ 913855 w 2790021"/>
                  <a:gd name="connsiteY2" fmla="*/ 12398 h 1236764"/>
                  <a:gd name="connsiteX3" fmla="*/ 1413400 w 2790021"/>
                  <a:gd name="connsiteY3" fmla="*/ 1060337 h 1236764"/>
                  <a:gd name="connsiteX4" fmla="*/ 1899548 w 2790021"/>
                  <a:gd name="connsiteY4" fmla="*/ 0 h 1236764"/>
                  <a:gd name="connsiteX5" fmla="*/ 2423390 w 2790021"/>
                  <a:gd name="connsiteY5" fmla="*/ 244875 h 1236764"/>
                  <a:gd name="connsiteX6" fmla="*/ 2758079 w 2790021"/>
                  <a:gd name="connsiteY6" fmla="*/ 1032296 h 1236764"/>
                  <a:gd name="connsiteX7" fmla="*/ 1388602 w 2790021"/>
                  <a:gd name="connsiteY7" fmla="*/ 1236730 h 1236764"/>
                  <a:gd name="connsiteX8" fmla="*/ 37723 w 2790021"/>
                  <a:gd name="connsiteY8" fmla="*/ 1022997 h 1236764"/>
                  <a:gd name="connsiteX0" fmla="*/ 37723 w 2790748"/>
                  <a:gd name="connsiteY0" fmla="*/ 1022997 h 1236764"/>
                  <a:gd name="connsiteX1" fmla="*/ 380713 w 2790748"/>
                  <a:gd name="connsiteY1" fmla="*/ 251073 h 1236764"/>
                  <a:gd name="connsiteX2" fmla="*/ 913855 w 2790748"/>
                  <a:gd name="connsiteY2" fmla="*/ 12398 h 1236764"/>
                  <a:gd name="connsiteX3" fmla="*/ 1413400 w 2790748"/>
                  <a:gd name="connsiteY3" fmla="*/ 1060337 h 1236764"/>
                  <a:gd name="connsiteX4" fmla="*/ 1899548 w 2790748"/>
                  <a:gd name="connsiteY4" fmla="*/ 0 h 1236764"/>
                  <a:gd name="connsiteX5" fmla="*/ 2432689 w 2790748"/>
                  <a:gd name="connsiteY5" fmla="*/ 244875 h 1236764"/>
                  <a:gd name="connsiteX6" fmla="*/ 2758079 w 2790748"/>
                  <a:gd name="connsiteY6" fmla="*/ 1032296 h 1236764"/>
                  <a:gd name="connsiteX7" fmla="*/ 1388602 w 2790748"/>
                  <a:gd name="connsiteY7" fmla="*/ 1236730 h 1236764"/>
                  <a:gd name="connsiteX8" fmla="*/ 37723 w 2790748"/>
                  <a:gd name="connsiteY8" fmla="*/ 1022997 h 1236764"/>
                  <a:gd name="connsiteX0" fmla="*/ 37723 w 2796018"/>
                  <a:gd name="connsiteY0" fmla="*/ 1022997 h 1236764"/>
                  <a:gd name="connsiteX1" fmla="*/ 380713 w 2796018"/>
                  <a:gd name="connsiteY1" fmla="*/ 251073 h 1236764"/>
                  <a:gd name="connsiteX2" fmla="*/ 913855 w 2796018"/>
                  <a:gd name="connsiteY2" fmla="*/ 12398 h 1236764"/>
                  <a:gd name="connsiteX3" fmla="*/ 1413400 w 2796018"/>
                  <a:gd name="connsiteY3" fmla="*/ 1060337 h 1236764"/>
                  <a:gd name="connsiteX4" fmla="*/ 1899548 w 2796018"/>
                  <a:gd name="connsiteY4" fmla="*/ 0 h 1236764"/>
                  <a:gd name="connsiteX5" fmla="*/ 2432689 w 2796018"/>
                  <a:gd name="connsiteY5" fmla="*/ 244875 h 1236764"/>
                  <a:gd name="connsiteX6" fmla="*/ 2758079 w 2796018"/>
                  <a:gd name="connsiteY6" fmla="*/ 1032296 h 1236764"/>
                  <a:gd name="connsiteX7" fmla="*/ 1388602 w 2796018"/>
                  <a:gd name="connsiteY7" fmla="*/ 1236730 h 1236764"/>
                  <a:gd name="connsiteX8" fmla="*/ 37723 w 2796018"/>
                  <a:gd name="connsiteY8" fmla="*/ 1022997 h 1236764"/>
                  <a:gd name="connsiteX0" fmla="*/ 37723 w 2796018"/>
                  <a:gd name="connsiteY0" fmla="*/ 1022997 h 1236764"/>
                  <a:gd name="connsiteX1" fmla="*/ 380713 w 2796018"/>
                  <a:gd name="connsiteY1" fmla="*/ 251073 h 1236764"/>
                  <a:gd name="connsiteX2" fmla="*/ 913855 w 2796018"/>
                  <a:gd name="connsiteY2" fmla="*/ 12398 h 1236764"/>
                  <a:gd name="connsiteX3" fmla="*/ 1413400 w 2796018"/>
                  <a:gd name="connsiteY3" fmla="*/ 1060337 h 1236764"/>
                  <a:gd name="connsiteX4" fmla="*/ 1899548 w 2796018"/>
                  <a:gd name="connsiteY4" fmla="*/ 0 h 1236764"/>
                  <a:gd name="connsiteX5" fmla="*/ 2432689 w 2796018"/>
                  <a:gd name="connsiteY5" fmla="*/ 244875 h 1236764"/>
                  <a:gd name="connsiteX6" fmla="*/ 2758079 w 2796018"/>
                  <a:gd name="connsiteY6" fmla="*/ 1032296 h 1236764"/>
                  <a:gd name="connsiteX7" fmla="*/ 1388602 w 2796018"/>
                  <a:gd name="connsiteY7" fmla="*/ 1236730 h 1236764"/>
                  <a:gd name="connsiteX8" fmla="*/ 37723 w 2796018"/>
                  <a:gd name="connsiteY8" fmla="*/ 1022997 h 1236764"/>
                  <a:gd name="connsiteX0" fmla="*/ 37723 w 2796018"/>
                  <a:gd name="connsiteY0" fmla="*/ 1022997 h 1236764"/>
                  <a:gd name="connsiteX1" fmla="*/ 380713 w 2796018"/>
                  <a:gd name="connsiteY1" fmla="*/ 251073 h 1236764"/>
                  <a:gd name="connsiteX2" fmla="*/ 913855 w 2796018"/>
                  <a:gd name="connsiteY2" fmla="*/ 12398 h 1236764"/>
                  <a:gd name="connsiteX3" fmla="*/ 1413400 w 2796018"/>
                  <a:gd name="connsiteY3" fmla="*/ 1060337 h 1236764"/>
                  <a:gd name="connsiteX4" fmla="*/ 1899548 w 2796018"/>
                  <a:gd name="connsiteY4" fmla="*/ 0 h 1236764"/>
                  <a:gd name="connsiteX5" fmla="*/ 2432689 w 2796018"/>
                  <a:gd name="connsiteY5" fmla="*/ 244875 h 1236764"/>
                  <a:gd name="connsiteX6" fmla="*/ 2758079 w 2796018"/>
                  <a:gd name="connsiteY6" fmla="*/ 1032296 h 1236764"/>
                  <a:gd name="connsiteX7" fmla="*/ 1388602 w 2796018"/>
                  <a:gd name="connsiteY7" fmla="*/ 1236730 h 1236764"/>
                  <a:gd name="connsiteX8" fmla="*/ 37723 w 2796018"/>
                  <a:gd name="connsiteY8" fmla="*/ 1022997 h 1236764"/>
                  <a:gd name="connsiteX0" fmla="*/ 37723 w 2796018"/>
                  <a:gd name="connsiteY0" fmla="*/ 1022997 h 1236764"/>
                  <a:gd name="connsiteX1" fmla="*/ 380713 w 2796018"/>
                  <a:gd name="connsiteY1" fmla="*/ 251073 h 1236764"/>
                  <a:gd name="connsiteX2" fmla="*/ 913855 w 2796018"/>
                  <a:gd name="connsiteY2" fmla="*/ 12398 h 1236764"/>
                  <a:gd name="connsiteX3" fmla="*/ 1406576 w 2796018"/>
                  <a:gd name="connsiteY3" fmla="*/ 1076715 h 1236764"/>
                  <a:gd name="connsiteX4" fmla="*/ 1899548 w 2796018"/>
                  <a:gd name="connsiteY4" fmla="*/ 0 h 1236764"/>
                  <a:gd name="connsiteX5" fmla="*/ 2432689 w 2796018"/>
                  <a:gd name="connsiteY5" fmla="*/ 244875 h 1236764"/>
                  <a:gd name="connsiteX6" fmla="*/ 2758079 w 2796018"/>
                  <a:gd name="connsiteY6" fmla="*/ 1032296 h 1236764"/>
                  <a:gd name="connsiteX7" fmla="*/ 1388602 w 2796018"/>
                  <a:gd name="connsiteY7" fmla="*/ 1236730 h 1236764"/>
                  <a:gd name="connsiteX8" fmla="*/ 37723 w 2796018"/>
                  <a:gd name="connsiteY8" fmla="*/ 1022997 h 1236764"/>
                  <a:gd name="connsiteX0" fmla="*/ 37723 w 2796018"/>
                  <a:gd name="connsiteY0" fmla="*/ 1022997 h 1242681"/>
                  <a:gd name="connsiteX1" fmla="*/ 380713 w 2796018"/>
                  <a:gd name="connsiteY1" fmla="*/ 251073 h 1242681"/>
                  <a:gd name="connsiteX2" fmla="*/ 913855 w 2796018"/>
                  <a:gd name="connsiteY2" fmla="*/ 12398 h 1242681"/>
                  <a:gd name="connsiteX3" fmla="*/ 1406576 w 2796018"/>
                  <a:gd name="connsiteY3" fmla="*/ 1076715 h 1242681"/>
                  <a:gd name="connsiteX4" fmla="*/ 1899548 w 2796018"/>
                  <a:gd name="connsiteY4" fmla="*/ 0 h 1242681"/>
                  <a:gd name="connsiteX5" fmla="*/ 2432689 w 2796018"/>
                  <a:gd name="connsiteY5" fmla="*/ 244875 h 1242681"/>
                  <a:gd name="connsiteX6" fmla="*/ 2758079 w 2796018"/>
                  <a:gd name="connsiteY6" fmla="*/ 1032296 h 1242681"/>
                  <a:gd name="connsiteX7" fmla="*/ 1388602 w 2796018"/>
                  <a:gd name="connsiteY7" fmla="*/ 1236730 h 1242681"/>
                  <a:gd name="connsiteX8" fmla="*/ 37723 w 2796018"/>
                  <a:gd name="connsiteY8" fmla="*/ 1022997 h 1242681"/>
                  <a:gd name="connsiteX0" fmla="*/ 37723 w 2796018"/>
                  <a:gd name="connsiteY0" fmla="*/ 1022997 h 1236730"/>
                  <a:gd name="connsiteX1" fmla="*/ 380713 w 2796018"/>
                  <a:gd name="connsiteY1" fmla="*/ 251073 h 1236730"/>
                  <a:gd name="connsiteX2" fmla="*/ 913855 w 2796018"/>
                  <a:gd name="connsiteY2" fmla="*/ 12398 h 1236730"/>
                  <a:gd name="connsiteX3" fmla="*/ 1406576 w 2796018"/>
                  <a:gd name="connsiteY3" fmla="*/ 1076715 h 1236730"/>
                  <a:gd name="connsiteX4" fmla="*/ 1899548 w 2796018"/>
                  <a:gd name="connsiteY4" fmla="*/ 0 h 1236730"/>
                  <a:gd name="connsiteX5" fmla="*/ 2432689 w 2796018"/>
                  <a:gd name="connsiteY5" fmla="*/ 244875 h 1236730"/>
                  <a:gd name="connsiteX6" fmla="*/ 2758079 w 2796018"/>
                  <a:gd name="connsiteY6" fmla="*/ 1032296 h 1236730"/>
                  <a:gd name="connsiteX7" fmla="*/ 1388602 w 2796018"/>
                  <a:gd name="connsiteY7" fmla="*/ 1236730 h 1236730"/>
                  <a:gd name="connsiteX8" fmla="*/ 37723 w 2796018"/>
                  <a:gd name="connsiteY8" fmla="*/ 1022997 h 1236730"/>
                  <a:gd name="connsiteX0" fmla="*/ 37723 w 2796018"/>
                  <a:gd name="connsiteY0" fmla="*/ 1022997 h 1237125"/>
                  <a:gd name="connsiteX1" fmla="*/ 380713 w 2796018"/>
                  <a:gd name="connsiteY1" fmla="*/ 251073 h 1237125"/>
                  <a:gd name="connsiteX2" fmla="*/ 913855 w 2796018"/>
                  <a:gd name="connsiteY2" fmla="*/ 12398 h 1237125"/>
                  <a:gd name="connsiteX3" fmla="*/ 1406576 w 2796018"/>
                  <a:gd name="connsiteY3" fmla="*/ 1076715 h 1237125"/>
                  <a:gd name="connsiteX4" fmla="*/ 1899548 w 2796018"/>
                  <a:gd name="connsiteY4" fmla="*/ 0 h 1237125"/>
                  <a:gd name="connsiteX5" fmla="*/ 2432689 w 2796018"/>
                  <a:gd name="connsiteY5" fmla="*/ 244875 h 1237125"/>
                  <a:gd name="connsiteX6" fmla="*/ 2758079 w 2796018"/>
                  <a:gd name="connsiteY6" fmla="*/ 1032296 h 1237125"/>
                  <a:gd name="connsiteX7" fmla="*/ 1388602 w 2796018"/>
                  <a:gd name="connsiteY7" fmla="*/ 1236730 h 1237125"/>
                  <a:gd name="connsiteX8" fmla="*/ 37723 w 2796018"/>
                  <a:gd name="connsiteY8" fmla="*/ 1022997 h 1237125"/>
                  <a:gd name="connsiteX0" fmla="*/ 36243 w 2809965"/>
                  <a:gd name="connsiteY0" fmla="*/ 1031412 h 1236730"/>
                  <a:gd name="connsiteX1" fmla="*/ 394660 w 2809965"/>
                  <a:gd name="connsiteY1" fmla="*/ 251073 h 1236730"/>
                  <a:gd name="connsiteX2" fmla="*/ 927802 w 2809965"/>
                  <a:gd name="connsiteY2" fmla="*/ 12398 h 1236730"/>
                  <a:gd name="connsiteX3" fmla="*/ 1420523 w 2809965"/>
                  <a:gd name="connsiteY3" fmla="*/ 1076715 h 1236730"/>
                  <a:gd name="connsiteX4" fmla="*/ 1913495 w 2809965"/>
                  <a:gd name="connsiteY4" fmla="*/ 0 h 1236730"/>
                  <a:gd name="connsiteX5" fmla="*/ 2446636 w 2809965"/>
                  <a:gd name="connsiteY5" fmla="*/ 244875 h 1236730"/>
                  <a:gd name="connsiteX6" fmla="*/ 2772026 w 2809965"/>
                  <a:gd name="connsiteY6" fmla="*/ 1032296 h 1236730"/>
                  <a:gd name="connsiteX7" fmla="*/ 1402549 w 2809965"/>
                  <a:gd name="connsiteY7" fmla="*/ 1236730 h 1236730"/>
                  <a:gd name="connsiteX8" fmla="*/ 36243 w 2809965"/>
                  <a:gd name="connsiteY8" fmla="*/ 1031412 h 1236730"/>
                  <a:gd name="connsiteX0" fmla="*/ 36802 w 2804567"/>
                  <a:gd name="connsiteY0" fmla="*/ 1031412 h 1236730"/>
                  <a:gd name="connsiteX1" fmla="*/ 389262 w 2804567"/>
                  <a:gd name="connsiteY1" fmla="*/ 251073 h 1236730"/>
                  <a:gd name="connsiteX2" fmla="*/ 922404 w 2804567"/>
                  <a:gd name="connsiteY2" fmla="*/ 12398 h 1236730"/>
                  <a:gd name="connsiteX3" fmla="*/ 1415125 w 2804567"/>
                  <a:gd name="connsiteY3" fmla="*/ 1076715 h 1236730"/>
                  <a:gd name="connsiteX4" fmla="*/ 1908097 w 2804567"/>
                  <a:gd name="connsiteY4" fmla="*/ 0 h 1236730"/>
                  <a:gd name="connsiteX5" fmla="*/ 2441238 w 2804567"/>
                  <a:gd name="connsiteY5" fmla="*/ 244875 h 1236730"/>
                  <a:gd name="connsiteX6" fmla="*/ 2766628 w 2804567"/>
                  <a:gd name="connsiteY6" fmla="*/ 1032296 h 1236730"/>
                  <a:gd name="connsiteX7" fmla="*/ 1397151 w 2804567"/>
                  <a:gd name="connsiteY7" fmla="*/ 1236730 h 1236730"/>
                  <a:gd name="connsiteX8" fmla="*/ 36802 w 2804567"/>
                  <a:gd name="connsiteY8" fmla="*/ 1031412 h 1236730"/>
                  <a:gd name="connsiteX0" fmla="*/ 24375 w 2792140"/>
                  <a:gd name="connsiteY0" fmla="*/ 1031412 h 1236766"/>
                  <a:gd name="connsiteX1" fmla="*/ 376835 w 2792140"/>
                  <a:gd name="connsiteY1" fmla="*/ 251073 h 1236766"/>
                  <a:gd name="connsiteX2" fmla="*/ 909977 w 2792140"/>
                  <a:gd name="connsiteY2" fmla="*/ 12398 h 1236766"/>
                  <a:gd name="connsiteX3" fmla="*/ 1402698 w 2792140"/>
                  <a:gd name="connsiteY3" fmla="*/ 1076715 h 1236766"/>
                  <a:gd name="connsiteX4" fmla="*/ 1895670 w 2792140"/>
                  <a:gd name="connsiteY4" fmla="*/ 0 h 1236766"/>
                  <a:gd name="connsiteX5" fmla="*/ 2428811 w 2792140"/>
                  <a:gd name="connsiteY5" fmla="*/ 244875 h 1236766"/>
                  <a:gd name="connsiteX6" fmla="*/ 2754201 w 2792140"/>
                  <a:gd name="connsiteY6" fmla="*/ 1032296 h 1236766"/>
                  <a:gd name="connsiteX7" fmla="*/ 1384724 w 2792140"/>
                  <a:gd name="connsiteY7" fmla="*/ 1236730 h 1236766"/>
                  <a:gd name="connsiteX8" fmla="*/ 24375 w 2792140"/>
                  <a:gd name="connsiteY8" fmla="*/ 1031412 h 1236766"/>
                  <a:gd name="connsiteX0" fmla="*/ 24375 w 2792140"/>
                  <a:gd name="connsiteY0" fmla="*/ 1031412 h 1236730"/>
                  <a:gd name="connsiteX1" fmla="*/ 376835 w 2792140"/>
                  <a:gd name="connsiteY1" fmla="*/ 251073 h 1236730"/>
                  <a:gd name="connsiteX2" fmla="*/ 909977 w 2792140"/>
                  <a:gd name="connsiteY2" fmla="*/ 12398 h 1236730"/>
                  <a:gd name="connsiteX3" fmla="*/ 1402698 w 2792140"/>
                  <a:gd name="connsiteY3" fmla="*/ 1076715 h 1236730"/>
                  <a:gd name="connsiteX4" fmla="*/ 1895670 w 2792140"/>
                  <a:gd name="connsiteY4" fmla="*/ 0 h 1236730"/>
                  <a:gd name="connsiteX5" fmla="*/ 2428811 w 2792140"/>
                  <a:gd name="connsiteY5" fmla="*/ 244875 h 1236730"/>
                  <a:gd name="connsiteX6" fmla="*/ 2754201 w 2792140"/>
                  <a:gd name="connsiteY6" fmla="*/ 1032296 h 1236730"/>
                  <a:gd name="connsiteX7" fmla="*/ 1384724 w 2792140"/>
                  <a:gd name="connsiteY7" fmla="*/ 1236730 h 1236730"/>
                  <a:gd name="connsiteX8" fmla="*/ 24375 w 2792140"/>
                  <a:gd name="connsiteY8" fmla="*/ 1031412 h 1236730"/>
                  <a:gd name="connsiteX0" fmla="*/ 24375 w 2792140"/>
                  <a:gd name="connsiteY0" fmla="*/ 1031412 h 1236730"/>
                  <a:gd name="connsiteX1" fmla="*/ 376835 w 2792140"/>
                  <a:gd name="connsiteY1" fmla="*/ 251073 h 1236730"/>
                  <a:gd name="connsiteX2" fmla="*/ 909977 w 2792140"/>
                  <a:gd name="connsiteY2" fmla="*/ 12398 h 1236730"/>
                  <a:gd name="connsiteX3" fmla="*/ 1402698 w 2792140"/>
                  <a:gd name="connsiteY3" fmla="*/ 1076715 h 1236730"/>
                  <a:gd name="connsiteX4" fmla="*/ 1895670 w 2792140"/>
                  <a:gd name="connsiteY4" fmla="*/ 0 h 1236730"/>
                  <a:gd name="connsiteX5" fmla="*/ 2428811 w 2792140"/>
                  <a:gd name="connsiteY5" fmla="*/ 244875 h 1236730"/>
                  <a:gd name="connsiteX6" fmla="*/ 2754201 w 2792140"/>
                  <a:gd name="connsiteY6" fmla="*/ 1032296 h 1236730"/>
                  <a:gd name="connsiteX7" fmla="*/ 1384724 w 2792140"/>
                  <a:gd name="connsiteY7" fmla="*/ 1236730 h 1236730"/>
                  <a:gd name="connsiteX8" fmla="*/ 24375 w 2792140"/>
                  <a:gd name="connsiteY8" fmla="*/ 1031412 h 1236730"/>
                  <a:gd name="connsiteX0" fmla="*/ 24375 w 2792140"/>
                  <a:gd name="connsiteY0" fmla="*/ 1031412 h 1236730"/>
                  <a:gd name="connsiteX1" fmla="*/ 376835 w 2792140"/>
                  <a:gd name="connsiteY1" fmla="*/ 251073 h 1236730"/>
                  <a:gd name="connsiteX2" fmla="*/ 909977 w 2792140"/>
                  <a:gd name="connsiteY2" fmla="*/ 12398 h 1236730"/>
                  <a:gd name="connsiteX3" fmla="*/ 1402698 w 2792140"/>
                  <a:gd name="connsiteY3" fmla="*/ 1076715 h 1236730"/>
                  <a:gd name="connsiteX4" fmla="*/ 1895670 w 2792140"/>
                  <a:gd name="connsiteY4" fmla="*/ 0 h 1236730"/>
                  <a:gd name="connsiteX5" fmla="*/ 2428811 w 2792140"/>
                  <a:gd name="connsiteY5" fmla="*/ 244875 h 1236730"/>
                  <a:gd name="connsiteX6" fmla="*/ 2754201 w 2792140"/>
                  <a:gd name="connsiteY6" fmla="*/ 1032296 h 1236730"/>
                  <a:gd name="connsiteX7" fmla="*/ 1384724 w 2792140"/>
                  <a:gd name="connsiteY7" fmla="*/ 1236730 h 1236730"/>
                  <a:gd name="connsiteX8" fmla="*/ 24375 w 2792140"/>
                  <a:gd name="connsiteY8" fmla="*/ 1031412 h 1236730"/>
                  <a:gd name="connsiteX0" fmla="*/ 23490 w 2803406"/>
                  <a:gd name="connsiteY0" fmla="*/ 1037488 h 1236744"/>
                  <a:gd name="connsiteX1" fmla="*/ 388101 w 2803406"/>
                  <a:gd name="connsiteY1" fmla="*/ 251073 h 1236744"/>
                  <a:gd name="connsiteX2" fmla="*/ 921243 w 2803406"/>
                  <a:gd name="connsiteY2" fmla="*/ 12398 h 1236744"/>
                  <a:gd name="connsiteX3" fmla="*/ 1413964 w 2803406"/>
                  <a:gd name="connsiteY3" fmla="*/ 1076715 h 1236744"/>
                  <a:gd name="connsiteX4" fmla="*/ 1906936 w 2803406"/>
                  <a:gd name="connsiteY4" fmla="*/ 0 h 1236744"/>
                  <a:gd name="connsiteX5" fmla="*/ 2440077 w 2803406"/>
                  <a:gd name="connsiteY5" fmla="*/ 244875 h 1236744"/>
                  <a:gd name="connsiteX6" fmla="*/ 2765467 w 2803406"/>
                  <a:gd name="connsiteY6" fmla="*/ 1032296 h 1236744"/>
                  <a:gd name="connsiteX7" fmla="*/ 1395990 w 2803406"/>
                  <a:gd name="connsiteY7" fmla="*/ 1236730 h 1236744"/>
                  <a:gd name="connsiteX8" fmla="*/ 23490 w 2803406"/>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16055 w 2805497"/>
                  <a:gd name="connsiteY3" fmla="*/ 1076715 h 1236744"/>
                  <a:gd name="connsiteX4" fmla="*/ 1909027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16055 w 2805497"/>
                  <a:gd name="connsiteY3" fmla="*/ 1076715 h 1236744"/>
                  <a:gd name="connsiteX4" fmla="*/ 1886449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16055 w 2805497"/>
                  <a:gd name="connsiteY3" fmla="*/ 1076715 h 1236744"/>
                  <a:gd name="connsiteX4" fmla="*/ 1886449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16055 w 2805497"/>
                  <a:gd name="connsiteY3" fmla="*/ 1076715 h 1236744"/>
                  <a:gd name="connsiteX4" fmla="*/ 1886449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16055 w 2805497"/>
                  <a:gd name="connsiteY3" fmla="*/ 1076715 h 1236744"/>
                  <a:gd name="connsiteX4" fmla="*/ 1886449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16055 w 2805497"/>
                  <a:gd name="connsiteY3" fmla="*/ 1076715 h 1236744"/>
                  <a:gd name="connsiteX4" fmla="*/ 1886449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57614 w 2805497"/>
                  <a:gd name="connsiteY3" fmla="*/ 494854 h 1236744"/>
                  <a:gd name="connsiteX4" fmla="*/ 1886449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57614 w 2805497"/>
                  <a:gd name="connsiteY3" fmla="*/ 494854 h 1236744"/>
                  <a:gd name="connsiteX4" fmla="*/ 1886449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5497" h="1236744">
                    <a:moveTo>
                      <a:pt x="25581" y="1037488"/>
                    </a:moveTo>
                    <a:cubicBezTo>
                      <a:pt x="-80126" y="786039"/>
                      <a:pt x="161429" y="403966"/>
                      <a:pt x="390192" y="251073"/>
                    </a:cubicBezTo>
                    <a:cubicBezTo>
                      <a:pt x="648835" y="116737"/>
                      <a:pt x="777567" y="102763"/>
                      <a:pt x="923334" y="12398"/>
                    </a:cubicBezTo>
                    <a:cubicBezTo>
                      <a:pt x="1024970" y="405207"/>
                      <a:pt x="982805" y="470379"/>
                      <a:pt x="1457614" y="494854"/>
                    </a:cubicBezTo>
                    <a:cubicBezTo>
                      <a:pt x="1932423" y="519329"/>
                      <a:pt x="1828663" y="320698"/>
                      <a:pt x="1886449" y="0"/>
                    </a:cubicBezTo>
                    <a:cubicBezTo>
                      <a:pt x="2010352" y="85200"/>
                      <a:pt x="2287197" y="137403"/>
                      <a:pt x="2442168" y="244875"/>
                    </a:cubicBezTo>
                    <a:cubicBezTo>
                      <a:pt x="2665331" y="374046"/>
                      <a:pt x="2898694" y="876286"/>
                      <a:pt x="2767558" y="1032296"/>
                    </a:cubicBezTo>
                    <a:cubicBezTo>
                      <a:pt x="2636422" y="1188306"/>
                      <a:pt x="1855077" y="1235865"/>
                      <a:pt x="1398081" y="1236730"/>
                    </a:cubicBezTo>
                    <a:cubicBezTo>
                      <a:pt x="941085" y="1237595"/>
                      <a:pt x="386468" y="1200839"/>
                      <a:pt x="25581" y="1037488"/>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6" name="Oval 125">
                <a:extLst>
                  <a:ext uri="{FF2B5EF4-FFF2-40B4-BE49-F238E27FC236}">
                    <a16:creationId xmlns:a16="http://schemas.microsoft.com/office/drawing/2014/main" id="{8F4CD8A7-9169-4C8D-B0DA-B372FE42B433}"/>
                  </a:ext>
                </a:extLst>
              </p:cNvPr>
              <p:cNvSpPr/>
              <p:nvPr/>
            </p:nvSpPr>
            <p:spPr>
              <a:xfrm>
                <a:off x="213255" y="1835886"/>
                <a:ext cx="115498" cy="11756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B1109F9D-F067-4378-A0A6-3D854073034C}"/>
                </a:ext>
              </a:extLst>
            </p:cNvPr>
            <p:cNvGrpSpPr/>
            <p:nvPr/>
          </p:nvGrpSpPr>
          <p:grpSpPr>
            <a:xfrm>
              <a:off x="4019391" y="1325161"/>
              <a:ext cx="301817" cy="346085"/>
              <a:chOff x="4276867" y="1469488"/>
              <a:chExt cx="301817" cy="346085"/>
            </a:xfrm>
          </p:grpSpPr>
          <p:grpSp>
            <p:nvGrpSpPr>
              <p:cNvPr id="6" name="Group 5">
                <a:extLst>
                  <a:ext uri="{FF2B5EF4-FFF2-40B4-BE49-F238E27FC236}">
                    <a16:creationId xmlns:a16="http://schemas.microsoft.com/office/drawing/2014/main" id="{F16E94BE-B95A-4429-9BA8-7C9520CFA05F}"/>
                  </a:ext>
                </a:extLst>
              </p:cNvPr>
              <p:cNvGrpSpPr/>
              <p:nvPr/>
            </p:nvGrpSpPr>
            <p:grpSpPr>
              <a:xfrm>
                <a:off x="4327780" y="1507402"/>
                <a:ext cx="233098" cy="308171"/>
                <a:chOff x="4316706" y="1433073"/>
                <a:chExt cx="274722" cy="363201"/>
              </a:xfrm>
            </p:grpSpPr>
            <p:sp>
              <p:nvSpPr>
                <p:cNvPr id="67" name="Freeform: Shape 66">
                  <a:extLst>
                    <a:ext uri="{FF2B5EF4-FFF2-40B4-BE49-F238E27FC236}">
                      <a16:creationId xmlns:a16="http://schemas.microsoft.com/office/drawing/2014/main" id="{F8BE6437-4D33-478B-BAA6-D8D4BF9A12E8}"/>
                    </a:ext>
                  </a:extLst>
                </p:cNvPr>
                <p:cNvSpPr/>
                <p:nvPr/>
              </p:nvSpPr>
              <p:spPr>
                <a:xfrm>
                  <a:off x="4316706" y="1433073"/>
                  <a:ext cx="274722" cy="363201"/>
                </a:xfrm>
                <a:custGeom>
                  <a:avLst/>
                  <a:gdLst>
                    <a:gd name="connsiteX0" fmla="*/ 603050 w 1460635"/>
                    <a:gd name="connsiteY0" fmla="*/ 0 h 1931059"/>
                    <a:gd name="connsiteX1" fmla="*/ 855015 w 1460635"/>
                    <a:gd name="connsiteY1" fmla="*/ 0 h 1931059"/>
                    <a:gd name="connsiteX2" fmla="*/ 1378827 w 1460635"/>
                    <a:gd name="connsiteY2" fmla="*/ 523812 h 1931059"/>
                    <a:gd name="connsiteX3" fmla="*/ 1378827 w 1460635"/>
                    <a:gd name="connsiteY3" fmla="*/ 863539 h 1931059"/>
                    <a:gd name="connsiteX4" fmla="*/ 1397780 w 1460635"/>
                    <a:gd name="connsiteY4" fmla="*/ 861872 h 1931059"/>
                    <a:gd name="connsiteX5" fmla="*/ 1259675 w 1460635"/>
                    <a:gd name="connsiteY5" fmla="*/ 1421036 h 1931059"/>
                    <a:gd name="connsiteX6" fmla="*/ 728741 w 1460635"/>
                    <a:gd name="connsiteY6" fmla="*/ 1931059 h 1931059"/>
                    <a:gd name="connsiteX7" fmla="*/ 183733 w 1460635"/>
                    <a:gd name="connsiteY7" fmla="*/ 1428441 h 1931059"/>
                    <a:gd name="connsiteX8" fmla="*/ 67243 w 1460635"/>
                    <a:gd name="connsiteY8" fmla="*/ 857644 h 1931059"/>
                    <a:gd name="connsiteX9" fmla="*/ 79238 w 1460635"/>
                    <a:gd name="connsiteY9" fmla="*/ 857733 h 1931059"/>
                    <a:gd name="connsiteX10" fmla="*/ 79238 w 1460635"/>
                    <a:gd name="connsiteY10" fmla="*/ 523812 h 1931059"/>
                    <a:gd name="connsiteX11" fmla="*/ 603050 w 1460635"/>
                    <a:gd name="connsiteY11" fmla="*/ 0 h 193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0635" h="1931059">
                      <a:moveTo>
                        <a:pt x="603050" y="0"/>
                      </a:moveTo>
                      <a:lnTo>
                        <a:pt x="855015" y="0"/>
                      </a:lnTo>
                      <a:cubicBezTo>
                        <a:pt x="1144308" y="0"/>
                        <a:pt x="1378827" y="234519"/>
                        <a:pt x="1378827" y="523812"/>
                      </a:cubicBezTo>
                      <a:lnTo>
                        <a:pt x="1378827" y="863539"/>
                      </a:lnTo>
                      <a:lnTo>
                        <a:pt x="1397780" y="861872"/>
                      </a:lnTo>
                      <a:cubicBezTo>
                        <a:pt x="1546782" y="944307"/>
                        <a:pt x="1402403" y="1318211"/>
                        <a:pt x="1259675" y="1421036"/>
                      </a:cubicBezTo>
                      <a:cubicBezTo>
                        <a:pt x="1259675" y="1655147"/>
                        <a:pt x="962852" y="1931059"/>
                        <a:pt x="728741" y="1931059"/>
                      </a:cubicBezTo>
                      <a:cubicBezTo>
                        <a:pt x="494630" y="1931059"/>
                        <a:pt x="271566" y="1675099"/>
                        <a:pt x="183733" y="1428441"/>
                      </a:cubicBezTo>
                      <a:cubicBezTo>
                        <a:pt x="61776" y="1286797"/>
                        <a:pt x="-89982" y="928708"/>
                        <a:pt x="67243" y="857644"/>
                      </a:cubicBezTo>
                      <a:lnTo>
                        <a:pt x="79238" y="857733"/>
                      </a:lnTo>
                      <a:lnTo>
                        <a:pt x="79238" y="523812"/>
                      </a:lnTo>
                      <a:cubicBezTo>
                        <a:pt x="79238" y="234519"/>
                        <a:pt x="313757" y="0"/>
                        <a:pt x="603050" y="0"/>
                      </a:cubicBezTo>
                      <a:close/>
                    </a:path>
                  </a:pathLst>
                </a:custGeom>
                <a:solidFill>
                  <a:schemeClr val="bg2">
                    <a:lumMod val="60000"/>
                    <a:lumOff val="40000"/>
                  </a:schemeClr>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a:ea typeface="+mn-ea"/>
                    <a:cs typeface="+mn-cs"/>
                  </a:endParaRPr>
                </a:p>
              </p:txBody>
            </p:sp>
            <p:grpSp>
              <p:nvGrpSpPr>
                <p:cNvPr id="68" name="Group 67">
                  <a:extLst>
                    <a:ext uri="{FF2B5EF4-FFF2-40B4-BE49-F238E27FC236}">
                      <a16:creationId xmlns:a16="http://schemas.microsoft.com/office/drawing/2014/main" id="{299B09B0-E46C-4A90-BC54-A0C829BBA154}"/>
                    </a:ext>
                  </a:extLst>
                </p:cNvPr>
                <p:cNvGrpSpPr/>
                <p:nvPr/>
              </p:nvGrpSpPr>
              <p:grpSpPr>
                <a:xfrm>
                  <a:off x="4353438" y="1575436"/>
                  <a:ext cx="200600" cy="81125"/>
                  <a:chOff x="4468482" y="2997679"/>
                  <a:chExt cx="1066539" cy="431321"/>
                </a:xfrm>
              </p:grpSpPr>
              <p:grpSp>
                <p:nvGrpSpPr>
                  <p:cNvPr id="69" name="Group 68">
                    <a:extLst>
                      <a:ext uri="{FF2B5EF4-FFF2-40B4-BE49-F238E27FC236}">
                        <a16:creationId xmlns:a16="http://schemas.microsoft.com/office/drawing/2014/main" id="{C6DA6DA7-0AE1-4CD4-939C-E6FBA183655A}"/>
                      </a:ext>
                    </a:extLst>
                  </p:cNvPr>
                  <p:cNvGrpSpPr/>
                  <p:nvPr/>
                </p:nvGrpSpPr>
                <p:grpSpPr>
                  <a:xfrm>
                    <a:off x="4468482" y="2997679"/>
                    <a:ext cx="431321" cy="431321"/>
                    <a:chOff x="4468482" y="2997679"/>
                    <a:chExt cx="431321" cy="431321"/>
                  </a:xfrm>
                </p:grpSpPr>
                <p:sp>
                  <p:nvSpPr>
                    <p:cNvPr id="77" name="Oval 76">
                      <a:extLst>
                        <a:ext uri="{FF2B5EF4-FFF2-40B4-BE49-F238E27FC236}">
                          <a16:creationId xmlns:a16="http://schemas.microsoft.com/office/drawing/2014/main" id="{DE2461B6-AADB-40C8-A3D2-F744A2DE88BA}"/>
                        </a:ext>
                      </a:extLst>
                    </p:cNvPr>
                    <p:cNvSpPr/>
                    <p:nvPr/>
                  </p:nvSpPr>
                  <p:spPr>
                    <a:xfrm>
                      <a:off x="4483382" y="3012579"/>
                      <a:ext cx="401520" cy="401520"/>
                    </a:xfrm>
                    <a:prstGeom prst="ellipse">
                      <a:avLst/>
                    </a:prstGeom>
                    <a:solidFill>
                      <a:schemeClr val="bg1"/>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Calibri"/>
                        <a:ea typeface="+mn-ea"/>
                        <a:cs typeface="+mn-cs"/>
                      </a:endParaRPr>
                    </a:p>
                  </p:txBody>
                </p:sp>
                <p:sp>
                  <p:nvSpPr>
                    <p:cNvPr id="78" name="Circle: Hollow 77">
                      <a:extLst>
                        <a:ext uri="{FF2B5EF4-FFF2-40B4-BE49-F238E27FC236}">
                          <a16:creationId xmlns:a16="http://schemas.microsoft.com/office/drawing/2014/main" id="{B9620318-A436-4EFB-BDC9-C4B1D738B13E}"/>
                        </a:ext>
                      </a:extLst>
                    </p:cNvPr>
                    <p:cNvSpPr/>
                    <p:nvPr/>
                  </p:nvSpPr>
                  <p:spPr>
                    <a:xfrm>
                      <a:off x="4468482" y="2997679"/>
                      <a:ext cx="431321" cy="431321"/>
                    </a:xfrm>
                    <a:prstGeom prst="donut">
                      <a:avLst>
                        <a:gd name="adj" fmla="val 11552"/>
                      </a:avLst>
                    </a:prstGeom>
                    <a:solidFill>
                      <a:schemeClr val="bg1"/>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Calibri"/>
                        <a:ea typeface="+mn-ea"/>
                        <a:cs typeface="+mn-cs"/>
                      </a:endParaRPr>
                    </a:p>
                  </p:txBody>
                </p:sp>
              </p:grpSp>
              <p:grpSp>
                <p:nvGrpSpPr>
                  <p:cNvPr id="70" name="Group 69">
                    <a:extLst>
                      <a:ext uri="{FF2B5EF4-FFF2-40B4-BE49-F238E27FC236}">
                        <a16:creationId xmlns:a16="http://schemas.microsoft.com/office/drawing/2014/main" id="{9EF5E582-7EAC-4CFD-BDC6-CF4758F9FF10}"/>
                      </a:ext>
                    </a:extLst>
                  </p:cNvPr>
                  <p:cNvGrpSpPr/>
                  <p:nvPr/>
                </p:nvGrpSpPr>
                <p:grpSpPr>
                  <a:xfrm>
                    <a:off x="5103700" y="2997679"/>
                    <a:ext cx="431321" cy="431321"/>
                    <a:chOff x="4468482" y="2997679"/>
                    <a:chExt cx="431321" cy="431321"/>
                  </a:xfrm>
                </p:grpSpPr>
                <p:sp>
                  <p:nvSpPr>
                    <p:cNvPr id="75" name="Oval 74">
                      <a:extLst>
                        <a:ext uri="{FF2B5EF4-FFF2-40B4-BE49-F238E27FC236}">
                          <a16:creationId xmlns:a16="http://schemas.microsoft.com/office/drawing/2014/main" id="{46AD5937-0C64-4B3C-AFF3-0D830099E7D9}"/>
                        </a:ext>
                      </a:extLst>
                    </p:cNvPr>
                    <p:cNvSpPr/>
                    <p:nvPr/>
                  </p:nvSpPr>
                  <p:spPr>
                    <a:xfrm>
                      <a:off x="4483382" y="3012579"/>
                      <a:ext cx="401520" cy="401520"/>
                    </a:xfrm>
                    <a:prstGeom prst="ellipse">
                      <a:avLst/>
                    </a:prstGeom>
                    <a:solidFill>
                      <a:schemeClr val="bg1"/>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Calibri"/>
                        <a:ea typeface="+mn-ea"/>
                        <a:cs typeface="+mn-cs"/>
                      </a:endParaRPr>
                    </a:p>
                  </p:txBody>
                </p:sp>
                <p:sp>
                  <p:nvSpPr>
                    <p:cNvPr id="76" name="Circle: Hollow 75">
                      <a:extLst>
                        <a:ext uri="{FF2B5EF4-FFF2-40B4-BE49-F238E27FC236}">
                          <a16:creationId xmlns:a16="http://schemas.microsoft.com/office/drawing/2014/main" id="{CE805A96-A1C7-4AF7-876A-BEE4EF84B61F}"/>
                        </a:ext>
                      </a:extLst>
                    </p:cNvPr>
                    <p:cNvSpPr/>
                    <p:nvPr/>
                  </p:nvSpPr>
                  <p:spPr>
                    <a:xfrm>
                      <a:off x="4468482" y="2997679"/>
                      <a:ext cx="431321" cy="431321"/>
                    </a:xfrm>
                    <a:prstGeom prst="donut">
                      <a:avLst>
                        <a:gd name="adj" fmla="val 11552"/>
                      </a:avLst>
                    </a:prstGeom>
                    <a:solidFill>
                      <a:schemeClr val="bg1"/>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Calibri"/>
                        <a:ea typeface="+mn-ea"/>
                        <a:cs typeface="+mn-cs"/>
                      </a:endParaRPr>
                    </a:p>
                  </p:txBody>
                </p:sp>
              </p:grpSp>
              <p:sp>
                <p:nvSpPr>
                  <p:cNvPr id="74" name="Rectangle 73">
                    <a:extLst>
                      <a:ext uri="{FF2B5EF4-FFF2-40B4-BE49-F238E27FC236}">
                        <a16:creationId xmlns:a16="http://schemas.microsoft.com/office/drawing/2014/main" id="{A1B06DF0-A2F5-453E-9B2F-2869BEFBDF60}"/>
                      </a:ext>
                    </a:extLst>
                  </p:cNvPr>
                  <p:cNvSpPr/>
                  <p:nvPr/>
                </p:nvSpPr>
                <p:spPr>
                  <a:xfrm>
                    <a:off x="4854319" y="3096099"/>
                    <a:ext cx="280751" cy="64306"/>
                  </a:xfrm>
                  <a:prstGeom prst="rect">
                    <a:avLst/>
                  </a:prstGeom>
                  <a:solidFill>
                    <a:schemeClr val="bg1"/>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a:ea typeface="+mn-ea"/>
                      <a:cs typeface="+mn-cs"/>
                    </a:endParaRPr>
                  </a:p>
                </p:txBody>
              </p:sp>
            </p:grpSp>
          </p:grpSp>
          <p:sp>
            <p:nvSpPr>
              <p:cNvPr id="79" name="Freeform: Shape 78">
                <a:extLst>
                  <a:ext uri="{FF2B5EF4-FFF2-40B4-BE49-F238E27FC236}">
                    <a16:creationId xmlns:a16="http://schemas.microsoft.com/office/drawing/2014/main" id="{158D42A5-CEDE-40AA-B4F5-C25B7F1EE4A2}"/>
                  </a:ext>
                </a:extLst>
              </p:cNvPr>
              <p:cNvSpPr/>
              <p:nvPr/>
            </p:nvSpPr>
            <p:spPr>
              <a:xfrm flipH="1">
                <a:off x="4276867" y="1469488"/>
                <a:ext cx="301817" cy="195094"/>
              </a:xfrm>
              <a:custGeom>
                <a:avLst/>
                <a:gdLst>
                  <a:gd name="connsiteX0" fmla="*/ 569027 w 676275"/>
                  <a:gd name="connsiteY0" fmla="*/ 288800 h 419100"/>
                  <a:gd name="connsiteX1" fmla="*/ 675707 w 676275"/>
                  <a:gd name="connsiteY1" fmla="*/ 157355 h 419100"/>
                  <a:gd name="connsiteX2" fmla="*/ 541405 w 676275"/>
                  <a:gd name="connsiteY2" fmla="*/ 23053 h 419100"/>
                  <a:gd name="connsiteX3" fmla="*/ 448060 w 676275"/>
                  <a:gd name="connsiteY3" fmla="*/ 60200 h 419100"/>
                  <a:gd name="connsiteX4" fmla="*/ 335665 w 676275"/>
                  <a:gd name="connsiteY4" fmla="*/ 16385 h 419100"/>
                  <a:gd name="connsiteX5" fmla="*/ 12767 w 676275"/>
                  <a:gd name="connsiteY5" fmla="*/ 270703 h 419100"/>
                  <a:gd name="connsiteX6" fmla="*/ 191837 w 676275"/>
                  <a:gd name="connsiteY6" fmla="*/ 173548 h 419100"/>
                  <a:gd name="connsiteX7" fmla="*/ 298517 w 676275"/>
                  <a:gd name="connsiteY7" fmla="*/ 308803 h 419100"/>
                  <a:gd name="connsiteX8" fmla="*/ 257560 w 676275"/>
                  <a:gd name="connsiteY8" fmla="*/ 324043 h 419100"/>
                  <a:gd name="connsiteX9" fmla="*/ 254702 w 676275"/>
                  <a:gd name="connsiteY9" fmla="*/ 337378 h 419100"/>
                  <a:gd name="connsiteX10" fmla="*/ 268037 w 676275"/>
                  <a:gd name="connsiteY10" fmla="*/ 340235 h 419100"/>
                  <a:gd name="connsiteX11" fmla="*/ 355667 w 676275"/>
                  <a:gd name="connsiteY11" fmla="*/ 351665 h 419100"/>
                  <a:gd name="connsiteX12" fmla="*/ 363287 w 676275"/>
                  <a:gd name="connsiteY12" fmla="*/ 355475 h 419100"/>
                  <a:gd name="connsiteX13" fmla="*/ 369955 w 676275"/>
                  <a:gd name="connsiteY13" fmla="*/ 353570 h 419100"/>
                  <a:gd name="connsiteX14" fmla="*/ 372812 w 676275"/>
                  <a:gd name="connsiteY14" fmla="*/ 349760 h 419100"/>
                  <a:gd name="connsiteX15" fmla="*/ 431867 w 676275"/>
                  <a:gd name="connsiteY15" fmla="*/ 368810 h 419100"/>
                  <a:gd name="connsiteX16" fmla="*/ 489970 w 676275"/>
                  <a:gd name="connsiteY16" fmla="*/ 327853 h 419100"/>
                  <a:gd name="connsiteX17" fmla="*/ 530927 w 676275"/>
                  <a:gd name="connsiteY17" fmla="*/ 382145 h 419100"/>
                  <a:gd name="connsiteX18" fmla="*/ 543310 w 676275"/>
                  <a:gd name="connsiteY18" fmla="*/ 383098 h 419100"/>
                  <a:gd name="connsiteX19" fmla="*/ 549977 w 676275"/>
                  <a:gd name="connsiteY19" fmla="*/ 357380 h 419100"/>
                  <a:gd name="connsiteX20" fmla="*/ 644275 w 676275"/>
                  <a:gd name="connsiteY20" fmla="*/ 417388 h 419100"/>
                  <a:gd name="connsiteX21" fmla="*/ 569027 w 676275"/>
                  <a:gd name="connsiteY21" fmla="*/ 288800 h 419100"/>
                  <a:gd name="connsiteX0" fmla="*/ 561884 w 668564"/>
                  <a:gd name="connsiteY0" fmla="*/ 281657 h 411420"/>
                  <a:gd name="connsiteX1" fmla="*/ 668564 w 668564"/>
                  <a:gd name="connsiteY1" fmla="*/ 150212 h 411420"/>
                  <a:gd name="connsiteX2" fmla="*/ 534262 w 668564"/>
                  <a:gd name="connsiteY2" fmla="*/ 15910 h 411420"/>
                  <a:gd name="connsiteX3" fmla="*/ 440917 w 668564"/>
                  <a:gd name="connsiteY3" fmla="*/ 53057 h 411420"/>
                  <a:gd name="connsiteX4" fmla="*/ 328522 w 668564"/>
                  <a:gd name="connsiteY4" fmla="*/ 9242 h 411420"/>
                  <a:gd name="connsiteX5" fmla="*/ 5624 w 668564"/>
                  <a:gd name="connsiteY5" fmla="*/ 263560 h 411420"/>
                  <a:gd name="connsiteX6" fmla="*/ 184694 w 668564"/>
                  <a:gd name="connsiteY6" fmla="*/ 166405 h 411420"/>
                  <a:gd name="connsiteX7" fmla="*/ 291374 w 668564"/>
                  <a:gd name="connsiteY7" fmla="*/ 301660 h 411420"/>
                  <a:gd name="connsiteX8" fmla="*/ 250417 w 668564"/>
                  <a:gd name="connsiteY8" fmla="*/ 316900 h 411420"/>
                  <a:gd name="connsiteX9" fmla="*/ 260894 w 668564"/>
                  <a:gd name="connsiteY9" fmla="*/ 333092 h 411420"/>
                  <a:gd name="connsiteX10" fmla="*/ 348524 w 668564"/>
                  <a:gd name="connsiteY10" fmla="*/ 344522 h 411420"/>
                  <a:gd name="connsiteX11" fmla="*/ 356144 w 668564"/>
                  <a:gd name="connsiteY11" fmla="*/ 348332 h 411420"/>
                  <a:gd name="connsiteX12" fmla="*/ 362812 w 668564"/>
                  <a:gd name="connsiteY12" fmla="*/ 346427 h 411420"/>
                  <a:gd name="connsiteX13" fmla="*/ 365669 w 668564"/>
                  <a:gd name="connsiteY13" fmla="*/ 342617 h 411420"/>
                  <a:gd name="connsiteX14" fmla="*/ 424724 w 668564"/>
                  <a:gd name="connsiteY14" fmla="*/ 361667 h 411420"/>
                  <a:gd name="connsiteX15" fmla="*/ 482827 w 668564"/>
                  <a:gd name="connsiteY15" fmla="*/ 320710 h 411420"/>
                  <a:gd name="connsiteX16" fmla="*/ 523784 w 668564"/>
                  <a:gd name="connsiteY16" fmla="*/ 375002 h 411420"/>
                  <a:gd name="connsiteX17" fmla="*/ 536167 w 668564"/>
                  <a:gd name="connsiteY17" fmla="*/ 375955 h 411420"/>
                  <a:gd name="connsiteX18" fmla="*/ 542834 w 668564"/>
                  <a:gd name="connsiteY18" fmla="*/ 350237 h 411420"/>
                  <a:gd name="connsiteX19" fmla="*/ 637132 w 668564"/>
                  <a:gd name="connsiteY19" fmla="*/ 410245 h 411420"/>
                  <a:gd name="connsiteX20" fmla="*/ 561884 w 668564"/>
                  <a:gd name="connsiteY20" fmla="*/ 281657 h 411420"/>
                  <a:gd name="connsiteX0" fmla="*/ 561884 w 668564"/>
                  <a:gd name="connsiteY0" fmla="*/ 281657 h 411421"/>
                  <a:gd name="connsiteX1" fmla="*/ 668564 w 668564"/>
                  <a:gd name="connsiteY1" fmla="*/ 150212 h 411421"/>
                  <a:gd name="connsiteX2" fmla="*/ 534262 w 668564"/>
                  <a:gd name="connsiteY2" fmla="*/ 15910 h 411421"/>
                  <a:gd name="connsiteX3" fmla="*/ 440917 w 668564"/>
                  <a:gd name="connsiteY3" fmla="*/ 53057 h 411421"/>
                  <a:gd name="connsiteX4" fmla="*/ 328522 w 668564"/>
                  <a:gd name="connsiteY4" fmla="*/ 9242 h 411421"/>
                  <a:gd name="connsiteX5" fmla="*/ 5624 w 668564"/>
                  <a:gd name="connsiteY5" fmla="*/ 263560 h 411421"/>
                  <a:gd name="connsiteX6" fmla="*/ 184694 w 668564"/>
                  <a:gd name="connsiteY6" fmla="*/ 166405 h 411421"/>
                  <a:gd name="connsiteX7" fmla="*/ 291374 w 668564"/>
                  <a:gd name="connsiteY7" fmla="*/ 301660 h 411421"/>
                  <a:gd name="connsiteX8" fmla="*/ 260894 w 668564"/>
                  <a:gd name="connsiteY8" fmla="*/ 333092 h 411421"/>
                  <a:gd name="connsiteX9" fmla="*/ 348524 w 668564"/>
                  <a:gd name="connsiteY9" fmla="*/ 344522 h 411421"/>
                  <a:gd name="connsiteX10" fmla="*/ 356144 w 668564"/>
                  <a:gd name="connsiteY10" fmla="*/ 348332 h 411421"/>
                  <a:gd name="connsiteX11" fmla="*/ 362812 w 668564"/>
                  <a:gd name="connsiteY11" fmla="*/ 346427 h 411421"/>
                  <a:gd name="connsiteX12" fmla="*/ 365669 w 668564"/>
                  <a:gd name="connsiteY12" fmla="*/ 342617 h 411421"/>
                  <a:gd name="connsiteX13" fmla="*/ 424724 w 668564"/>
                  <a:gd name="connsiteY13" fmla="*/ 361667 h 411421"/>
                  <a:gd name="connsiteX14" fmla="*/ 482827 w 668564"/>
                  <a:gd name="connsiteY14" fmla="*/ 320710 h 411421"/>
                  <a:gd name="connsiteX15" fmla="*/ 523784 w 668564"/>
                  <a:gd name="connsiteY15" fmla="*/ 375002 h 411421"/>
                  <a:gd name="connsiteX16" fmla="*/ 536167 w 668564"/>
                  <a:gd name="connsiteY16" fmla="*/ 375955 h 411421"/>
                  <a:gd name="connsiteX17" fmla="*/ 542834 w 668564"/>
                  <a:gd name="connsiteY17" fmla="*/ 350237 h 411421"/>
                  <a:gd name="connsiteX18" fmla="*/ 637132 w 668564"/>
                  <a:gd name="connsiteY18" fmla="*/ 410245 h 411421"/>
                  <a:gd name="connsiteX19" fmla="*/ 561884 w 668564"/>
                  <a:gd name="connsiteY19" fmla="*/ 281657 h 411421"/>
                  <a:gd name="connsiteX0" fmla="*/ 561884 w 668564"/>
                  <a:gd name="connsiteY0" fmla="*/ 281657 h 411421"/>
                  <a:gd name="connsiteX1" fmla="*/ 668564 w 668564"/>
                  <a:gd name="connsiteY1" fmla="*/ 150212 h 411421"/>
                  <a:gd name="connsiteX2" fmla="*/ 534262 w 668564"/>
                  <a:gd name="connsiteY2" fmla="*/ 15910 h 411421"/>
                  <a:gd name="connsiteX3" fmla="*/ 440917 w 668564"/>
                  <a:gd name="connsiteY3" fmla="*/ 53057 h 411421"/>
                  <a:gd name="connsiteX4" fmla="*/ 328522 w 668564"/>
                  <a:gd name="connsiteY4" fmla="*/ 9242 h 411421"/>
                  <a:gd name="connsiteX5" fmla="*/ 5624 w 668564"/>
                  <a:gd name="connsiteY5" fmla="*/ 263560 h 411421"/>
                  <a:gd name="connsiteX6" fmla="*/ 184694 w 668564"/>
                  <a:gd name="connsiteY6" fmla="*/ 166405 h 411421"/>
                  <a:gd name="connsiteX7" fmla="*/ 291374 w 668564"/>
                  <a:gd name="connsiteY7" fmla="*/ 301660 h 411421"/>
                  <a:gd name="connsiteX8" fmla="*/ 348524 w 668564"/>
                  <a:gd name="connsiteY8" fmla="*/ 344522 h 411421"/>
                  <a:gd name="connsiteX9" fmla="*/ 356144 w 668564"/>
                  <a:gd name="connsiteY9" fmla="*/ 348332 h 411421"/>
                  <a:gd name="connsiteX10" fmla="*/ 362812 w 668564"/>
                  <a:gd name="connsiteY10" fmla="*/ 346427 h 411421"/>
                  <a:gd name="connsiteX11" fmla="*/ 365669 w 668564"/>
                  <a:gd name="connsiteY11" fmla="*/ 342617 h 411421"/>
                  <a:gd name="connsiteX12" fmla="*/ 424724 w 668564"/>
                  <a:gd name="connsiteY12" fmla="*/ 361667 h 411421"/>
                  <a:gd name="connsiteX13" fmla="*/ 482827 w 668564"/>
                  <a:gd name="connsiteY13" fmla="*/ 320710 h 411421"/>
                  <a:gd name="connsiteX14" fmla="*/ 523784 w 668564"/>
                  <a:gd name="connsiteY14" fmla="*/ 375002 h 411421"/>
                  <a:gd name="connsiteX15" fmla="*/ 536167 w 668564"/>
                  <a:gd name="connsiteY15" fmla="*/ 375955 h 411421"/>
                  <a:gd name="connsiteX16" fmla="*/ 542834 w 668564"/>
                  <a:gd name="connsiteY16" fmla="*/ 350237 h 411421"/>
                  <a:gd name="connsiteX17" fmla="*/ 637132 w 668564"/>
                  <a:gd name="connsiteY17" fmla="*/ 410245 h 411421"/>
                  <a:gd name="connsiteX18" fmla="*/ 561884 w 668564"/>
                  <a:gd name="connsiteY18" fmla="*/ 281657 h 411421"/>
                  <a:gd name="connsiteX0" fmla="*/ 561884 w 668564"/>
                  <a:gd name="connsiteY0" fmla="*/ 281657 h 411421"/>
                  <a:gd name="connsiteX1" fmla="*/ 668564 w 668564"/>
                  <a:gd name="connsiteY1" fmla="*/ 150212 h 411421"/>
                  <a:gd name="connsiteX2" fmla="*/ 534262 w 668564"/>
                  <a:gd name="connsiteY2" fmla="*/ 15910 h 411421"/>
                  <a:gd name="connsiteX3" fmla="*/ 440917 w 668564"/>
                  <a:gd name="connsiteY3" fmla="*/ 53057 h 411421"/>
                  <a:gd name="connsiteX4" fmla="*/ 328522 w 668564"/>
                  <a:gd name="connsiteY4" fmla="*/ 9242 h 411421"/>
                  <a:gd name="connsiteX5" fmla="*/ 5624 w 668564"/>
                  <a:gd name="connsiteY5" fmla="*/ 263560 h 411421"/>
                  <a:gd name="connsiteX6" fmla="*/ 184694 w 668564"/>
                  <a:gd name="connsiteY6" fmla="*/ 166405 h 411421"/>
                  <a:gd name="connsiteX7" fmla="*/ 291374 w 668564"/>
                  <a:gd name="connsiteY7" fmla="*/ 301660 h 411421"/>
                  <a:gd name="connsiteX8" fmla="*/ 348524 w 668564"/>
                  <a:gd name="connsiteY8" fmla="*/ 344522 h 411421"/>
                  <a:gd name="connsiteX9" fmla="*/ 356144 w 668564"/>
                  <a:gd name="connsiteY9" fmla="*/ 348332 h 411421"/>
                  <a:gd name="connsiteX10" fmla="*/ 362812 w 668564"/>
                  <a:gd name="connsiteY10" fmla="*/ 346427 h 411421"/>
                  <a:gd name="connsiteX11" fmla="*/ 365669 w 668564"/>
                  <a:gd name="connsiteY11" fmla="*/ 342617 h 411421"/>
                  <a:gd name="connsiteX12" fmla="*/ 424724 w 668564"/>
                  <a:gd name="connsiteY12" fmla="*/ 361667 h 411421"/>
                  <a:gd name="connsiteX13" fmla="*/ 523784 w 668564"/>
                  <a:gd name="connsiteY13" fmla="*/ 375002 h 411421"/>
                  <a:gd name="connsiteX14" fmla="*/ 536167 w 668564"/>
                  <a:gd name="connsiteY14" fmla="*/ 375955 h 411421"/>
                  <a:gd name="connsiteX15" fmla="*/ 542834 w 668564"/>
                  <a:gd name="connsiteY15" fmla="*/ 350237 h 411421"/>
                  <a:gd name="connsiteX16" fmla="*/ 637132 w 668564"/>
                  <a:gd name="connsiteY16" fmla="*/ 410245 h 411421"/>
                  <a:gd name="connsiteX17" fmla="*/ 561884 w 668564"/>
                  <a:gd name="connsiteY17" fmla="*/ 281657 h 411421"/>
                  <a:gd name="connsiteX0" fmla="*/ 523784 w 668564"/>
                  <a:gd name="connsiteY0" fmla="*/ 375002 h 432158"/>
                  <a:gd name="connsiteX1" fmla="*/ 536167 w 668564"/>
                  <a:gd name="connsiteY1" fmla="*/ 375955 h 432158"/>
                  <a:gd name="connsiteX2" fmla="*/ 542834 w 668564"/>
                  <a:gd name="connsiteY2" fmla="*/ 350237 h 432158"/>
                  <a:gd name="connsiteX3" fmla="*/ 637132 w 668564"/>
                  <a:gd name="connsiteY3" fmla="*/ 410245 h 432158"/>
                  <a:gd name="connsiteX4" fmla="*/ 561884 w 668564"/>
                  <a:gd name="connsiteY4" fmla="*/ 281657 h 432158"/>
                  <a:gd name="connsiteX5" fmla="*/ 668564 w 668564"/>
                  <a:gd name="connsiteY5" fmla="*/ 150212 h 432158"/>
                  <a:gd name="connsiteX6" fmla="*/ 534262 w 668564"/>
                  <a:gd name="connsiteY6" fmla="*/ 15910 h 432158"/>
                  <a:gd name="connsiteX7" fmla="*/ 440917 w 668564"/>
                  <a:gd name="connsiteY7" fmla="*/ 53057 h 432158"/>
                  <a:gd name="connsiteX8" fmla="*/ 328522 w 668564"/>
                  <a:gd name="connsiteY8" fmla="*/ 9242 h 432158"/>
                  <a:gd name="connsiteX9" fmla="*/ 5624 w 668564"/>
                  <a:gd name="connsiteY9" fmla="*/ 263560 h 432158"/>
                  <a:gd name="connsiteX10" fmla="*/ 184694 w 668564"/>
                  <a:gd name="connsiteY10" fmla="*/ 166405 h 432158"/>
                  <a:gd name="connsiteX11" fmla="*/ 291374 w 668564"/>
                  <a:gd name="connsiteY11" fmla="*/ 301660 h 432158"/>
                  <a:gd name="connsiteX12" fmla="*/ 348524 w 668564"/>
                  <a:gd name="connsiteY12" fmla="*/ 344522 h 432158"/>
                  <a:gd name="connsiteX13" fmla="*/ 356144 w 668564"/>
                  <a:gd name="connsiteY13" fmla="*/ 348332 h 432158"/>
                  <a:gd name="connsiteX14" fmla="*/ 362812 w 668564"/>
                  <a:gd name="connsiteY14" fmla="*/ 346427 h 432158"/>
                  <a:gd name="connsiteX15" fmla="*/ 365669 w 668564"/>
                  <a:gd name="connsiteY15" fmla="*/ 342617 h 432158"/>
                  <a:gd name="connsiteX16" fmla="*/ 424724 w 668564"/>
                  <a:gd name="connsiteY16" fmla="*/ 361667 h 432158"/>
                  <a:gd name="connsiteX17" fmla="*/ 580940 w 668564"/>
                  <a:gd name="connsiteY17" fmla="*/ 432158 h 432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8564" h="432158">
                    <a:moveTo>
                      <a:pt x="523784" y="375002"/>
                    </a:moveTo>
                    <a:cubicBezTo>
                      <a:pt x="527594" y="375002"/>
                      <a:pt x="532357" y="375002"/>
                      <a:pt x="536167" y="375955"/>
                    </a:cubicBezTo>
                    <a:cubicBezTo>
                      <a:pt x="538072" y="368335"/>
                      <a:pt x="540929" y="358810"/>
                      <a:pt x="542834" y="350237"/>
                    </a:cubicBezTo>
                    <a:cubicBezTo>
                      <a:pt x="552359" y="387385"/>
                      <a:pt x="586649" y="417865"/>
                      <a:pt x="637132" y="410245"/>
                    </a:cubicBezTo>
                    <a:cubicBezTo>
                      <a:pt x="563789" y="389290"/>
                      <a:pt x="561884" y="310232"/>
                      <a:pt x="561884" y="281657"/>
                    </a:cubicBezTo>
                    <a:cubicBezTo>
                      <a:pt x="622844" y="268322"/>
                      <a:pt x="668564" y="214982"/>
                      <a:pt x="668564" y="150212"/>
                    </a:cubicBezTo>
                    <a:cubicBezTo>
                      <a:pt x="668564" y="75917"/>
                      <a:pt x="608557" y="15910"/>
                      <a:pt x="534262" y="15910"/>
                    </a:cubicBezTo>
                    <a:cubicBezTo>
                      <a:pt x="498067" y="15910"/>
                      <a:pt x="465682" y="30197"/>
                      <a:pt x="440917" y="53057"/>
                    </a:cubicBezTo>
                    <a:cubicBezTo>
                      <a:pt x="411389" y="34960"/>
                      <a:pt x="374242" y="20672"/>
                      <a:pt x="328522" y="9242"/>
                    </a:cubicBezTo>
                    <a:cubicBezTo>
                      <a:pt x="66584" y="-52670"/>
                      <a:pt x="-24856" y="214982"/>
                      <a:pt x="5624" y="263560"/>
                    </a:cubicBezTo>
                    <a:cubicBezTo>
                      <a:pt x="103732" y="229270"/>
                      <a:pt x="184694" y="166405"/>
                      <a:pt x="184694" y="166405"/>
                    </a:cubicBezTo>
                    <a:cubicBezTo>
                      <a:pt x="184694" y="166405"/>
                      <a:pt x="207554" y="241652"/>
                      <a:pt x="291374" y="301660"/>
                    </a:cubicBezTo>
                    <a:cubicBezTo>
                      <a:pt x="318679" y="331346"/>
                      <a:pt x="337729" y="336743"/>
                      <a:pt x="348524" y="344522"/>
                    </a:cubicBezTo>
                    <a:cubicBezTo>
                      <a:pt x="350429" y="347380"/>
                      <a:pt x="353287" y="348332"/>
                      <a:pt x="356144" y="348332"/>
                    </a:cubicBezTo>
                    <a:cubicBezTo>
                      <a:pt x="358049" y="348332"/>
                      <a:pt x="360907" y="347380"/>
                      <a:pt x="362812" y="346427"/>
                    </a:cubicBezTo>
                    <a:cubicBezTo>
                      <a:pt x="363764" y="345475"/>
                      <a:pt x="364717" y="343570"/>
                      <a:pt x="365669" y="342617"/>
                    </a:cubicBezTo>
                    <a:cubicBezTo>
                      <a:pt x="383767" y="350237"/>
                      <a:pt x="402817" y="355952"/>
                      <a:pt x="424724" y="361667"/>
                    </a:cubicBezTo>
                    <a:cubicBezTo>
                      <a:pt x="451077" y="367065"/>
                      <a:pt x="505210" y="372621"/>
                      <a:pt x="580940" y="432158"/>
                    </a:cubicBezTo>
                  </a:path>
                </a:pathLst>
              </a:custGeom>
              <a:solidFill>
                <a:schemeClr val="bg2">
                  <a:lumMod val="60000"/>
                  <a:lumOff val="4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02" name="Rectangle 101">
            <a:extLst>
              <a:ext uri="{FF2B5EF4-FFF2-40B4-BE49-F238E27FC236}">
                <a16:creationId xmlns:a16="http://schemas.microsoft.com/office/drawing/2014/main" id="{71DE6C2F-BDD1-43B5-90F4-09B1C52ED9FB}"/>
              </a:ext>
            </a:extLst>
          </p:cNvPr>
          <p:cNvSpPr/>
          <p:nvPr/>
        </p:nvSpPr>
        <p:spPr bwMode="auto">
          <a:xfrm>
            <a:off x="3752034" y="2175931"/>
            <a:ext cx="4525273" cy="3929192"/>
          </a:xfrm>
          <a:prstGeom prst="rect">
            <a:avLst/>
          </a:prstGeom>
          <a:solidFill>
            <a:schemeClr val="bg1"/>
          </a:solidFill>
          <a:ln w="3175">
            <a:solidFill>
              <a:schemeClr val="accent2">
                <a:alpha val="67000"/>
              </a:schemeClr>
            </a:solidFill>
            <a:headEnd type="none" w="med" len="med"/>
            <a:tailEnd type="none" w="med" len="med"/>
          </a:ln>
          <a:effectLst>
            <a:outerShdw blurRad="419100" sx="102000" sy="102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5" name="Table 5">
            <a:extLst>
              <a:ext uri="{FF2B5EF4-FFF2-40B4-BE49-F238E27FC236}">
                <a16:creationId xmlns:a16="http://schemas.microsoft.com/office/drawing/2014/main" id="{2A407512-2864-4DDF-A16C-7098EDF8B2DA}"/>
              </a:ext>
            </a:extLst>
          </p:cNvPr>
          <p:cNvGraphicFramePr>
            <a:graphicFrameLocks noGrp="1"/>
          </p:cNvGraphicFramePr>
          <p:nvPr/>
        </p:nvGraphicFramePr>
        <p:xfrm>
          <a:off x="3987872" y="2247290"/>
          <a:ext cx="4127050" cy="3759274"/>
        </p:xfrm>
        <a:graphic>
          <a:graphicData uri="http://schemas.openxmlformats.org/drawingml/2006/table">
            <a:tbl>
              <a:tblPr>
                <a:tableStyleId>{5C22544A-7EE6-4342-B048-85BDC9FD1C3A}</a:tableStyleId>
              </a:tblPr>
              <a:tblGrid>
                <a:gridCol w="4127050">
                  <a:extLst>
                    <a:ext uri="{9D8B030D-6E8A-4147-A177-3AD203B41FA5}">
                      <a16:colId xmlns:a16="http://schemas.microsoft.com/office/drawing/2014/main" val="1243487574"/>
                    </a:ext>
                  </a:extLst>
                </a:gridCol>
              </a:tblGrid>
              <a:tr h="625930">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0" normalizeH="0" baseline="0" noProof="0">
                          <a:ln w="3175">
                            <a:noFill/>
                          </a:ln>
                          <a:solidFill>
                            <a:schemeClr val="accent1"/>
                          </a:solidFill>
                          <a:effectLst/>
                          <a:uLnTx/>
                          <a:uFillTx/>
                          <a:latin typeface="+mn-lt"/>
                          <a:ea typeface="+mn-ea"/>
                          <a:cs typeface="Segoe UI Semilight" panose="020B0402040204020203" pitchFamily="34" charset="0"/>
                        </a:rPr>
                        <a:t>SERVING LAY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30000"/>
                      </a:schemeClr>
                    </a:solidFill>
                  </a:tcPr>
                </a:tc>
                <a:extLst>
                  <a:ext uri="{0D108BD9-81ED-4DB2-BD59-A6C34878D82A}">
                    <a16:rowId xmlns:a16="http://schemas.microsoft.com/office/drawing/2014/main" val="1613448493"/>
                  </a:ext>
                </a:extLst>
              </a:tr>
              <a:tr h="895241">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0" normalizeH="0" baseline="0" noProof="0">
                          <a:ln w="3175">
                            <a:noFill/>
                          </a:ln>
                          <a:solidFill>
                            <a:schemeClr val="accent1"/>
                          </a:solidFill>
                          <a:effectLst/>
                          <a:uLnTx/>
                          <a:uFillTx/>
                          <a:latin typeface="+mn-lt"/>
                          <a:ea typeface="+mn-ea"/>
                          <a:cs typeface="Segoe UI Semilight" panose="020B0402040204020203" pitchFamily="34" charset="0"/>
                        </a:rPr>
                        <a:t>USER INTERFAC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alpha val="30000"/>
                      </a:schemeClr>
                    </a:solidFill>
                  </a:tcPr>
                </a:tc>
                <a:extLst>
                  <a:ext uri="{0D108BD9-81ED-4DB2-BD59-A6C34878D82A}">
                    <a16:rowId xmlns:a16="http://schemas.microsoft.com/office/drawing/2014/main" val="838255702"/>
                  </a:ext>
                </a:extLst>
              </a:tr>
              <a:tr h="179048">
                <a:tc>
                  <a:txBody>
                    <a:bodyPr/>
                    <a:lstStyle/>
                    <a:p>
                      <a:endParaRPr lang="en-US" sz="10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7651679"/>
                  </a:ext>
                </a:extLst>
              </a:tr>
              <a:tr h="895241">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0" normalizeH="0" baseline="0" noProof="0">
                          <a:ln w="3175">
                            <a:noFill/>
                          </a:ln>
                          <a:solidFill>
                            <a:schemeClr val="accent1"/>
                          </a:solidFill>
                          <a:effectLst/>
                          <a:uLnTx/>
                          <a:uFillTx/>
                          <a:latin typeface="+mn-lt"/>
                          <a:ea typeface="+mn-ea"/>
                          <a:cs typeface="Segoe UI Semilight" panose="020B0402040204020203" pitchFamily="34" charset="0"/>
                        </a:rPr>
                        <a:t>BUSINESS LOGIC</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alpha val="27000"/>
                      </a:schemeClr>
                    </a:solidFill>
                  </a:tcPr>
                </a:tc>
                <a:extLst>
                  <a:ext uri="{0D108BD9-81ED-4DB2-BD59-A6C34878D82A}">
                    <a16:rowId xmlns:a16="http://schemas.microsoft.com/office/drawing/2014/main" val="1006610825"/>
                  </a:ext>
                </a:extLst>
              </a:tr>
              <a:tr h="179048">
                <a:tc>
                  <a:txBody>
                    <a:bodyPr/>
                    <a:lstStyle/>
                    <a:p>
                      <a:endParaRPr lang="en-US" sz="10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86962351"/>
                  </a:ext>
                </a:extLst>
              </a:tr>
              <a:tr h="984766">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0" normalizeH="0" baseline="0" noProof="0">
                          <a:ln w="3175">
                            <a:noFill/>
                          </a:ln>
                          <a:solidFill>
                            <a:schemeClr val="accent1"/>
                          </a:solidFill>
                          <a:effectLst/>
                          <a:uLnTx/>
                          <a:uFillTx/>
                          <a:latin typeface="+mn-lt"/>
                          <a:ea typeface="+mn-ea"/>
                          <a:cs typeface="Segoe UI Semilight" panose="020B0402040204020203" pitchFamily="34" charset="0"/>
                        </a:rPr>
                        <a:t>DATA </a:t>
                      </a:r>
                      <a:r>
                        <a:rPr kumimoji="0" lang="en-US" sz="1100" b="0" i="0" u="none" strike="noStrike" kern="1200" cap="none" spc="300" normalizeH="0" baseline="0">
                          <a:ln w="3175">
                            <a:noFill/>
                          </a:ln>
                          <a:solidFill>
                            <a:schemeClr val="accent1"/>
                          </a:solidFill>
                          <a:effectLst/>
                          <a:uLnTx/>
                          <a:uFillTx/>
                          <a:latin typeface="+mn-lt"/>
                          <a:ea typeface="+mn-ea"/>
                          <a:cs typeface="Segoe UI Semilight" panose="020B0402040204020203" pitchFamily="34" charset="0"/>
                        </a:rPr>
                        <a:t>&amp; </a:t>
                      </a:r>
                      <a:r>
                        <a:rPr kumimoji="0" lang="en-US" sz="1100" b="0" i="0" u="none" strike="noStrike" kern="1200" cap="none" spc="300" normalizeH="0" baseline="0" noProof="0">
                          <a:ln w="3175">
                            <a:noFill/>
                          </a:ln>
                          <a:solidFill>
                            <a:schemeClr val="accent1"/>
                          </a:solidFill>
                          <a:effectLst/>
                          <a:uLnTx/>
                          <a:uFillTx/>
                          <a:latin typeface="+mn-lt"/>
                          <a:ea typeface="+mn-ea"/>
                          <a:cs typeface="Segoe UI Semilight" panose="020B0402040204020203" pitchFamily="34" charset="0"/>
                        </a:rPr>
                        <a:t>SYSTEMS OF RECOR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alpha val="21000"/>
                      </a:schemeClr>
                    </a:solidFill>
                  </a:tcPr>
                </a:tc>
                <a:extLst>
                  <a:ext uri="{0D108BD9-81ED-4DB2-BD59-A6C34878D82A}">
                    <a16:rowId xmlns:a16="http://schemas.microsoft.com/office/drawing/2014/main" val="475465252"/>
                  </a:ext>
                </a:extLst>
              </a:tr>
            </a:tbl>
          </a:graphicData>
        </a:graphic>
      </p:graphicFrame>
      <p:sp>
        <p:nvSpPr>
          <p:cNvPr id="2" name="Title 1">
            <a:extLst>
              <a:ext uri="{FF2B5EF4-FFF2-40B4-BE49-F238E27FC236}">
                <a16:creationId xmlns:a16="http://schemas.microsoft.com/office/drawing/2014/main" id="{554F001B-4290-47F0-A2FA-65E86950E575}"/>
              </a:ext>
            </a:extLst>
          </p:cNvPr>
          <p:cNvSpPr>
            <a:spLocks noGrp="1"/>
          </p:cNvSpPr>
          <p:nvPr>
            <p:ph type="title"/>
          </p:nvPr>
        </p:nvSpPr>
        <p:spPr/>
        <p:txBody>
          <a:bodyPr/>
          <a:lstStyle/>
          <a:p>
            <a:r>
              <a:rPr lang="en-US"/>
              <a:t>What are AI-powered apps?</a:t>
            </a:r>
          </a:p>
        </p:txBody>
      </p:sp>
      <p:grpSp>
        <p:nvGrpSpPr>
          <p:cNvPr id="37" name="Group 36">
            <a:extLst>
              <a:ext uri="{FF2B5EF4-FFF2-40B4-BE49-F238E27FC236}">
                <a16:creationId xmlns:a16="http://schemas.microsoft.com/office/drawing/2014/main" id="{0E591CD2-D974-4618-84F9-3524DBB985AC}"/>
              </a:ext>
            </a:extLst>
          </p:cNvPr>
          <p:cNvGrpSpPr/>
          <p:nvPr/>
        </p:nvGrpSpPr>
        <p:grpSpPr>
          <a:xfrm>
            <a:off x="4120483" y="3041798"/>
            <a:ext cx="760777" cy="641841"/>
            <a:chOff x="6615499" y="2245666"/>
            <a:chExt cx="760777" cy="641841"/>
          </a:xfrm>
        </p:grpSpPr>
        <p:grpSp>
          <p:nvGrpSpPr>
            <p:cNvPr id="34" name="Group 33">
              <a:extLst>
                <a:ext uri="{FF2B5EF4-FFF2-40B4-BE49-F238E27FC236}">
                  <a16:creationId xmlns:a16="http://schemas.microsoft.com/office/drawing/2014/main" id="{7649EF1E-3BF6-4430-B64F-9AB327310B0F}"/>
                </a:ext>
              </a:extLst>
            </p:cNvPr>
            <p:cNvGrpSpPr/>
            <p:nvPr/>
          </p:nvGrpSpPr>
          <p:grpSpPr>
            <a:xfrm>
              <a:off x="6615499" y="2245666"/>
              <a:ext cx="664098" cy="641841"/>
              <a:chOff x="6497808" y="2230915"/>
              <a:chExt cx="664098" cy="641841"/>
            </a:xfrm>
          </p:grpSpPr>
          <p:pic>
            <p:nvPicPr>
              <p:cNvPr id="136" name="Graphic 135">
                <a:extLst>
                  <a:ext uri="{FF2B5EF4-FFF2-40B4-BE49-F238E27FC236}">
                    <a16:creationId xmlns:a16="http://schemas.microsoft.com/office/drawing/2014/main" id="{8CC69174-35D7-4D20-A90A-5CB2C92D88D3}"/>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67639"/>
              <a:stretch/>
            </p:blipFill>
            <p:spPr>
              <a:xfrm>
                <a:off x="6497808" y="2662363"/>
                <a:ext cx="664098" cy="210393"/>
              </a:xfrm>
              <a:prstGeom prst="rect">
                <a:avLst/>
              </a:prstGeom>
            </p:spPr>
          </p:pic>
          <p:sp>
            <p:nvSpPr>
              <p:cNvPr id="138" name="Rectangle: Rounded Corners 137">
                <a:extLst>
                  <a:ext uri="{FF2B5EF4-FFF2-40B4-BE49-F238E27FC236}">
                    <a16:creationId xmlns:a16="http://schemas.microsoft.com/office/drawing/2014/main" id="{DA54D89D-C015-4D84-9189-616633353972}"/>
                  </a:ext>
                </a:extLst>
              </p:cNvPr>
              <p:cNvSpPr/>
              <p:nvPr/>
            </p:nvSpPr>
            <p:spPr>
              <a:xfrm>
                <a:off x="6500848" y="2230915"/>
                <a:ext cx="658018" cy="431448"/>
              </a:xfrm>
              <a:prstGeom prst="roundRect">
                <a:avLst>
                  <a:gd name="adj" fmla="val 4559"/>
                </a:avLst>
              </a:prstGeom>
              <a:gradFill flip="none" rotWithShape="1">
                <a:gsLst>
                  <a:gs pos="1250">
                    <a:srgbClr val="047AD5"/>
                  </a:gs>
                  <a:gs pos="100000">
                    <a:srgbClr val="5EA0EF"/>
                  </a:gs>
                </a:gsLst>
                <a:lin ang="16200000" scaled="1"/>
                <a:tileRect/>
              </a:gradFill>
              <a:ln>
                <a:noFill/>
              </a:ln>
              <a:effectLst>
                <a:outerShdw blurRad="63500" dir="5400000" algn="t"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3" name="Group 32">
              <a:extLst>
                <a:ext uri="{FF2B5EF4-FFF2-40B4-BE49-F238E27FC236}">
                  <a16:creationId xmlns:a16="http://schemas.microsoft.com/office/drawing/2014/main" id="{67B5DA36-33DD-482A-AD96-01696DDF701F}"/>
                </a:ext>
              </a:extLst>
            </p:cNvPr>
            <p:cNvGrpSpPr/>
            <p:nvPr/>
          </p:nvGrpSpPr>
          <p:grpSpPr>
            <a:xfrm>
              <a:off x="7152171" y="2412635"/>
              <a:ext cx="224105" cy="431448"/>
              <a:chOff x="7281244" y="2203865"/>
              <a:chExt cx="375821" cy="723531"/>
            </a:xfrm>
          </p:grpSpPr>
          <p:sp>
            <p:nvSpPr>
              <p:cNvPr id="20" name="Rectangle: Rounded Corners 19">
                <a:extLst>
                  <a:ext uri="{FF2B5EF4-FFF2-40B4-BE49-F238E27FC236}">
                    <a16:creationId xmlns:a16="http://schemas.microsoft.com/office/drawing/2014/main" id="{4E47A758-9150-431B-BE2D-DEDC66CA52B1}"/>
                  </a:ext>
                </a:extLst>
              </p:cNvPr>
              <p:cNvSpPr/>
              <p:nvPr/>
            </p:nvSpPr>
            <p:spPr bwMode="auto">
              <a:xfrm>
                <a:off x="7281244" y="2203865"/>
                <a:ext cx="375821" cy="723531"/>
              </a:xfrm>
              <a:prstGeom prst="roundRect">
                <a:avLst>
                  <a:gd name="adj" fmla="val 13911"/>
                </a:avLst>
              </a:prstGeom>
              <a:ln w="36513"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31" name="Rectangle 30">
                <a:extLst>
                  <a:ext uri="{FF2B5EF4-FFF2-40B4-BE49-F238E27FC236}">
                    <a16:creationId xmlns:a16="http://schemas.microsoft.com/office/drawing/2014/main" id="{D8BA4601-A258-4A97-97B9-2758BB6F0B85}"/>
                  </a:ext>
                </a:extLst>
              </p:cNvPr>
              <p:cNvSpPr/>
              <p:nvPr/>
            </p:nvSpPr>
            <p:spPr bwMode="auto">
              <a:xfrm>
                <a:off x="7314913" y="2309674"/>
                <a:ext cx="308483" cy="542491"/>
              </a:xfrm>
              <a:prstGeom prst="rect">
                <a:avLst/>
              </a:prstGeom>
              <a:gradFill flip="none" rotWithShape="1">
                <a:gsLst>
                  <a:gs pos="1250">
                    <a:srgbClr val="047AD5"/>
                  </a:gs>
                  <a:gs pos="100000">
                    <a:srgbClr val="5EA0EF"/>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39" name="Rectangle: Rounded Corners 138">
                <a:extLst>
                  <a:ext uri="{FF2B5EF4-FFF2-40B4-BE49-F238E27FC236}">
                    <a16:creationId xmlns:a16="http://schemas.microsoft.com/office/drawing/2014/main" id="{66CEDA92-7C94-4C8A-9347-182980C5C636}"/>
                  </a:ext>
                </a:extLst>
              </p:cNvPr>
              <p:cNvSpPr/>
              <p:nvPr/>
            </p:nvSpPr>
            <p:spPr bwMode="auto">
              <a:xfrm>
                <a:off x="7386892" y="2234851"/>
                <a:ext cx="164524" cy="18288"/>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40" name="Rectangle: Rounded Corners 139">
                <a:extLst>
                  <a:ext uri="{FF2B5EF4-FFF2-40B4-BE49-F238E27FC236}">
                    <a16:creationId xmlns:a16="http://schemas.microsoft.com/office/drawing/2014/main" id="{8E924B21-1660-4BE1-A280-A1DA59249B41}"/>
                  </a:ext>
                </a:extLst>
              </p:cNvPr>
              <p:cNvSpPr/>
              <p:nvPr/>
            </p:nvSpPr>
            <p:spPr bwMode="auto">
              <a:xfrm>
                <a:off x="7443819" y="2856971"/>
                <a:ext cx="50671" cy="50671"/>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grpSp>
      </p:grpSp>
      <p:grpSp>
        <p:nvGrpSpPr>
          <p:cNvPr id="36" name="Group 35">
            <a:extLst>
              <a:ext uri="{FF2B5EF4-FFF2-40B4-BE49-F238E27FC236}">
                <a16:creationId xmlns:a16="http://schemas.microsoft.com/office/drawing/2014/main" id="{E08FDC94-B0E8-4D53-8032-36AB795EBEBF}"/>
              </a:ext>
            </a:extLst>
          </p:cNvPr>
          <p:cNvGrpSpPr/>
          <p:nvPr/>
        </p:nvGrpSpPr>
        <p:grpSpPr>
          <a:xfrm>
            <a:off x="7159616" y="4142909"/>
            <a:ext cx="664098" cy="641841"/>
            <a:chOff x="6615499" y="3470561"/>
            <a:chExt cx="664098" cy="641841"/>
          </a:xfrm>
        </p:grpSpPr>
        <p:grpSp>
          <p:nvGrpSpPr>
            <p:cNvPr id="141" name="Group 140">
              <a:extLst>
                <a:ext uri="{FF2B5EF4-FFF2-40B4-BE49-F238E27FC236}">
                  <a16:creationId xmlns:a16="http://schemas.microsoft.com/office/drawing/2014/main" id="{0D42B853-1D62-449A-BA75-54929801A309}"/>
                </a:ext>
              </a:extLst>
            </p:cNvPr>
            <p:cNvGrpSpPr/>
            <p:nvPr/>
          </p:nvGrpSpPr>
          <p:grpSpPr>
            <a:xfrm>
              <a:off x="6615499" y="3470561"/>
              <a:ext cx="664098" cy="641841"/>
              <a:chOff x="6497808" y="2230915"/>
              <a:chExt cx="664098" cy="641841"/>
            </a:xfrm>
          </p:grpSpPr>
          <p:pic>
            <p:nvPicPr>
              <p:cNvPr id="142" name="Graphic 141">
                <a:extLst>
                  <a:ext uri="{FF2B5EF4-FFF2-40B4-BE49-F238E27FC236}">
                    <a16:creationId xmlns:a16="http://schemas.microsoft.com/office/drawing/2014/main" id="{A54A508E-23BE-4221-A904-20DEBF9B271A}"/>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67639"/>
              <a:stretch/>
            </p:blipFill>
            <p:spPr>
              <a:xfrm>
                <a:off x="6497808" y="2662363"/>
                <a:ext cx="664098" cy="210393"/>
              </a:xfrm>
              <a:prstGeom prst="rect">
                <a:avLst/>
              </a:prstGeom>
            </p:spPr>
          </p:pic>
          <p:sp>
            <p:nvSpPr>
              <p:cNvPr id="143" name="Rectangle: Rounded Corners 142">
                <a:extLst>
                  <a:ext uri="{FF2B5EF4-FFF2-40B4-BE49-F238E27FC236}">
                    <a16:creationId xmlns:a16="http://schemas.microsoft.com/office/drawing/2014/main" id="{477CB211-E609-4396-83A6-B26D69CC33E5}"/>
                  </a:ext>
                </a:extLst>
              </p:cNvPr>
              <p:cNvSpPr/>
              <p:nvPr/>
            </p:nvSpPr>
            <p:spPr>
              <a:xfrm>
                <a:off x="6500848" y="2230915"/>
                <a:ext cx="658018" cy="431448"/>
              </a:xfrm>
              <a:prstGeom prst="roundRect">
                <a:avLst>
                  <a:gd name="adj" fmla="val 4559"/>
                </a:avLst>
              </a:prstGeom>
              <a:gradFill flip="none" rotWithShape="1">
                <a:gsLst>
                  <a:gs pos="1250">
                    <a:srgbClr val="047AD5"/>
                  </a:gs>
                  <a:gs pos="100000">
                    <a:srgbClr val="5EA0EF"/>
                  </a:gs>
                </a:gsLst>
                <a:lin ang="16200000" scaled="1"/>
                <a:tileRect/>
              </a:gradFill>
              <a:ln>
                <a:noFill/>
              </a:ln>
              <a:effectLst>
                <a:outerShdw blurRad="63500" dir="5400000" algn="t"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89" name="Graphic 88" descr="Checkmark">
              <a:extLst>
                <a:ext uri="{FF2B5EF4-FFF2-40B4-BE49-F238E27FC236}">
                  <a16:creationId xmlns:a16="http://schemas.microsoft.com/office/drawing/2014/main" id="{52A3E1C1-93E3-4F01-94B9-26618E0C372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59076" y="3607219"/>
              <a:ext cx="201213" cy="201213"/>
            </a:xfrm>
            <a:prstGeom prst="rect">
              <a:avLst/>
            </a:prstGeom>
          </p:spPr>
        </p:pic>
        <p:grpSp>
          <p:nvGrpSpPr>
            <p:cNvPr id="144" name="Graphic 249" descr="working parts">
              <a:extLst>
                <a:ext uri="{FF2B5EF4-FFF2-40B4-BE49-F238E27FC236}">
                  <a16:creationId xmlns:a16="http://schemas.microsoft.com/office/drawing/2014/main" id="{5509BBE9-97A4-4D65-A1C8-FDB09432ABF2}"/>
                </a:ext>
              </a:extLst>
            </p:cNvPr>
            <p:cNvGrpSpPr/>
            <p:nvPr/>
          </p:nvGrpSpPr>
          <p:grpSpPr>
            <a:xfrm>
              <a:off x="6744189" y="3506248"/>
              <a:ext cx="363123" cy="362806"/>
              <a:chOff x="1602692" y="5719386"/>
              <a:chExt cx="487846" cy="487420"/>
            </a:xfrm>
            <a:solidFill>
              <a:schemeClr val="tx1"/>
            </a:solidFill>
          </p:grpSpPr>
          <p:sp>
            <p:nvSpPr>
              <p:cNvPr id="145" name="Freeform: Shape 144">
                <a:extLst>
                  <a:ext uri="{FF2B5EF4-FFF2-40B4-BE49-F238E27FC236}">
                    <a16:creationId xmlns:a16="http://schemas.microsoft.com/office/drawing/2014/main" id="{F110136C-D628-4154-87A5-0670586AAD7F}"/>
                  </a:ext>
                </a:extLst>
              </p:cNvPr>
              <p:cNvSpPr/>
              <p:nvPr/>
            </p:nvSpPr>
            <p:spPr>
              <a:xfrm>
                <a:off x="1602692" y="5871964"/>
                <a:ext cx="334842" cy="334842"/>
              </a:xfrm>
              <a:custGeom>
                <a:avLst/>
                <a:gdLst>
                  <a:gd name="connsiteX0" fmla="*/ 336522 w 334841"/>
                  <a:gd name="connsiteY0" fmla="*/ 186368 h 334841"/>
                  <a:gd name="connsiteX1" fmla="*/ 336522 w 334841"/>
                  <a:gd name="connsiteY1" fmla="*/ 151250 h 334841"/>
                  <a:gd name="connsiteX2" fmla="*/ 300122 w 334841"/>
                  <a:gd name="connsiteY2" fmla="*/ 151250 h 334841"/>
                  <a:gd name="connsiteX3" fmla="*/ 274232 w 334841"/>
                  <a:gd name="connsiteY3" fmla="*/ 88942 h 334841"/>
                  <a:gd name="connsiteX4" fmla="*/ 299951 w 334841"/>
                  <a:gd name="connsiteY4" fmla="*/ 63286 h 334841"/>
                  <a:gd name="connsiteX5" fmla="*/ 275086 w 334841"/>
                  <a:gd name="connsiteY5" fmla="*/ 38482 h 334841"/>
                  <a:gd name="connsiteX6" fmla="*/ 249367 w 334841"/>
                  <a:gd name="connsiteY6" fmla="*/ 64053 h 334841"/>
                  <a:gd name="connsiteX7" fmla="*/ 186906 w 334841"/>
                  <a:gd name="connsiteY7" fmla="*/ 38226 h 334841"/>
                  <a:gd name="connsiteX8" fmla="*/ 186906 w 334841"/>
                  <a:gd name="connsiteY8" fmla="*/ 2001 h 334841"/>
                  <a:gd name="connsiteX9" fmla="*/ 151702 w 334841"/>
                  <a:gd name="connsiteY9" fmla="*/ 2001 h 334841"/>
                  <a:gd name="connsiteX10" fmla="*/ 151702 w 334841"/>
                  <a:gd name="connsiteY10" fmla="*/ 38311 h 334841"/>
                  <a:gd name="connsiteX11" fmla="*/ 89241 w 334841"/>
                  <a:gd name="connsiteY11" fmla="*/ 64138 h 334841"/>
                  <a:gd name="connsiteX12" fmla="*/ 63522 w 334841"/>
                  <a:gd name="connsiteY12" fmla="*/ 38482 h 334841"/>
                  <a:gd name="connsiteX13" fmla="*/ 38657 w 334841"/>
                  <a:gd name="connsiteY13" fmla="*/ 63286 h 334841"/>
                  <a:gd name="connsiteX14" fmla="*/ 64291 w 334841"/>
                  <a:gd name="connsiteY14" fmla="*/ 88942 h 334841"/>
                  <a:gd name="connsiteX15" fmla="*/ 38401 w 334841"/>
                  <a:gd name="connsiteY15" fmla="*/ 151250 h 334841"/>
                  <a:gd name="connsiteX16" fmla="*/ 2001 w 334841"/>
                  <a:gd name="connsiteY16" fmla="*/ 151250 h 334841"/>
                  <a:gd name="connsiteX17" fmla="*/ 2001 w 334841"/>
                  <a:gd name="connsiteY17" fmla="*/ 186368 h 334841"/>
                  <a:gd name="connsiteX18" fmla="*/ 38401 w 334841"/>
                  <a:gd name="connsiteY18" fmla="*/ 186368 h 334841"/>
                  <a:gd name="connsiteX19" fmla="*/ 64291 w 334841"/>
                  <a:gd name="connsiteY19" fmla="*/ 248676 h 334841"/>
                  <a:gd name="connsiteX20" fmla="*/ 38572 w 334841"/>
                  <a:gd name="connsiteY20" fmla="*/ 274332 h 334841"/>
                  <a:gd name="connsiteX21" fmla="*/ 63436 w 334841"/>
                  <a:gd name="connsiteY21" fmla="*/ 299136 h 334841"/>
                  <a:gd name="connsiteX22" fmla="*/ 89156 w 334841"/>
                  <a:gd name="connsiteY22" fmla="*/ 273480 h 334841"/>
                  <a:gd name="connsiteX23" fmla="*/ 151617 w 334841"/>
                  <a:gd name="connsiteY23" fmla="*/ 299306 h 334841"/>
                  <a:gd name="connsiteX24" fmla="*/ 151617 w 334841"/>
                  <a:gd name="connsiteY24" fmla="*/ 335617 h 334841"/>
                  <a:gd name="connsiteX25" fmla="*/ 186820 w 334841"/>
                  <a:gd name="connsiteY25" fmla="*/ 335617 h 334841"/>
                  <a:gd name="connsiteX26" fmla="*/ 186820 w 334841"/>
                  <a:gd name="connsiteY26" fmla="*/ 299306 h 334841"/>
                  <a:gd name="connsiteX27" fmla="*/ 249281 w 334841"/>
                  <a:gd name="connsiteY27" fmla="*/ 273480 h 334841"/>
                  <a:gd name="connsiteX28" fmla="*/ 275001 w 334841"/>
                  <a:gd name="connsiteY28" fmla="*/ 299136 h 334841"/>
                  <a:gd name="connsiteX29" fmla="*/ 299865 w 334841"/>
                  <a:gd name="connsiteY29" fmla="*/ 274332 h 334841"/>
                  <a:gd name="connsiteX30" fmla="*/ 274147 w 334841"/>
                  <a:gd name="connsiteY30" fmla="*/ 248676 h 334841"/>
                  <a:gd name="connsiteX31" fmla="*/ 300036 w 334841"/>
                  <a:gd name="connsiteY31" fmla="*/ 186368 h 334841"/>
                  <a:gd name="connsiteX32" fmla="*/ 336522 w 334841"/>
                  <a:gd name="connsiteY32" fmla="*/ 186368 h 334841"/>
                  <a:gd name="connsiteX33" fmla="*/ 169219 w 334841"/>
                  <a:gd name="connsiteY33" fmla="*/ 249443 h 334841"/>
                  <a:gd name="connsiteX34" fmla="*/ 88472 w 334841"/>
                  <a:gd name="connsiteY34" fmla="*/ 168894 h 334841"/>
                  <a:gd name="connsiteX35" fmla="*/ 169219 w 334841"/>
                  <a:gd name="connsiteY35" fmla="*/ 88345 h 334841"/>
                  <a:gd name="connsiteX36" fmla="*/ 249965 w 334841"/>
                  <a:gd name="connsiteY36" fmla="*/ 168894 h 334841"/>
                  <a:gd name="connsiteX37" fmla="*/ 169219 w 334841"/>
                  <a:gd name="connsiteY37" fmla="*/ 249443 h 3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4841" h="334841">
                    <a:moveTo>
                      <a:pt x="336522" y="186368"/>
                    </a:moveTo>
                    <a:lnTo>
                      <a:pt x="336522" y="151250"/>
                    </a:lnTo>
                    <a:lnTo>
                      <a:pt x="300122" y="151250"/>
                    </a:lnTo>
                    <a:cubicBezTo>
                      <a:pt x="297046" y="127980"/>
                      <a:pt x="287818" y="106671"/>
                      <a:pt x="274232" y="88942"/>
                    </a:cubicBezTo>
                    <a:lnTo>
                      <a:pt x="299951" y="63286"/>
                    </a:lnTo>
                    <a:lnTo>
                      <a:pt x="275086" y="38482"/>
                    </a:lnTo>
                    <a:lnTo>
                      <a:pt x="249367" y="64053"/>
                    </a:lnTo>
                    <a:cubicBezTo>
                      <a:pt x="231594" y="50500"/>
                      <a:pt x="210147" y="41295"/>
                      <a:pt x="186906" y="38226"/>
                    </a:cubicBezTo>
                    <a:lnTo>
                      <a:pt x="186906" y="2001"/>
                    </a:lnTo>
                    <a:lnTo>
                      <a:pt x="151702" y="2001"/>
                    </a:lnTo>
                    <a:lnTo>
                      <a:pt x="151702" y="38311"/>
                    </a:lnTo>
                    <a:cubicBezTo>
                      <a:pt x="128375" y="41380"/>
                      <a:pt x="107014" y="50586"/>
                      <a:pt x="89241" y="64138"/>
                    </a:cubicBezTo>
                    <a:lnTo>
                      <a:pt x="63522" y="38482"/>
                    </a:lnTo>
                    <a:lnTo>
                      <a:pt x="38657" y="63286"/>
                    </a:lnTo>
                    <a:lnTo>
                      <a:pt x="64291" y="88942"/>
                    </a:lnTo>
                    <a:cubicBezTo>
                      <a:pt x="50705" y="106671"/>
                      <a:pt x="41477" y="128065"/>
                      <a:pt x="38401" y="151250"/>
                    </a:cubicBezTo>
                    <a:lnTo>
                      <a:pt x="2001" y="151250"/>
                    </a:lnTo>
                    <a:lnTo>
                      <a:pt x="2001" y="186368"/>
                    </a:lnTo>
                    <a:lnTo>
                      <a:pt x="38401" y="186368"/>
                    </a:lnTo>
                    <a:cubicBezTo>
                      <a:pt x="41477" y="209637"/>
                      <a:pt x="50705" y="230946"/>
                      <a:pt x="64291" y="248676"/>
                    </a:cubicBezTo>
                    <a:lnTo>
                      <a:pt x="38572" y="274332"/>
                    </a:lnTo>
                    <a:lnTo>
                      <a:pt x="63436" y="299136"/>
                    </a:lnTo>
                    <a:lnTo>
                      <a:pt x="89156" y="273480"/>
                    </a:lnTo>
                    <a:cubicBezTo>
                      <a:pt x="106929" y="287032"/>
                      <a:pt x="128375" y="296238"/>
                      <a:pt x="151617" y="299306"/>
                    </a:cubicBezTo>
                    <a:lnTo>
                      <a:pt x="151617" y="335617"/>
                    </a:lnTo>
                    <a:lnTo>
                      <a:pt x="186820" y="335617"/>
                    </a:lnTo>
                    <a:lnTo>
                      <a:pt x="186820" y="299306"/>
                    </a:lnTo>
                    <a:cubicBezTo>
                      <a:pt x="210147" y="296238"/>
                      <a:pt x="231509" y="287032"/>
                      <a:pt x="249281" y="273480"/>
                    </a:cubicBezTo>
                    <a:lnTo>
                      <a:pt x="275001" y="299136"/>
                    </a:lnTo>
                    <a:lnTo>
                      <a:pt x="299865" y="274332"/>
                    </a:lnTo>
                    <a:lnTo>
                      <a:pt x="274147" y="248676"/>
                    </a:lnTo>
                    <a:cubicBezTo>
                      <a:pt x="287732" y="230946"/>
                      <a:pt x="296960" y="209552"/>
                      <a:pt x="300036" y="186368"/>
                    </a:cubicBezTo>
                    <a:lnTo>
                      <a:pt x="336522" y="186368"/>
                    </a:lnTo>
                    <a:close/>
                    <a:moveTo>
                      <a:pt x="169219" y="249443"/>
                    </a:moveTo>
                    <a:cubicBezTo>
                      <a:pt x="124701" y="249443"/>
                      <a:pt x="88472" y="213303"/>
                      <a:pt x="88472" y="168894"/>
                    </a:cubicBezTo>
                    <a:cubicBezTo>
                      <a:pt x="88472" y="124486"/>
                      <a:pt x="124701" y="88345"/>
                      <a:pt x="169219" y="88345"/>
                    </a:cubicBezTo>
                    <a:cubicBezTo>
                      <a:pt x="213736" y="88345"/>
                      <a:pt x="249965" y="124486"/>
                      <a:pt x="249965" y="168894"/>
                    </a:cubicBezTo>
                    <a:cubicBezTo>
                      <a:pt x="249965" y="213303"/>
                      <a:pt x="213821" y="249443"/>
                      <a:pt x="169219" y="249443"/>
                    </a:cubicBezTo>
                    <a:close/>
                  </a:path>
                </a:pathLst>
              </a:custGeom>
              <a:grp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1274F11-6CE4-437B-BC59-E1CD26F7CDBC}"/>
                  </a:ext>
                </a:extLst>
              </p:cNvPr>
              <p:cNvSpPr/>
              <p:nvPr/>
            </p:nvSpPr>
            <p:spPr>
              <a:xfrm>
                <a:off x="1882530" y="5719386"/>
                <a:ext cx="208008" cy="208008"/>
              </a:xfrm>
              <a:custGeom>
                <a:avLst/>
                <a:gdLst>
                  <a:gd name="connsiteX0" fmla="*/ 208780 w 208007"/>
                  <a:gd name="connsiteY0" fmla="*/ 115962 h 208007"/>
                  <a:gd name="connsiteX1" fmla="*/ 208780 w 208007"/>
                  <a:gd name="connsiteY1" fmla="*/ 94227 h 208007"/>
                  <a:gd name="connsiteX2" fmla="*/ 186308 w 208007"/>
                  <a:gd name="connsiteY2" fmla="*/ 94227 h 208007"/>
                  <a:gd name="connsiteX3" fmla="*/ 170329 w 208007"/>
                  <a:gd name="connsiteY3" fmla="*/ 55700 h 208007"/>
                  <a:gd name="connsiteX4" fmla="*/ 186222 w 208007"/>
                  <a:gd name="connsiteY4" fmla="*/ 39846 h 208007"/>
                  <a:gd name="connsiteX5" fmla="*/ 170842 w 208007"/>
                  <a:gd name="connsiteY5" fmla="*/ 24503 h 208007"/>
                  <a:gd name="connsiteX6" fmla="*/ 154863 w 208007"/>
                  <a:gd name="connsiteY6" fmla="*/ 40357 h 208007"/>
                  <a:gd name="connsiteX7" fmla="*/ 116242 w 208007"/>
                  <a:gd name="connsiteY7" fmla="*/ 24418 h 208007"/>
                  <a:gd name="connsiteX8" fmla="*/ 116242 w 208007"/>
                  <a:gd name="connsiteY8" fmla="*/ 2001 h 208007"/>
                  <a:gd name="connsiteX9" fmla="*/ 94453 w 208007"/>
                  <a:gd name="connsiteY9" fmla="*/ 2001 h 208007"/>
                  <a:gd name="connsiteX10" fmla="*/ 94453 w 208007"/>
                  <a:gd name="connsiteY10" fmla="*/ 24418 h 208007"/>
                  <a:gd name="connsiteX11" fmla="*/ 55831 w 208007"/>
                  <a:gd name="connsiteY11" fmla="*/ 40357 h 208007"/>
                  <a:gd name="connsiteX12" fmla="*/ 39939 w 208007"/>
                  <a:gd name="connsiteY12" fmla="*/ 24503 h 208007"/>
                  <a:gd name="connsiteX13" fmla="*/ 24558 w 208007"/>
                  <a:gd name="connsiteY13" fmla="*/ 39846 h 208007"/>
                  <a:gd name="connsiteX14" fmla="*/ 40451 w 208007"/>
                  <a:gd name="connsiteY14" fmla="*/ 55700 h 208007"/>
                  <a:gd name="connsiteX15" fmla="*/ 24473 w 208007"/>
                  <a:gd name="connsiteY15" fmla="*/ 94227 h 208007"/>
                  <a:gd name="connsiteX16" fmla="*/ 2001 w 208007"/>
                  <a:gd name="connsiteY16" fmla="*/ 94227 h 208007"/>
                  <a:gd name="connsiteX17" fmla="*/ 2001 w 208007"/>
                  <a:gd name="connsiteY17" fmla="*/ 115962 h 208007"/>
                  <a:gd name="connsiteX18" fmla="*/ 24473 w 208007"/>
                  <a:gd name="connsiteY18" fmla="*/ 115962 h 208007"/>
                  <a:gd name="connsiteX19" fmla="*/ 40451 w 208007"/>
                  <a:gd name="connsiteY19" fmla="*/ 154489 h 208007"/>
                  <a:gd name="connsiteX20" fmla="*/ 24558 w 208007"/>
                  <a:gd name="connsiteY20" fmla="*/ 170343 h 208007"/>
                  <a:gd name="connsiteX21" fmla="*/ 39939 w 208007"/>
                  <a:gd name="connsiteY21" fmla="*/ 185686 h 208007"/>
                  <a:gd name="connsiteX22" fmla="*/ 55831 w 208007"/>
                  <a:gd name="connsiteY22" fmla="*/ 169832 h 208007"/>
                  <a:gd name="connsiteX23" fmla="*/ 94453 w 208007"/>
                  <a:gd name="connsiteY23" fmla="*/ 185771 h 208007"/>
                  <a:gd name="connsiteX24" fmla="*/ 94453 w 208007"/>
                  <a:gd name="connsiteY24" fmla="*/ 208273 h 208007"/>
                  <a:gd name="connsiteX25" fmla="*/ 116242 w 208007"/>
                  <a:gd name="connsiteY25" fmla="*/ 208273 h 208007"/>
                  <a:gd name="connsiteX26" fmla="*/ 116242 w 208007"/>
                  <a:gd name="connsiteY26" fmla="*/ 185856 h 208007"/>
                  <a:gd name="connsiteX27" fmla="*/ 154863 w 208007"/>
                  <a:gd name="connsiteY27" fmla="*/ 169917 h 208007"/>
                  <a:gd name="connsiteX28" fmla="*/ 170756 w 208007"/>
                  <a:gd name="connsiteY28" fmla="*/ 185771 h 208007"/>
                  <a:gd name="connsiteX29" fmla="*/ 186137 w 208007"/>
                  <a:gd name="connsiteY29" fmla="*/ 170428 h 208007"/>
                  <a:gd name="connsiteX30" fmla="*/ 170244 w 208007"/>
                  <a:gd name="connsiteY30" fmla="*/ 154574 h 208007"/>
                  <a:gd name="connsiteX31" fmla="*/ 186222 w 208007"/>
                  <a:gd name="connsiteY31" fmla="*/ 116047 h 208007"/>
                  <a:gd name="connsiteX32" fmla="*/ 208780 w 208007"/>
                  <a:gd name="connsiteY32" fmla="*/ 116047 h 208007"/>
                  <a:gd name="connsiteX33" fmla="*/ 208780 w 208007"/>
                  <a:gd name="connsiteY33" fmla="*/ 115962 h 208007"/>
                  <a:gd name="connsiteX34" fmla="*/ 105390 w 208007"/>
                  <a:gd name="connsiteY34" fmla="*/ 154915 h 208007"/>
                  <a:gd name="connsiteX35" fmla="*/ 55490 w 208007"/>
                  <a:gd name="connsiteY35" fmla="*/ 105137 h 208007"/>
                  <a:gd name="connsiteX36" fmla="*/ 105390 w 208007"/>
                  <a:gd name="connsiteY36" fmla="*/ 55359 h 208007"/>
                  <a:gd name="connsiteX37" fmla="*/ 155291 w 208007"/>
                  <a:gd name="connsiteY37" fmla="*/ 105137 h 208007"/>
                  <a:gd name="connsiteX38" fmla="*/ 105390 w 208007"/>
                  <a:gd name="connsiteY38" fmla="*/ 154915 h 20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8007" h="208007">
                    <a:moveTo>
                      <a:pt x="208780" y="115962"/>
                    </a:moveTo>
                    <a:lnTo>
                      <a:pt x="208780" y="94227"/>
                    </a:lnTo>
                    <a:lnTo>
                      <a:pt x="186308" y="94227"/>
                    </a:lnTo>
                    <a:cubicBezTo>
                      <a:pt x="184428" y="79822"/>
                      <a:pt x="178703" y="66695"/>
                      <a:pt x="170329" y="55700"/>
                    </a:cubicBezTo>
                    <a:lnTo>
                      <a:pt x="186222" y="39846"/>
                    </a:lnTo>
                    <a:lnTo>
                      <a:pt x="170842" y="24503"/>
                    </a:lnTo>
                    <a:lnTo>
                      <a:pt x="154863" y="40357"/>
                    </a:lnTo>
                    <a:cubicBezTo>
                      <a:pt x="143841" y="32004"/>
                      <a:pt x="130682" y="26293"/>
                      <a:pt x="116242" y="24418"/>
                    </a:cubicBezTo>
                    <a:lnTo>
                      <a:pt x="116242" y="2001"/>
                    </a:lnTo>
                    <a:lnTo>
                      <a:pt x="94453" y="2001"/>
                    </a:lnTo>
                    <a:lnTo>
                      <a:pt x="94453" y="24418"/>
                    </a:lnTo>
                    <a:cubicBezTo>
                      <a:pt x="80013" y="26293"/>
                      <a:pt x="66854" y="32004"/>
                      <a:pt x="55831" y="40357"/>
                    </a:cubicBezTo>
                    <a:lnTo>
                      <a:pt x="39939" y="24503"/>
                    </a:lnTo>
                    <a:lnTo>
                      <a:pt x="24558" y="39846"/>
                    </a:lnTo>
                    <a:lnTo>
                      <a:pt x="40451" y="55700"/>
                    </a:lnTo>
                    <a:cubicBezTo>
                      <a:pt x="32078" y="66695"/>
                      <a:pt x="26353" y="79822"/>
                      <a:pt x="24473" y="94227"/>
                    </a:cubicBezTo>
                    <a:lnTo>
                      <a:pt x="2001" y="94227"/>
                    </a:lnTo>
                    <a:lnTo>
                      <a:pt x="2001" y="115962"/>
                    </a:lnTo>
                    <a:lnTo>
                      <a:pt x="24473" y="115962"/>
                    </a:lnTo>
                    <a:cubicBezTo>
                      <a:pt x="26353" y="130367"/>
                      <a:pt x="32078" y="143494"/>
                      <a:pt x="40451" y="154489"/>
                    </a:cubicBezTo>
                    <a:lnTo>
                      <a:pt x="24558" y="170343"/>
                    </a:lnTo>
                    <a:lnTo>
                      <a:pt x="39939" y="185686"/>
                    </a:lnTo>
                    <a:lnTo>
                      <a:pt x="55831" y="169832"/>
                    </a:lnTo>
                    <a:cubicBezTo>
                      <a:pt x="66854" y="178185"/>
                      <a:pt x="80013" y="183896"/>
                      <a:pt x="94453" y="185771"/>
                    </a:cubicBezTo>
                    <a:lnTo>
                      <a:pt x="94453" y="208273"/>
                    </a:lnTo>
                    <a:lnTo>
                      <a:pt x="116242" y="208273"/>
                    </a:lnTo>
                    <a:lnTo>
                      <a:pt x="116242" y="185856"/>
                    </a:lnTo>
                    <a:cubicBezTo>
                      <a:pt x="130682" y="183981"/>
                      <a:pt x="143841" y="178270"/>
                      <a:pt x="154863" y="169917"/>
                    </a:cubicBezTo>
                    <a:lnTo>
                      <a:pt x="170756" y="185771"/>
                    </a:lnTo>
                    <a:lnTo>
                      <a:pt x="186137" y="170428"/>
                    </a:lnTo>
                    <a:lnTo>
                      <a:pt x="170244" y="154574"/>
                    </a:lnTo>
                    <a:cubicBezTo>
                      <a:pt x="178617" y="143579"/>
                      <a:pt x="184342" y="130452"/>
                      <a:pt x="186222" y="116047"/>
                    </a:cubicBezTo>
                    <a:lnTo>
                      <a:pt x="208780" y="116047"/>
                    </a:lnTo>
                    <a:lnTo>
                      <a:pt x="208780" y="115962"/>
                    </a:lnTo>
                    <a:close/>
                    <a:moveTo>
                      <a:pt x="105390" y="154915"/>
                    </a:moveTo>
                    <a:cubicBezTo>
                      <a:pt x="77877" y="154915"/>
                      <a:pt x="55490" y="132583"/>
                      <a:pt x="55490" y="105137"/>
                    </a:cubicBezTo>
                    <a:cubicBezTo>
                      <a:pt x="55490" y="77691"/>
                      <a:pt x="77877" y="55359"/>
                      <a:pt x="105390" y="55359"/>
                    </a:cubicBezTo>
                    <a:cubicBezTo>
                      <a:pt x="132904" y="55359"/>
                      <a:pt x="155291" y="77691"/>
                      <a:pt x="155291" y="105137"/>
                    </a:cubicBezTo>
                    <a:cubicBezTo>
                      <a:pt x="155291" y="132583"/>
                      <a:pt x="132904" y="154915"/>
                      <a:pt x="105390" y="154915"/>
                    </a:cubicBezTo>
                    <a:close/>
                  </a:path>
                </a:pathLst>
              </a:custGeom>
              <a:grp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13" name="Group 112">
            <a:extLst>
              <a:ext uri="{FF2B5EF4-FFF2-40B4-BE49-F238E27FC236}">
                <a16:creationId xmlns:a16="http://schemas.microsoft.com/office/drawing/2014/main" id="{1998B770-7FDD-4978-B373-7EF609650104}"/>
              </a:ext>
            </a:extLst>
          </p:cNvPr>
          <p:cNvGrpSpPr/>
          <p:nvPr/>
        </p:nvGrpSpPr>
        <p:grpSpPr>
          <a:xfrm>
            <a:off x="4377842" y="1599691"/>
            <a:ext cx="200600" cy="81125"/>
            <a:chOff x="4468482" y="2997679"/>
            <a:chExt cx="1066539" cy="431321"/>
          </a:xfrm>
          <a:solidFill>
            <a:schemeClr val="bg1"/>
          </a:solidFill>
        </p:grpSpPr>
        <p:grpSp>
          <p:nvGrpSpPr>
            <p:cNvPr id="116" name="Group 115">
              <a:extLst>
                <a:ext uri="{FF2B5EF4-FFF2-40B4-BE49-F238E27FC236}">
                  <a16:creationId xmlns:a16="http://schemas.microsoft.com/office/drawing/2014/main" id="{A83903D5-80F5-4DB0-8F68-73C1C9C548E4}"/>
                </a:ext>
              </a:extLst>
            </p:cNvPr>
            <p:cNvGrpSpPr/>
            <p:nvPr/>
          </p:nvGrpSpPr>
          <p:grpSpPr>
            <a:xfrm>
              <a:off x="4468482" y="2997679"/>
              <a:ext cx="431321" cy="431321"/>
              <a:chOff x="4468482" y="2997679"/>
              <a:chExt cx="431321" cy="431321"/>
            </a:xfrm>
            <a:grpFill/>
          </p:grpSpPr>
          <p:sp>
            <p:nvSpPr>
              <p:cNvPr id="121" name="Oval 120">
                <a:extLst>
                  <a:ext uri="{FF2B5EF4-FFF2-40B4-BE49-F238E27FC236}">
                    <a16:creationId xmlns:a16="http://schemas.microsoft.com/office/drawing/2014/main" id="{0CCE376D-F9A1-4BE8-BC4A-821699D019BD}"/>
                  </a:ext>
                </a:extLst>
              </p:cNvPr>
              <p:cNvSpPr/>
              <p:nvPr/>
            </p:nvSpPr>
            <p:spPr>
              <a:xfrm>
                <a:off x="4483382" y="3012579"/>
                <a:ext cx="401520" cy="401520"/>
              </a:xfrm>
              <a:prstGeom prst="ellipse">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Calibri"/>
                  <a:ea typeface="+mn-ea"/>
                  <a:cs typeface="+mn-cs"/>
                </a:endParaRPr>
              </a:p>
            </p:txBody>
          </p:sp>
          <p:sp>
            <p:nvSpPr>
              <p:cNvPr id="122" name="Circle: Hollow 121">
                <a:extLst>
                  <a:ext uri="{FF2B5EF4-FFF2-40B4-BE49-F238E27FC236}">
                    <a16:creationId xmlns:a16="http://schemas.microsoft.com/office/drawing/2014/main" id="{0B72355D-AD26-4A8E-ABE0-B664D800A637}"/>
                  </a:ext>
                </a:extLst>
              </p:cNvPr>
              <p:cNvSpPr/>
              <p:nvPr/>
            </p:nvSpPr>
            <p:spPr>
              <a:xfrm>
                <a:off x="4468482" y="2997679"/>
                <a:ext cx="431321" cy="431321"/>
              </a:xfrm>
              <a:prstGeom prst="donut">
                <a:avLst>
                  <a:gd name="adj" fmla="val 11552"/>
                </a:avLst>
              </a:prstGeom>
              <a:grp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Calibri"/>
                  <a:ea typeface="+mn-ea"/>
                  <a:cs typeface="+mn-cs"/>
                </a:endParaRPr>
              </a:p>
            </p:txBody>
          </p:sp>
        </p:grpSp>
        <p:grpSp>
          <p:nvGrpSpPr>
            <p:cNvPr id="117" name="Group 116">
              <a:extLst>
                <a:ext uri="{FF2B5EF4-FFF2-40B4-BE49-F238E27FC236}">
                  <a16:creationId xmlns:a16="http://schemas.microsoft.com/office/drawing/2014/main" id="{5461283B-B7EF-41A0-80F0-EB405BCC32AA}"/>
                </a:ext>
              </a:extLst>
            </p:cNvPr>
            <p:cNvGrpSpPr/>
            <p:nvPr/>
          </p:nvGrpSpPr>
          <p:grpSpPr>
            <a:xfrm>
              <a:off x="5103700" y="2997679"/>
              <a:ext cx="431321" cy="431321"/>
              <a:chOff x="4468482" y="2997679"/>
              <a:chExt cx="431321" cy="431321"/>
            </a:xfrm>
            <a:grpFill/>
          </p:grpSpPr>
          <p:sp>
            <p:nvSpPr>
              <p:cNvPr id="119" name="Oval 118">
                <a:extLst>
                  <a:ext uri="{FF2B5EF4-FFF2-40B4-BE49-F238E27FC236}">
                    <a16:creationId xmlns:a16="http://schemas.microsoft.com/office/drawing/2014/main" id="{39E98B07-18F3-40CD-9C99-58FCF981D7A2}"/>
                  </a:ext>
                </a:extLst>
              </p:cNvPr>
              <p:cNvSpPr/>
              <p:nvPr/>
            </p:nvSpPr>
            <p:spPr>
              <a:xfrm>
                <a:off x="4483382" y="3012579"/>
                <a:ext cx="401520" cy="401520"/>
              </a:xfrm>
              <a:prstGeom prst="ellipse">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Calibri"/>
                  <a:ea typeface="+mn-ea"/>
                  <a:cs typeface="+mn-cs"/>
                </a:endParaRPr>
              </a:p>
            </p:txBody>
          </p:sp>
          <p:sp>
            <p:nvSpPr>
              <p:cNvPr id="120" name="Circle: Hollow 119">
                <a:extLst>
                  <a:ext uri="{FF2B5EF4-FFF2-40B4-BE49-F238E27FC236}">
                    <a16:creationId xmlns:a16="http://schemas.microsoft.com/office/drawing/2014/main" id="{55EEFC4A-A2C6-4121-B1A8-CC9E96FD5FF8}"/>
                  </a:ext>
                </a:extLst>
              </p:cNvPr>
              <p:cNvSpPr/>
              <p:nvPr/>
            </p:nvSpPr>
            <p:spPr>
              <a:xfrm>
                <a:off x="4468482" y="2997679"/>
                <a:ext cx="431321" cy="431321"/>
              </a:xfrm>
              <a:prstGeom prst="donut">
                <a:avLst>
                  <a:gd name="adj" fmla="val 11552"/>
                </a:avLst>
              </a:prstGeom>
              <a:grp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Calibri"/>
                  <a:ea typeface="+mn-ea"/>
                  <a:cs typeface="+mn-cs"/>
                </a:endParaRPr>
              </a:p>
            </p:txBody>
          </p:sp>
        </p:grpSp>
        <p:sp>
          <p:nvSpPr>
            <p:cNvPr id="118" name="Rectangle 117">
              <a:extLst>
                <a:ext uri="{FF2B5EF4-FFF2-40B4-BE49-F238E27FC236}">
                  <a16:creationId xmlns:a16="http://schemas.microsoft.com/office/drawing/2014/main" id="{7E782455-C3B1-42A8-A907-FA0B37EA74AF}"/>
                </a:ext>
              </a:extLst>
            </p:cNvPr>
            <p:cNvSpPr/>
            <p:nvPr/>
          </p:nvSpPr>
          <p:spPr>
            <a:xfrm>
              <a:off x="4854319" y="3096099"/>
              <a:ext cx="280751" cy="64306"/>
            </a:xfrm>
            <a:prstGeom prst="rect">
              <a:avLst/>
            </a:prstGeom>
            <a:grp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a:ea typeface="+mn-ea"/>
                <a:cs typeface="+mn-cs"/>
              </a:endParaRPr>
            </a:p>
          </p:txBody>
        </p:sp>
      </p:grpSp>
      <p:grpSp>
        <p:nvGrpSpPr>
          <p:cNvPr id="44" name="Group 43">
            <a:extLst>
              <a:ext uri="{FF2B5EF4-FFF2-40B4-BE49-F238E27FC236}">
                <a16:creationId xmlns:a16="http://schemas.microsoft.com/office/drawing/2014/main" id="{17767D22-4381-4658-8186-ACE5C076EBD6}"/>
              </a:ext>
            </a:extLst>
          </p:cNvPr>
          <p:cNvGrpSpPr/>
          <p:nvPr/>
        </p:nvGrpSpPr>
        <p:grpSpPr>
          <a:xfrm>
            <a:off x="4186448" y="1457328"/>
            <a:ext cx="1389623" cy="607587"/>
            <a:chOff x="4155380" y="1450561"/>
            <a:chExt cx="1389623" cy="607587"/>
          </a:xfrm>
        </p:grpSpPr>
        <p:sp>
          <p:nvSpPr>
            <p:cNvPr id="11" name="Title 1">
              <a:extLst>
                <a:ext uri="{FF2B5EF4-FFF2-40B4-BE49-F238E27FC236}">
                  <a16:creationId xmlns:a16="http://schemas.microsoft.com/office/drawing/2014/main" id="{4CB1E4C0-FDFE-43E2-94C3-F6087CBE411A}"/>
                </a:ext>
              </a:extLst>
            </p:cNvPr>
            <p:cNvSpPr txBox="1">
              <a:spLocks/>
            </p:cNvSpPr>
            <p:nvPr/>
          </p:nvSpPr>
          <p:spPr>
            <a:xfrm>
              <a:off x="4651792" y="1534433"/>
              <a:ext cx="893211" cy="24622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gradFill>
                    <a:gsLst>
                      <a:gs pos="0">
                        <a:srgbClr val="FFFFFF"/>
                      </a:gs>
                      <a:gs pos="100000">
                        <a:srgbClr val="FFFFFF"/>
                      </a:gs>
                    </a:gsLst>
                    <a:lin ang="5400000" scaled="1"/>
                  </a:gradFill>
                  <a:effectLst/>
                  <a:uLnTx/>
                  <a:uFillTx/>
                  <a:latin typeface="Segoe UI"/>
                  <a:ea typeface="+mn-ea"/>
                  <a:cs typeface="Segoe UI Semilight" panose="020B0402040204020203" pitchFamily="34" charset="0"/>
                </a:rPr>
                <a:t>Users</a:t>
              </a:r>
            </a:p>
          </p:txBody>
        </p:sp>
        <p:sp>
          <p:nvSpPr>
            <p:cNvPr id="112" name="Freeform: Shape 111">
              <a:extLst>
                <a:ext uri="{FF2B5EF4-FFF2-40B4-BE49-F238E27FC236}">
                  <a16:creationId xmlns:a16="http://schemas.microsoft.com/office/drawing/2014/main" id="{B22A076D-7761-42C4-8E8B-37F151CD4203}"/>
                </a:ext>
              </a:extLst>
            </p:cNvPr>
            <p:cNvSpPr/>
            <p:nvPr/>
          </p:nvSpPr>
          <p:spPr>
            <a:xfrm>
              <a:off x="4310042" y="1450561"/>
              <a:ext cx="274722" cy="363201"/>
            </a:xfrm>
            <a:custGeom>
              <a:avLst/>
              <a:gdLst>
                <a:gd name="connsiteX0" fmla="*/ 603050 w 1460635"/>
                <a:gd name="connsiteY0" fmla="*/ 0 h 1931059"/>
                <a:gd name="connsiteX1" fmla="*/ 855015 w 1460635"/>
                <a:gd name="connsiteY1" fmla="*/ 0 h 1931059"/>
                <a:gd name="connsiteX2" fmla="*/ 1378827 w 1460635"/>
                <a:gd name="connsiteY2" fmla="*/ 523812 h 1931059"/>
                <a:gd name="connsiteX3" fmla="*/ 1378827 w 1460635"/>
                <a:gd name="connsiteY3" fmla="*/ 863539 h 1931059"/>
                <a:gd name="connsiteX4" fmla="*/ 1397780 w 1460635"/>
                <a:gd name="connsiteY4" fmla="*/ 861872 h 1931059"/>
                <a:gd name="connsiteX5" fmla="*/ 1259675 w 1460635"/>
                <a:gd name="connsiteY5" fmla="*/ 1421036 h 1931059"/>
                <a:gd name="connsiteX6" fmla="*/ 728741 w 1460635"/>
                <a:gd name="connsiteY6" fmla="*/ 1931059 h 1931059"/>
                <a:gd name="connsiteX7" fmla="*/ 183733 w 1460635"/>
                <a:gd name="connsiteY7" fmla="*/ 1428441 h 1931059"/>
                <a:gd name="connsiteX8" fmla="*/ 67243 w 1460635"/>
                <a:gd name="connsiteY8" fmla="*/ 857644 h 1931059"/>
                <a:gd name="connsiteX9" fmla="*/ 79238 w 1460635"/>
                <a:gd name="connsiteY9" fmla="*/ 857733 h 1931059"/>
                <a:gd name="connsiteX10" fmla="*/ 79238 w 1460635"/>
                <a:gd name="connsiteY10" fmla="*/ 523812 h 1931059"/>
                <a:gd name="connsiteX11" fmla="*/ 603050 w 1460635"/>
                <a:gd name="connsiteY11" fmla="*/ 0 h 193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0635" h="1931059">
                  <a:moveTo>
                    <a:pt x="603050" y="0"/>
                  </a:moveTo>
                  <a:lnTo>
                    <a:pt x="855015" y="0"/>
                  </a:lnTo>
                  <a:cubicBezTo>
                    <a:pt x="1144308" y="0"/>
                    <a:pt x="1378827" y="234519"/>
                    <a:pt x="1378827" y="523812"/>
                  </a:cubicBezTo>
                  <a:lnTo>
                    <a:pt x="1378827" y="863539"/>
                  </a:lnTo>
                  <a:lnTo>
                    <a:pt x="1397780" y="861872"/>
                  </a:lnTo>
                  <a:cubicBezTo>
                    <a:pt x="1546782" y="944307"/>
                    <a:pt x="1402403" y="1318211"/>
                    <a:pt x="1259675" y="1421036"/>
                  </a:cubicBezTo>
                  <a:cubicBezTo>
                    <a:pt x="1259675" y="1655147"/>
                    <a:pt x="962852" y="1931059"/>
                    <a:pt x="728741" y="1931059"/>
                  </a:cubicBezTo>
                  <a:cubicBezTo>
                    <a:pt x="494630" y="1931059"/>
                    <a:pt x="271566" y="1675099"/>
                    <a:pt x="183733" y="1428441"/>
                  </a:cubicBezTo>
                  <a:cubicBezTo>
                    <a:pt x="61776" y="1286797"/>
                    <a:pt x="-89982" y="928708"/>
                    <a:pt x="67243" y="857644"/>
                  </a:cubicBezTo>
                  <a:lnTo>
                    <a:pt x="79238" y="857733"/>
                  </a:lnTo>
                  <a:lnTo>
                    <a:pt x="79238" y="523812"/>
                  </a:lnTo>
                  <a:cubicBezTo>
                    <a:pt x="79238" y="234519"/>
                    <a:pt x="313757" y="0"/>
                    <a:pt x="603050" y="0"/>
                  </a:cubicBezTo>
                  <a:close/>
                </a:path>
              </a:pathLst>
            </a:custGeom>
            <a:solidFill>
              <a:schemeClr val="bg2"/>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a:ea typeface="+mn-ea"/>
                <a:cs typeface="+mn-cs"/>
              </a:endParaRPr>
            </a:p>
          </p:txBody>
        </p:sp>
        <p:sp>
          <p:nvSpPr>
            <p:cNvPr id="114" name="Freeform: Shape 113">
              <a:extLst>
                <a:ext uri="{FF2B5EF4-FFF2-40B4-BE49-F238E27FC236}">
                  <a16:creationId xmlns:a16="http://schemas.microsoft.com/office/drawing/2014/main" id="{9D6EEC06-AF6D-49C1-BF81-77E563DC1E83}"/>
                </a:ext>
              </a:extLst>
            </p:cNvPr>
            <p:cNvSpPr/>
            <p:nvPr/>
          </p:nvSpPr>
          <p:spPr>
            <a:xfrm rot="10800000" flipV="1">
              <a:off x="4418930" y="1843844"/>
              <a:ext cx="57634" cy="155812"/>
            </a:xfrm>
            <a:custGeom>
              <a:avLst/>
              <a:gdLst>
                <a:gd name="connsiteX0" fmla="*/ 261737 w 306427"/>
                <a:gd name="connsiteY0" fmla="*/ 299979 h 828419"/>
                <a:gd name="connsiteX1" fmla="*/ 39926 w 306427"/>
                <a:gd name="connsiteY1" fmla="*/ 299979 h 828419"/>
                <a:gd name="connsiteX2" fmla="*/ 1051 w 306427"/>
                <a:gd name="connsiteY2" fmla="*/ 554460 h 828419"/>
                <a:gd name="connsiteX3" fmla="*/ 0 w 306427"/>
                <a:gd name="connsiteY3" fmla="*/ 554456 h 828419"/>
                <a:gd name="connsiteX4" fmla="*/ 814 w 306427"/>
                <a:gd name="connsiteY4" fmla="*/ 556012 h 828419"/>
                <a:gd name="connsiteX5" fmla="*/ 0 w 306427"/>
                <a:gd name="connsiteY5" fmla="*/ 561340 h 828419"/>
                <a:gd name="connsiteX6" fmla="*/ 3594 w 306427"/>
                <a:gd name="connsiteY6" fmla="*/ 561326 h 828419"/>
                <a:gd name="connsiteX7" fmla="*/ 142319 w 306427"/>
                <a:gd name="connsiteY7" fmla="*/ 826533 h 828419"/>
                <a:gd name="connsiteX8" fmla="*/ 178394 w 306427"/>
                <a:gd name="connsiteY8" fmla="*/ 815817 h 828419"/>
                <a:gd name="connsiteX9" fmla="*/ 304208 w 306427"/>
                <a:gd name="connsiteY9" fmla="*/ 560158 h 828419"/>
                <a:gd name="connsiteX10" fmla="*/ 306427 w 306427"/>
                <a:gd name="connsiteY10" fmla="*/ 560149 h 828419"/>
                <a:gd name="connsiteX11" fmla="*/ 305854 w 306427"/>
                <a:gd name="connsiteY11" fmla="*/ 556812 h 828419"/>
                <a:gd name="connsiteX12" fmla="*/ 306427 w 306427"/>
                <a:gd name="connsiteY12" fmla="*/ 555647 h 828419"/>
                <a:gd name="connsiteX13" fmla="*/ 305653 w 306427"/>
                <a:gd name="connsiteY13" fmla="*/ 555644 h 828419"/>
                <a:gd name="connsiteX14" fmla="*/ 0 w 306427"/>
                <a:gd name="connsiteY14" fmla="*/ 0 h 828419"/>
                <a:gd name="connsiteX15" fmla="*/ 39926 w 306427"/>
                <a:gd name="connsiteY15" fmla="*/ 261361 h 828419"/>
                <a:gd name="connsiteX16" fmla="*/ 261737 w 306427"/>
                <a:gd name="connsiteY16" fmla="*/ 261361 h 828419"/>
                <a:gd name="connsiteX17" fmla="*/ 306427 w 306427"/>
                <a:gd name="connsiteY17" fmla="*/ 1191 h 82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6427" h="828419">
                  <a:moveTo>
                    <a:pt x="261737" y="299979"/>
                  </a:moveTo>
                  <a:lnTo>
                    <a:pt x="39926" y="299979"/>
                  </a:lnTo>
                  <a:lnTo>
                    <a:pt x="1051" y="554460"/>
                  </a:lnTo>
                  <a:lnTo>
                    <a:pt x="0" y="554456"/>
                  </a:lnTo>
                  <a:lnTo>
                    <a:pt x="814" y="556012"/>
                  </a:lnTo>
                  <a:lnTo>
                    <a:pt x="0" y="561340"/>
                  </a:lnTo>
                  <a:lnTo>
                    <a:pt x="3594" y="561326"/>
                  </a:lnTo>
                  <a:lnTo>
                    <a:pt x="142319" y="826533"/>
                  </a:lnTo>
                  <a:cubicBezTo>
                    <a:pt x="154344" y="822961"/>
                    <a:pt x="165179" y="838439"/>
                    <a:pt x="178394" y="815817"/>
                  </a:cubicBezTo>
                  <a:lnTo>
                    <a:pt x="304208" y="560158"/>
                  </a:lnTo>
                  <a:lnTo>
                    <a:pt x="306427" y="560149"/>
                  </a:lnTo>
                  <a:lnTo>
                    <a:pt x="305854" y="556812"/>
                  </a:lnTo>
                  <a:lnTo>
                    <a:pt x="306427" y="555647"/>
                  </a:lnTo>
                  <a:lnTo>
                    <a:pt x="305653" y="555644"/>
                  </a:lnTo>
                  <a:close/>
                  <a:moveTo>
                    <a:pt x="0" y="0"/>
                  </a:moveTo>
                  <a:lnTo>
                    <a:pt x="39926" y="261361"/>
                  </a:lnTo>
                  <a:lnTo>
                    <a:pt x="261737" y="261361"/>
                  </a:lnTo>
                  <a:lnTo>
                    <a:pt x="306427" y="1191"/>
                  </a:ln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a:ea typeface="+mn-ea"/>
                <a:cs typeface="+mn-cs"/>
              </a:endParaRPr>
            </a:p>
          </p:txBody>
        </p:sp>
        <p:sp>
          <p:nvSpPr>
            <p:cNvPr id="115" name="Freeform: Shape 114">
              <a:extLst>
                <a:ext uri="{FF2B5EF4-FFF2-40B4-BE49-F238E27FC236}">
                  <a16:creationId xmlns:a16="http://schemas.microsoft.com/office/drawing/2014/main" id="{9BE5F18C-9F36-426B-9CCC-7FF276F28ECE}"/>
                </a:ext>
              </a:extLst>
            </p:cNvPr>
            <p:cNvSpPr/>
            <p:nvPr/>
          </p:nvSpPr>
          <p:spPr>
            <a:xfrm flipH="1">
              <a:off x="4155380" y="1798447"/>
              <a:ext cx="588605" cy="259701"/>
            </a:xfrm>
            <a:custGeom>
              <a:avLst/>
              <a:gdLst>
                <a:gd name="connsiteX0" fmla="*/ 2098502 w 3129479"/>
                <a:gd name="connsiteY0" fmla="*/ 0 h 1380774"/>
                <a:gd name="connsiteX1" fmla="*/ 2094768 w 3129479"/>
                <a:gd name="connsiteY1" fmla="*/ 17935 h 1380774"/>
                <a:gd name="connsiteX2" fmla="*/ 2086486 w 3129479"/>
                <a:gd name="connsiteY2" fmla="*/ 14142 h 1380774"/>
                <a:gd name="connsiteX3" fmla="*/ 2017232 w 3129479"/>
                <a:gd name="connsiteY3" fmla="*/ 346185 h 1380774"/>
                <a:gd name="connsiteX4" fmla="*/ 2015458 w 3129479"/>
                <a:gd name="connsiteY4" fmla="*/ 352987 h 1380774"/>
                <a:gd name="connsiteX5" fmla="*/ 2013217 w 3129479"/>
                <a:gd name="connsiteY5" fmla="*/ 360528 h 1380774"/>
                <a:gd name="connsiteX6" fmla="*/ 1956254 w 3129479"/>
                <a:gd name="connsiteY6" fmla="*/ 542588 h 1380774"/>
                <a:gd name="connsiteX7" fmla="*/ 1813603 w 3129479"/>
                <a:gd name="connsiteY7" fmla="*/ 890686 h 1380774"/>
                <a:gd name="connsiteX8" fmla="*/ 1812171 w 3129479"/>
                <a:gd name="connsiteY8" fmla="*/ 893379 h 1380774"/>
                <a:gd name="connsiteX9" fmla="*/ 1784654 w 3129479"/>
                <a:gd name="connsiteY9" fmla="*/ 942829 h 1380774"/>
                <a:gd name="connsiteX10" fmla="*/ 1687889 w 3129479"/>
                <a:gd name="connsiteY10" fmla="*/ 1077896 h 1380774"/>
                <a:gd name="connsiteX11" fmla="*/ 1579855 w 3129479"/>
                <a:gd name="connsiteY11" fmla="*/ 1196431 h 1380774"/>
                <a:gd name="connsiteX12" fmla="*/ 1564740 w 3129479"/>
                <a:gd name="connsiteY12" fmla="*/ 1205831 h 1380774"/>
                <a:gd name="connsiteX13" fmla="*/ 1549625 w 3129479"/>
                <a:gd name="connsiteY13" fmla="*/ 1196431 h 1380774"/>
                <a:gd name="connsiteX14" fmla="*/ 1441592 w 3129479"/>
                <a:gd name="connsiteY14" fmla="*/ 1077896 h 1380774"/>
                <a:gd name="connsiteX15" fmla="*/ 1344826 w 3129479"/>
                <a:gd name="connsiteY15" fmla="*/ 942829 h 1380774"/>
                <a:gd name="connsiteX16" fmla="*/ 1317310 w 3129479"/>
                <a:gd name="connsiteY16" fmla="*/ 893379 h 1380774"/>
                <a:gd name="connsiteX17" fmla="*/ 1315878 w 3129479"/>
                <a:gd name="connsiteY17" fmla="*/ 890686 h 1380774"/>
                <a:gd name="connsiteX18" fmla="*/ 1173226 w 3129479"/>
                <a:gd name="connsiteY18" fmla="*/ 542588 h 1380774"/>
                <a:gd name="connsiteX19" fmla="*/ 1116264 w 3129479"/>
                <a:gd name="connsiteY19" fmla="*/ 360528 h 1380774"/>
                <a:gd name="connsiteX20" fmla="*/ 1114022 w 3129479"/>
                <a:gd name="connsiteY20" fmla="*/ 352987 h 1380774"/>
                <a:gd name="connsiteX21" fmla="*/ 1112248 w 3129479"/>
                <a:gd name="connsiteY21" fmla="*/ 346185 h 1380774"/>
                <a:gd name="connsiteX22" fmla="*/ 1042994 w 3129479"/>
                <a:gd name="connsiteY22" fmla="*/ 14142 h 1380774"/>
                <a:gd name="connsiteX23" fmla="*/ 1034713 w 3129479"/>
                <a:gd name="connsiteY23" fmla="*/ 17935 h 1380774"/>
                <a:gd name="connsiteX24" fmla="*/ 1030978 w 3129479"/>
                <a:gd name="connsiteY24" fmla="*/ 0 h 1380774"/>
                <a:gd name="connsiteX25" fmla="*/ 79 w 3129479"/>
                <a:gd name="connsiteY25" fmla="*/ 1071910 h 1380774"/>
                <a:gd name="connsiteX26" fmla="*/ 694014 w 3129479"/>
                <a:gd name="connsiteY26" fmla="*/ 1347084 h 1380774"/>
                <a:gd name="connsiteX27" fmla="*/ 802045 w 3129479"/>
                <a:gd name="connsiteY27" fmla="*/ 1355098 h 1380774"/>
                <a:gd name="connsiteX28" fmla="*/ 800563 w 3129479"/>
                <a:gd name="connsiteY28" fmla="*/ 1356893 h 1380774"/>
                <a:gd name="connsiteX29" fmla="*/ 880988 w 3129479"/>
                <a:gd name="connsiteY29" fmla="*/ 1360953 h 1380774"/>
                <a:gd name="connsiteX30" fmla="*/ 1012529 w 3129479"/>
                <a:gd name="connsiteY30" fmla="*/ 1370710 h 1380774"/>
                <a:gd name="connsiteX31" fmla="*/ 1360135 w 3129479"/>
                <a:gd name="connsiteY31" fmla="*/ 1380774 h 1380774"/>
                <a:gd name="connsiteX32" fmla="*/ 1564740 w 3129479"/>
                <a:gd name="connsiteY32" fmla="*/ 1380069 h 1380774"/>
                <a:gd name="connsiteX33" fmla="*/ 1769346 w 3129479"/>
                <a:gd name="connsiteY33" fmla="*/ 1380774 h 1380774"/>
                <a:gd name="connsiteX34" fmla="*/ 2116952 w 3129479"/>
                <a:gd name="connsiteY34" fmla="*/ 1370710 h 1380774"/>
                <a:gd name="connsiteX35" fmla="*/ 2248493 w 3129479"/>
                <a:gd name="connsiteY35" fmla="*/ 1360953 h 1380774"/>
                <a:gd name="connsiteX36" fmla="*/ 2328917 w 3129479"/>
                <a:gd name="connsiteY36" fmla="*/ 1356893 h 1380774"/>
                <a:gd name="connsiteX37" fmla="*/ 2327436 w 3129479"/>
                <a:gd name="connsiteY37" fmla="*/ 1355098 h 1380774"/>
                <a:gd name="connsiteX38" fmla="*/ 2435466 w 3129479"/>
                <a:gd name="connsiteY38" fmla="*/ 1347084 h 1380774"/>
                <a:gd name="connsiteX39" fmla="*/ 3129401 w 3129479"/>
                <a:gd name="connsiteY39" fmla="*/ 1071910 h 1380774"/>
                <a:gd name="connsiteX40" fmla="*/ 2098502 w 3129479"/>
                <a:gd name="connsiteY40" fmla="*/ 0 h 138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129479" h="1380774">
                  <a:moveTo>
                    <a:pt x="2098502" y="0"/>
                  </a:moveTo>
                  <a:lnTo>
                    <a:pt x="2094768" y="17935"/>
                  </a:lnTo>
                  <a:lnTo>
                    <a:pt x="2086486" y="14142"/>
                  </a:lnTo>
                  <a:lnTo>
                    <a:pt x="2017232" y="346185"/>
                  </a:lnTo>
                  <a:lnTo>
                    <a:pt x="2015458" y="352987"/>
                  </a:lnTo>
                  <a:lnTo>
                    <a:pt x="2013217" y="360528"/>
                  </a:lnTo>
                  <a:lnTo>
                    <a:pt x="1956254" y="542588"/>
                  </a:lnTo>
                  <a:cubicBezTo>
                    <a:pt x="1913991" y="666570"/>
                    <a:pt x="1865714" y="786691"/>
                    <a:pt x="1813603" y="890686"/>
                  </a:cubicBezTo>
                  <a:lnTo>
                    <a:pt x="1812171" y="893379"/>
                  </a:lnTo>
                  <a:lnTo>
                    <a:pt x="1784654" y="942829"/>
                  </a:lnTo>
                  <a:cubicBezTo>
                    <a:pt x="1755728" y="988653"/>
                    <a:pt x="1723659" y="1033652"/>
                    <a:pt x="1687889" y="1077896"/>
                  </a:cubicBezTo>
                  <a:lnTo>
                    <a:pt x="1579855" y="1196431"/>
                  </a:lnTo>
                  <a:lnTo>
                    <a:pt x="1564740" y="1205831"/>
                  </a:lnTo>
                  <a:lnTo>
                    <a:pt x="1549625" y="1196431"/>
                  </a:lnTo>
                  <a:lnTo>
                    <a:pt x="1441592" y="1077896"/>
                  </a:lnTo>
                  <a:cubicBezTo>
                    <a:pt x="1405822" y="1033652"/>
                    <a:pt x="1373753" y="988653"/>
                    <a:pt x="1344826" y="942829"/>
                  </a:cubicBezTo>
                  <a:lnTo>
                    <a:pt x="1317310" y="893379"/>
                  </a:lnTo>
                  <a:lnTo>
                    <a:pt x="1315878" y="890686"/>
                  </a:lnTo>
                  <a:cubicBezTo>
                    <a:pt x="1263766" y="786691"/>
                    <a:pt x="1215490" y="666570"/>
                    <a:pt x="1173226" y="542588"/>
                  </a:cubicBezTo>
                  <a:lnTo>
                    <a:pt x="1116264" y="360528"/>
                  </a:lnTo>
                  <a:lnTo>
                    <a:pt x="1114022" y="352987"/>
                  </a:lnTo>
                  <a:lnTo>
                    <a:pt x="1112248" y="346185"/>
                  </a:lnTo>
                  <a:lnTo>
                    <a:pt x="1042994" y="14142"/>
                  </a:lnTo>
                  <a:lnTo>
                    <a:pt x="1034713" y="17935"/>
                  </a:lnTo>
                  <a:lnTo>
                    <a:pt x="1030978" y="0"/>
                  </a:lnTo>
                  <a:cubicBezTo>
                    <a:pt x="847440" y="154959"/>
                    <a:pt x="-9446" y="230053"/>
                    <a:pt x="79" y="1071910"/>
                  </a:cubicBezTo>
                  <a:cubicBezTo>
                    <a:pt x="12421" y="1221822"/>
                    <a:pt x="295148" y="1305540"/>
                    <a:pt x="694014" y="1347084"/>
                  </a:cubicBezTo>
                  <a:lnTo>
                    <a:pt x="802045" y="1355098"/>
                  </a:lnTo>
                  <a:lnTo>
                    <a:pt x="800563" y="1356893"/>
                  </a:lnTo>
                  <a:lnTo>
                    <a:pt x="880988" y="1360953"/>
                  </a:lnTo>
                  <a:lnTo>
                    <a:pt x="1012529" y="1370710"/>
                  </a:lnTo>
                  <a:cubicBezTo>
                    <a:pt x="1124352" y="1376200"/>
                    <a:pt x="1241024" y="1379429"/>
                    <a:pt x="1360135" y="1380774"/>
                  </a:cubicBezTo>
                  <a:lnTo>
                    <a:pt x="1564740" y="1380069"/>
                  </a:lnTo>
                  <a:lnTo>
                    <a:pt x="1769346" y="1380774"/>
                  </a:lnTo>
                  <a:cubicBezTo>
                    <a:pt x="1888456" y="1379429"/>
                    <a:pt x="2005128" y="1376200"/>
                    <a:pt x="2116952" y="1370710"/>
                  </a:cubicBezTo>
                  <a:lnTo>
                    <a:pt x="2248493" y="1360953"/>
                  </a:lnTo>
                  <a:lnTo>
                    <a:pt x="2328917" y="1356893"/>
                  </a:lnTo>
                  <a:lnTo>
                    <a:pt x="2327436" y="1355098"/>
                  </a:lnTo>
                  <a:lnTo>
                    <a:pt x="2435466" y="1347084"/>
                  </a:lnTo>
                  <a:cubicBezTo>
                    <a:pt x="2834332" y="1305540"/>
                    <a:pt x="3117060" y="1221822"/>
                    <a:pt x="3129401" y="1071910"/>
                  </a:cubicBezTo>
                  <a:cubicBezTo>
                    <a:pt x="3138926" y="230053"/>
                    <a:pt x="2282040" y="154959"/>
                    <a:pt x="2098502" y="0"/>
                  </a:cubicBezTo>
                  <a:close/>
                </a:path>
              </a:pathLst>
            </a:custGeom>
            <a:solidFill>
              <a:schemeClr val="bg2"/>
            </a:solidFill>
            <a:ln w="12700" cap="flat" cmpd="sng" algn="ctr">
              <a:noFill/>
              <a:prstDash val="solid"/>
              <a:miter lim="800000"/>
            </a:ln>
            <a:effectLst/>
          </p:spPr>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a:ea typeface="+mn-ea"/>
                <a:cs typeface="+mn-cs"/>
              </a:endParaRPr>
            </a:p>
          </p:txBody>
        </p:sp>
      </p:grpSp>
      <p:grpSp>
        <p:nvGrpSpPr>
          <p:cNvPr id="8" name="Group 7">
            <a:extLst>
              <a:ext uri="{FF2B5EF4-FFF2-40B4-BE49-F238E27FC236}">
                <a16:creationId xmlns:a16="http://schemas.microsoft.com/office/drawing/2014/main" id="{207F21E9-AB4A-470B-97EA-3A6AD8311F69}"/>
              </a:ext>
            </a:extLst>
          </p:cNvPr>
          <p:cNvGrpSpPr/>
          <p:nvPr/>
        </p:nvGrpSpPr>
        <p:grpSpPr>
          <a:xfrm>
            <a:off x="4155380" y="5380783"/>
            <a:ext cx="3548419" cy="491520"/>
            <a:chOff x="4155380" y="4849673"/>
            <a:chExt cx="3548419" cy="491520"/>
          </a:xfrm>
        </p:grpSpPr>
        <p:pic>
          <p:nvPicPr>
            <p:cNvPr id="22" name="Picture 2">
              <a:extLst>
                <a:ext uri="{FF2B5EF4-FFF2-40B4-BE49-F238E27FC236}">
                  <a16:creationId xmlns:a16="http://schemas.microsoft.com/office/drawing/2014/main" id="{631273D8-400F-45CE-B6ED-744C1DDEBBD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4155380" y="4849673"/>
              <a:ext cx="1117538" cy="491520"/>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23" name="Group 22">
              <a:extLst>
                <a:ext uri="{FF2B5EF4-FFF2-40B4-BE49-F238E27FC236}">
                  <a16:creationId xmlns:a16="http://schemas.microsoft.com/office/drawing/2014/main" id="{D6EFC026-99CB-4DBA-9D74-BF521CF83D77}"/>
                </a:ext>
              </a:extLst>
            </p:cNvPr>
            <p:cNvGrpSpPr/>
            <p:nvPr/>
          </p:nvGrpSpPr>
          <p:grpSpPr>
            <a:xfrm>
              <a:off x="5918636" y="4923071"/>
              <a:ext cx="1089749" cy="337651"/>
              <a:chOff x="4917241" y="4543143"/>
              <a:chExt cx="956564" cy="296385"/>
            </a:xfrm>
          </p:grpSpPr>
          <p:pic>
            <p:nvPicPr>
              <p:cNvPr id="27" name="Graphic 26">
                <a:extLst>
                  <a:ext uri="{FF2B5EF4-FFF2-40B4-BE49-F238E27FC236}">
                    <a16:creationId xmlns:a16="http://schemas.microsoft.com/office/drawing/2014/main" id="{9A1D3FE5-31EF-448C-9419-B6D16E066AE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347799" y="4595413"/>
                <a:ext cx="191844" cy="191844"/>
              </a:xfrm>
              <a:prstGeom prst="rect">
                <a:avLst/>
              </a:prstGeom>
            </p:spPr>
          </p:pic>
          <p:pic>
            <p:nvPicPr>
              <p:cNvPr id="21" name="Graphic 20">
                <a:extLst>
                  <a:ext uri="{FF2B5EF4-FFF2-40B4-BE49-F238E27FC236}">
                    <a16:creationId xmlns:a16="http://schemas.microsoft.com/office/drawing/2014/main" id="{F80968A5-492D-4CA0-B88D-CECB6514F9D3}"/>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673808" y="4591337"/>
                <a:ext cx="199997" cy="199997"/>
              </a:xfrm>
              <a:prstGeom prst="rect">
                <a:avLst/>
              </a:prstGeom>
            </p:spPr>
          </p:pic>
          <p:grpSp>
            <p:nvGrpSpPr>
              <p:cNvPr id="19" name="Group 18">
                <a:extLst>
                  <a:ext uri="{FF2B5EF4-FFF2-40B4-BE49-F238E27FC236}">
                    <a16:creationId xmlns:a16="http://schemas.microsoft.com/office/drawing/2014/main" id="{B0A54A9A-68DD-4EA5-A2FF-9E757438AD86}"/>
                  </a:ext>
                </a:extLst>
              </p:cNvPr>
              <p:cNvGrpSpPr/>
              <p:nvPr/>
            </p:nvGrpSpPr>
            <p:grpSpPr>
              <a:xfrm>
                <a:off x="4917241" y="4543143"/>
                <a:ext cx="296384" cy="296385"/>
                <a:chOff x="3784827" y="4214946"/>
                <a:chExt cx="457550" cy="457550"/>
              </a:xfrm>
            </p:grpSpPr>
            <p:sp>
              <p:nvSpPr>
                <p:cNvPr id="15" name="Rectangle 14">
                  <a:extLst>
                    <a:ext uri="{FF2B5EF4-FFF2-40B4-BE49-F238E27FC236}">
                      <a16:creationId xmlns:a16="http://schemas.microsoft.com/office/drawing/2014/main" id="{4A2E0F03-2974-4821-BBA5-112965A25363}"/>
                    </a:ext>
                  </a:extLst>
                </p:cNvPr>
                <p:cNvSpPr/>
                <p:nvPr/>
              </p:nvSpPr>
              <p:spPr bwMode="auto">
                <a:xfrm>
                  <a:off x="3893349" y="4320027"/>
                  <a:ext cx="240506" cy="24765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Graphic 17" descr="Azure Storage">
                  <a:extLst>
                    <a:ext uri="{FF2B5EF4-FFF2-40B4-BE49-F238E27FC236}">
                      <a16:creationId xmlns:a16="http://schemas.microsoft.com/office/drawing/2014/main" id="{716C6A9C-29CB-433D-BD11-4A9EBCDEF83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784827" y="4214946"/>
                  <a:ext cx="457550" cy="457550"/>
                </a:xfrm>
                <a:prstGeom prst="rect">
                  <a:avLst/>
                </a:prstGeom>
              </p:spPr>
            </p:pic>
          </p:grpSp>
        </p:grpSp>
        <p:pic>
          <p:nvPicPr>
            <p:cNvPr id="82954" name="Picture 10" descr="See the source image">
              <a:extLst>
                <a:ext uri="{FF2B5EF4-FFF2-40B4-BE49-F238E27FC236}">
                  <a16:creationId xmlns:a16="http://schemas.microsoft.com/office/drawing/2014/main" id="{6B8AA946-EDC2-4564-A4E0-050A0D9EB7B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356032" y="5005244"/>
              <a:ext cx="399232" cy="195945"/>
            </a:xfrm>
            <a:prstGeom prst="rect">
              <a:avLst/>
            </a:prstGeom>
            <a:noFill/>
            <a:extLst>
              <a:ext uri="{909E8E84-426E-40DD-AFC4-6F175D3DCCD1}">
                <a14:hiddenFill xmlns:a14="http://schemas.microsoft.com/office/drawing/2010/main">
                  <a:solidFill>
                    <a:srgbClr val="FFFFFF"/>
                  </a:solidFill>
                </a14:hiddenFill>
              </a:ext>
            </a:extLst>
          </p:spPr>
        </p:pic>
        <p:pic>
          <p:nvPicPr>
            <p:cNvPr id="3" name="Databricks" descr=" Databricks">
              <a:extLst>
                <a:ext uri="{FF2B5EF4-FFF2-40B4-BE49-F238E27FC236}">
                  <a16:creationId xmlns:a16="http://schemas.microsoft.com/office/drawing/2014/main" id="{02FE1673-5B85-489D-B2F4-965D519916A6}"/>
                </a:ext>
              </a:extLst>
            </p:cNvPr>
            <p:cNvPicPr>
              <a:picLocks noChangeAspect="1"/>
            </p:cNvPicPr>
            <p:nvPr/>
          </p:nvPicPr>
          <p:blipFill>
            <a:blip r:embed="rId15"/>
            <a:stretch>
              <a:fillRect/>
            </a:stretch>
          </p:blipFill>
          <p:spPr>
            <a:xfrm>
              <a:off x="7508536" y="4998005"/>
              <a:ext cx="195263" cy="187782"/>
            </a:xfrm>
            <a:prstGeom prst="rect">
              <a:avLst/>
            </a:prstGeom>
          </p:spPr>
        </p:pic>
        <p:pic>
          <p:nvPicPr>
            <p:cNvPr id="4" name="Graphic 3">
              <a:extLst>
                <a:ext uri="{FF2B5EF4-FFF2-40B4-BE49-F238E27FC236}">
                  <a16:creationId xmlns:a16="http://schemas.microsoft.com/office/drawing/2014/main" id="{D269D0F2-64AB-4725-8771-80F229D3F349}"/>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7146414" y="4977975"/>
              <a:ext cx="218555" cy="209371"/>
            </a:xfrm>
            <a:prstGeom prst="rect">
              <a:avLst/>
            </a:prstGeom>
          </p:spPr>
        </p:pic>
      </p:grpSp>
    </p:spTree>
    <p:extLst>
      <p:ext uri="{BB962C8B-B14F-4D97-AF65-F5344CB8AC3E}">
        <p14:creationId xmlns:p14="http://schemas.microsoft.com/office/powerpoint/2010/main" val="161390335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able 38">
            <a:extLst>
              <a:ext uri="{FF2B5EF4-FFF2-40B4-BE49-F238E27FC236}">
                <a16:creationId xmlns:a16="http://schemas.microsoft.com/office/drawing/2014/main" id="{CD1B6C4A-8A62-450B-98E4-13A1FA17B84B}"/>
              </a:ext>
            </a:extLst>
          </p:cNvPr>
          <p:cNvGraphicFramePr>
            <a:graphicFrameLocks noGrp="1"/>
          </p:cNvGraphicFramePr>
          <p:nvPr/>
        </p:nvGraphicFramePr>
        <p:xfrm>
          <a:off x="1400418" y="2632788"/>
          <a:ext cx="2010608" cy="2995981"/>
        </p:xfrm>
        <a:graphic>
          <a:graphicData uri="http://schemas.openxmlformats.org/drawingml/2006/table">
            <a:tbl>
              <a:tblPr>
                <a:tableStyleId>{5C22544A-7EE6-4342-B048-85BDC9FD1C3A}</a:tableStyleId>
              </a:tblPr>
              <a:tblGrid>
                <a:gridCol w="2010608">
                  <a:extLst>
                    <a:ext uri="{9D8B030D-6E8A-4147-A177-3AD203B41FA5}">
                      <a16:colId xmlns:a16="http://schemas.microsoft.com/office/drawing/2014/main" val="1415186503"/>
                    </a:ext>
                  </a:extLst>
                </a:gridCol>
              </a:tblGrid>
              <a:tr h="372539">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0" normalizeH="0" baseline="0" noProof="0">
                          <a:ln w="3175">
                            <a:noFill/>
                          </a:ln>
                          <a:solidFill>
                            <a:schemeClr val="accent1"/>
                          </a:solidFill>
                          <a:effectLst/>
                          <a:uLnTx/>
                          <a:uFillTx/>
                          <a:ea typeface="+mn-ea"/>
                          <a:cs typeface="Segoe UI Semilight" panose="020B0402040204020203" pitchFamily="34" charset="0"/>
                        </a:rPr>
                        <a:t>TRANSL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22889549"/>
                  </a:ext>
                </a:extLst>
              </a:tr>
              <a:tr h="365760">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110" normalizeH="0" baseline="0" noProof="0">
                        <a:ln w="3175">
                          <a:noFill/>
                        </a:ln>
                        <a:solidFill>
                          <a:schemeClr val="accent1"/>
                        </a:solidFill>
                        <a:effectLst/>
                        <a:uLnTx/>
                        <a:uFillTx/>
                        <a:ea typeface="+mn-ea"/>
                        <a:cs typeface="Segoe UI Semilight" panose="020B0402040204020203"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0416476"/>
                  </a:ext>
                </a:extLst>
              </a:tr>
              <a:tr h="372539">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0" normalizeH="0" baseline="0" noProof="0">
                          <a:ln w="3175">
                            <a:noFill/>
                          </a:ln>
                          <a:solidFill>
                            <a:schemeClr val="accent1"/>
                          </a:solidFill>
                          <a:effectLst/>
                          <a:uLnTx/>
                          <a:uFillTx/>
                          <a:latin typeface="+mn-lt"/>
                          <a:ea typeface="+mn-ea"/>
                          <a:cs typeface="Segoe UI Semilight" panose="020B0402040204020203" pitchFamily="34" charset="0"/>
                        </a:rPr>
                        <a:t>CONVERSATION</a:t>
                      </a:r>
                      <a:endParaRPr kumimoji="0" lang="en-US" sz="1000" b="0" i="0" u="none" strike="noStrike" kern="1200" cap="none" spc="200" normalizeH="0" baseline="0">
                        <a:ln w="3175">
                          <a:noFill/>
                        </a:ln>
                        <a:solidFill>
                          <a:schemeClr val="accent1"/>
                        </a:solidFill>
                        <a:effectLst/>
                        <a:uLnTx/>
                        <a:uFillTx/>
                        <a:latin typeface="+mn-lt"/>
                        <a:ea typeface="+mn-ea"/>
                        <a:cs typeface="Segoe UI Semilight" panose="020B0402040204020203"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6906020"/>
                  </a:ext>
                </a:extLst>
              </a:tr>
              <a:tr h="394987">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200" normalizeH="0" baseline="0">
                        <a:ln w="3175">
                          <a:noFill/>
                        </a:ln>
                        <a:solidFill>
                          <a:srgbClr val="FF0000"/>
                        </a:solidFill>
                        <a:effectLst/>
                        <a:uLnTx/>
                        <a:uFillTx/>
                        <a:latin typeface="+mn-lt"/>
                        <a:ea typeface="+mn-ea"/>
                        <a:cs typeface="Segoe UI Semilight" panose="020B0402040204020203"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65382713"/>
                  </a:ext>
                </a:extLst>
              </a:tr>
              <a:tr h="372539">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0" normalizeH="0" baseline="0" noProof="0">
                          <a:ln w="3175">
                            <a:noFill/>
                          </a:ln>
                          <a:solidFill>
                            <a:schemeClr val="accent1"/>
                          </a:solidFill>
                          <a:effectLst/>
                          <a:uLnTx/>
                          <a:uFillTx/>
                          <a:latin typeface="+mn-lt"/>
                          <a:ea typeface="+mn-ea"/>
                          <a:cs typeface="Segoe UI Semilight" panose="020B0402040204020203" pitchFamily="34" charset="0"/>
                        </a:rPr>
                        <a:t>VOIC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77022711"/>
                  </a:ext>
                </a:extLst>
              </a:tr>
              <a:tr h="372539">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200" normalizeH="0" baseline="0">
                        <a:ln w="3175">
                          <a:noFill/>
                        </a:ln>
                        <a:solidFill>
                          <a:schemeClr val="accent1"/>
                        </a:solidFill>
                        <a:effectLst/>
                        <a:uLnTx/>
                        <a:uFillTx/>
                        <a:latin typeface="+mn-lt"/>
                        <a:ea typeface="+mn-ea"/>
                        <a:cs typeface="Segoe UI Semilight" panose="020B0402040204020203"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14433240"/>
                  </a:ext>
                </a:extLst>
              </a:tr>
              <a:tr h="372539">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0" normalizeH="0" baseline="0">
                          <a:ln w="3175">
                            <a:noFill/>
                          </a:ln>
                          <a:solidFill>
                            <a:schemeClr val="accent1"/>
                          </a:solidFill>
                          <a:effectLst/>
                          <a:uLnTx/>
                          <a:uFillTx/>
                          <a:latin typeface="+mn-lt"/>
                          <a:ea typeface="+mn-ea"/>
                          <a:cs typeface="Segoe UI Semilight" panose="020B0402040204020203" pitchFamily="34" charset="0"/>
                        </a:rPr>
                        <a:t>BIOMETRIC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78095938"/>
                  </a:ext>
                </a:extLst>
              </a:tr>
              <a:tr h="372539">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200" normalizeH="0" baseline="0">
                        <a:ln w="3175">
                          <a:noFill/>
                        </a:ln>
                        <a:solidFill>
                          <a:srgbClr val="FF0000"/>
                        </a:solidFill>
                        <a:effectLst/>
                        <a:uLnTx/>
                        <a:uFillTx/>
                        <a:latin typeface="+mn-lt"/>
                        <a:ea typeface="+mn-ea"/>
                        <a:cs typeface="Segoe UI Semilight" panose="020B0402040204020203"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94926399"/>
                  </a:ext>
                </a:extLst>
              </a:tr>
            </a:tbl>
          </a:graphicData>
        </a:graphic>
      </p:graphicFrame>
      <p:graphicFrame>
        <p:nvGraphicFramePr>
          <p:cNvPr id="38" name="Table 38">
            <a:extLst>
              <a:ext uri="{FF2B5EF4-FFF2-40B4-BE49-F238E27FC236}">
                <a16:creationId xmlns:a16="http://schemas.microsoft.com/office/drawing/2014/main" id="{E3FBB33B-00C7-4C59-87C9-9852281C0F10}"/>
              </a:ext>
            </a:extLst>
          </p:cNvPr>
          <p:cNvGraphicFramePr>
            <a:graphicFrameLocks noGrp="1"/>
          </p:cNvGraphicFramePr>
          <p:nvPr/>
        </p:nvGraphicFramePr>
        <p:xfrm>
          <a:off x="8709590" y="1716718"/>
          <a:ext cx="2424304" cy="4097929"/>
        </p:xfrm>
        <a:graphic>
          <a:graphicData uri="http://schemas.openxmlformats.org/drawingml/2006/table">
            <a:tbl>
              <a:tblPr>
                <a:tableStyleId>{5C22544A-7EE6-4342-B048-85BDC9FD1C3A}</a:tableStyleId>
              </a:tblPr>
              <a:tblGrid>
                <a:gridCol w="2424304">
                  <a:extLst>
                    <a:ext uri="{9D8B030D-6E8A-4147-A177-3AD203B41FA5}">
                      <a16:colId xmlns:a16="http://schemas.microsoft.com/office/drawing/2014/main" val="1415186503"/>
                    </a:ext>
                  </a:extLst>
                </a:gridCol>
              </a:tblGrid>
              <a:tr h="372539">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0" normalizeH="0" baseline="0" noProof="0">
                          <a:ln w="3175">
                            <a:noFill/>
                          </a:ln>
                          <a:solidFill>
                            <a:schemeClr val="accent1"/>
                          </a:solidFill>
                          <a:effectLst/>
                          <a:uLnTx/>
                          <a:uFillTx/>
                          <a:ea typeface="+mn-ea"/>
                          <a:cs typeface="Segoe UI Semilight" panose="020B0402040204020203" pitchFamily="34" charset="0"/>
                        </a:rPr>
                        <a:t>SEAR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22889549"/>
                  </a:ext>
                </a:extLst>
              </a:tr>
              <a:tr h="372539">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110" normalizeH="0" baseline="0" noProof="0">
                        <a:ln w="3175">
                          <a:noFill/>
                        </a:ln>
                        <a:solidFill>
                          <a:schemeClr val="accent1"/>
                        </a:solidFill>
                        <a:effectLst/>
                        <a:uLnTx/>
                        <a:uFillTx/>
                        <a:ea typeface="+mn-ea"/>
                        <a:cs typeface="Segoe UI Semilight" panose="020B0402040204020203"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0416476"/>
                  </a:ext>
                </a:extLst>
              </a:tr>
              <a:tr h="372539">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0" normalizeH="0" baseline="0" noProof="0">
                          <a:ln w="3175">
                            <a:noFill/>
                          </a:ln>
                          <a:solidFill>
                            <a:schemeClr val="accent1"/>
                          </a:solidFill>
                          <a:effectLst/>
                          <a:uLnTx/>
                          <a:uFillTx/>
                          <a:latin typeface="+mn-lt"/>
                          <a:ea typeface="+mn-ea"/>
                          <a:cs typeface="Segoe UI Semilight" panose="020B0402040204020203" pitchFamily="34" charset="0"/>
                        </a:rPr>
                        <a:t>PERSONALIZATION</a:t>
                      </a:r>
                      <a:endParaRPr kumimoji="0" lang="en-US" sz="1000" b="0" i="0" u="none" strike="noStrike" kern="1200" cap="none" spc="200" normalizeH="0" baseline="0">
                        <a:ln w="3175">
                          <a:noFill/>
                        </a:ln>
                        <a:solidFill>
                          <a:schemeClr val="accent1"/>
                        </a:solidFill>
                        <a:effectLst/>
                        <a:uLnTx/>
                        <a:uFillTx/>
                        <a:latin typeface="+mn-lt"/>
                        <a:ea typeface="+mn-ea"/>
                        <a:cs typeface="Segoe UI Semilight" panose="020B0402040204020203"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6906020"/>
                  </a:ext>
                </a:extLst>
              </a:tr>
              <a:tr h="372539">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200" normalizeH="0" baseline="0">
                        <a:ln w="3175">
                          <a:noFill/>
                        </a:ln>
                        <a:solidFill>
                          <a:schemeClr val="accent1"/>
                        </a:solidFill>
                        <a:effectLst/>
                        <a:uLnTx/>
                        <a:uFillTx/>
                        <a:latin typeface="+mn-lt"/>
                        <a:ea typeface="+mn-ea"/>
                        <a:cs typeface="Segoe UI Semilight" panose="020B0402040204020203"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65382713"/>
                  </a:ext>
                </a:extLst>
              </a:tr>
              <a:tr h="372539">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0" normalizeH="0" baseline="0" noProof="0">
                          <a:ln w="3175">
                            <a:noFill/>
                          </a:ln>
                          <a:solidFill>
                            <a:schemeClr val="accent1"/>
                          </a:solidFill>
                          <a:effectLst/>
                          <a:uLnTx/>
                          <a:uFillTx/>
                          <a:latin typeface="+mn-lt"/>
                          <a:ea typeface="+mn-ea"/>
                          <a:cs typeface="Segoe UI Semilight" panose="020B0402040204020203" pitchFamily="34" charset="0"/>
                        </a:rPr>
                        <a:t>DOCUMENT PROCESSIN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77022711"/>
                  </a:ext>
                </a:extLst>
              </a:tr>
              <a:tr h="372539">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200" normalizeH="0" baseline="0">
                        <a:ln w="3175">
                          <a:noFill/>
                        </a:ln>
                        <a:solidFill>
                          <a:schemeClr val="accent1"/>
                        </a:solidFill>
                        <a:effectLst/>
                        <a:uLnTx/>
                        <a:uFillTx/>
                        <a:latin typeface="+mn-lt"/>
                        <a:ea typeface="+mn-ea"/>
                        <a:cs typeface="Segoe UI Semilight" panose="020B0402040204020203"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14433240"/>
                  </a:ext>
                </a:extLst>
              </a:tr>
              <a:tr h="372539">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0" normalizeH="0" baseline="0">
                          <a:ln w="3175">
                            <a:noFill/>
                          </a:ln>
                          <a:solidFill>
                            <a:schemeClr val="accent1"/>
                          </a:solidFill>
                          <a:effectLst/>
                          <a:uLnTx/>
                          <a:uFillTx/>
                          <a:latin typeface="+mn-lt"/>
                          <a:ea typeface="+mn-ea"/>
                          <a:cs typeface="Segoe UI Semilight" panose="020B0402040204020203" pitchFamily="34" charset="0"/>
                        </a:rPr>
                        <a:t>IMAGE &amp; VIDEO ANALYTICS</a:t>
                      </a:r>
                      <a:endParaRPr kumimoji="0" lang="en-US" sz="1000" b="0" i="0" u="none" strike="noStrike" kern="1200" cap="none" spc="200" normalizeH="0" baseline="0" noProof="0">
                        <a:ln w="3175">
                          <a:noFill/>
                        </a:ln>
                        <a:solidFill>
                          <a:schemeClr val="accent1"/>
                        </a:solidFill>
                        <a:effectLst/>
                        <a:uLnTx/>
                        <a:uFillTx/>
                        <a:latin typeface="+mn-lt"/>
                        <a:ea typeface="+mn-ea"/>
                        <a:cs typeface="Segoe UI Semilight" panose="020B0402040204020203"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31472865"/>
                  </a:ext>
                </a:extLst>
              </a:tr>
              <a:tr h="372539">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200" normalizeH="0" baseline="0">
                        <a:ln w="3175">
                          <a:noFill/>
                        </a:ln>
                        <a:solidFill>
                          <a:schemeClr val="accent1"/>
                        </a:solidFill>
                        <a:effectLst/>
                        <a:uLnTx/>
                        <a:uFillTx/>
                        <a:latin typeface="+mn-lt"/>
                        <a:ea typeface="+mn-ea"/>
                        <a:cs typeface="Segoe UI Semilight" panose="020B0402040204020203"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30693011"/>
                  </a:ext>
                </a:extLst>
              </a:tr>
              <a:tr h="372539">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0" normalizeH="0" baseline="0">
                          <a:ln w="3175">
                            <a:noFill/>
                          </a:ln>
                          <a:solidFill>
                            <a:schemeClr val="accent1"/>
                          </a:solidFill>
                          <a:effectLst/>
                          <a:uLnTx/>
                          <a:uFillTx/>
                          <a:latin typeface="+mn-lt"/>
                          <a:ea typeface="+mn-ea"/>
                          <a:cs typeface="Segoe UI Semilight" panose="020B0402040204020203" pitchFamily="34" charset="0"/>
                        </a:rPr>
                        <a:t>ANOMALY DETECTION</a:t>
                      </a:r>
                      <a:endParaRPr kumimoji="0" lang="en-US" sz="1000" b="0" i="0" u="none" strike="noStrike" kern="1200" cap="none" spc="200" normalizeH="0" baseline="0" noProof="0">
                        <a:ln w="3175">
                          <a:noFill/>
                        </a:ln>
                        <a:solidFill>
                          <a:schemeClr val="accent1"/>
                        </a:solidFill>
                        <a:effectLst/>
                        <a:uLnTx/>
                        <a:uFillTx/>
                        <a:latin typeface="+mn-lt"/>
                        <a:ea typeface="+mn-ea"/>
                        <a:cs typeface="Segoe UI Semilight" panose="020B0402040204020203"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51784318"/>
                  </a:ext>
                </a:extLst>
              </a:tr>
              <a:tr h="372539">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200" normalizeH="0" baseline="0" noProof="0">
                        <a:ln w="3175">
                          <a:noFill/>
                        </a:ln>
                        <a:solidFill>
                          <a:schemeClr val="accent1"/>
                        </a:solidFill>
                        <a:effectLst/>
                        <a:uLnTx/>
                        <a:uFillTx/>
                        <a:latin typeface="+mn-lt"/>
                        <a:ea typeface="+mn-ea"/>
                        <a:cs typeface="Segoe UI Semilight" panose="020B0402040204020203"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65940753"/>
                  </a:ext>
                </a:extLst>
              </a:tr>
              <a:tr h="372539">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200" normalizeH="0" baseline="0">
                          <a:ln w="3175">
                            <a:noFill/>
                          </a:ln>
                          <a:solidFill>
                            <a:schemeClr val="accent1"/>
                          </a:solidFill>
                          <a:effectLst/>
                          <a:uLnTx/>
                          <a:uFillTx/>
                          <a:latin typeface="+mn-lt"/>
                          <a:ea typeface="+mn-ea"/>
                          <a:cs typeface="Segoe UI Semilight" panose="020B0402040204020203" pitchFamily="34" charset="0"/>
                        </a:rPr>
                        <a:t>SPEECH ANALYTICS</a:t>
                      </a:r>
                      <a:endParaRPr kumimoji="0" lang="en-US" sz="1000" b="0" i="0" u="none" strike="noStrike" kern="1200" cap="none" spc="200" normalizeH="0" baseline="0" noProof="0">
                        <a:ln w="3175">
                          <a:noFill/>
                        </a:ln>
                        <a:solidFill>
                          <a:schemeClr val="accent1"/>
                        </a:solidFill>
                        <a:effectLst/>
                        <a:uLnTx/>
                        <a:uFillTx/>
                        <a:latin typeface="+mn-lt"/>
                        <a:ea typeface="+mn-ea"/>
                        <a:cs typeface="Segoe UI Semilight" panose="020B0402040204020203"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09879989"/>
                  </a:ext>
                </a:extLst>
              </a:tr>
            </a:tbl>
          </a:graphicData>
        </a:graphic>
      </p:graphicFrame>
      <p:sp>
        <p:nvSpPr>
          <p:cNvPr id="2" name="Title 1">
            <a:extLst>
              <a:ext uri="{FF2B5EF4-FFF2-40B4-BE49-F238E27FC236}">
                <a16:creationId xmlns:a16="http://schemas.microsoft.com/office/drawing/2014/main" id="{554F001B-4290-47F0-A2FA-65E86950E575}"/>
              </a:ext>
            </a:extLst>
          </p:cNvPr>
          <p:cNvSpPr>
            <a:spLocks noGrp="1"/>
          </p:cNvSpPr>
          <p:nvPr>
            <p:ph type="title"/>
          </p:nvPr>
        </p:nvSpPr>
        <p:spPr/>
        <p:txBody>
          <a:bodyPr/>
          <a:lstStyle/>
          <a:p>
            <a:r>
              <a:rPr lang="en-US"/>
              <a:t>AI-powered apps</a:t>
            </a:r>
          </a:p>
        </p:txBody>
      </p:sp>
      <p:sp>
        <p:nvSpPr>
          <p:cNvPr id="4" name="Left Brace 3">
            <a:extLst>
              <a:ext uri="{FF2B5EF4-FFF2-40B4-BE49-F238E27FC236}">
                <a16:creationId xmlns:a16="http://schemas.microsoft.com/office/drawing/2014/main" id="{1CCB910E-C876-4DAA-884B-0A0A94D95BF8}"/>
              </a:ext>
            </a:extLst>
          </p:cNvPr>
          <p:cNvSpPr/>
          <p:nvPr/>
        </p:nvSpPr>
        <p:spPr>
          <a:xfrm>
            <a:off x="8365598" y="1653292"/>
            <a:ext cx="588605" cy="4633208"/>
          </a:xfrm>
          <a:prstGeom prst="leftBrace">
            <a:avLst>
              <a:gd name="adj1" fmla="val 34803"/>
              <a:gd name="adj2" fmla="val 55077"/>
            </a:avLst>
          </a:prstGeom>
          <a:ln>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Left Brace 7">
            <a:extLst>
              <a:ext uri="{FF2B5EF4-FFF2-40B4-BE49-F238E27FC236}">
                <a16:creationId xmlns:a16="http://schemas.microsoft.com/office/drawing/2014/main" id="{6E05F63D-C840-4742-872B-BFE20B65AD6B}"/>
              </a:ext>
            </a:extLst>
          </p:cNvPr>
          <p:cNvSpPr/>
          <p:nvPr/>
        </p:nvSpPr>
        <p:spPr>
          <a:xfrm rot="10800000">
            <a:off x="3047171" y="2153381"/>
            <a:ext cx="588605" cy="3297929"/>
          </a:xfrm>
          <a:prstGeom prst="leftBrace">
            <a:avLst>
              <a:gd name="adj1" fmla="val 34803"/>
              <a:gd name="adj2" fmla="val 62478"/>
            </a:avLst>
          </a:prstGeom>
          <a:ln>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2" name="Title 1">
            <a:extLst>
              <a:ext uri="{FF2B5EF4-FFF2-40B4-BE49-F238E27FC236}">
                <a16:creationId xmlns:a16="http://schemas.microsoft.com/office/drawing/2014/main" id="{161C5E0B-7264-41D8-9B8D-930E75149A70}"/>
              </a:ext>
            </a:extLst>
          </p:cNvPr>
          <p:cNvSpPr txBox="1">
            <a:spLocks/>
          </p:cNvSpPr>
          <p:nvPr/>
        </p:nvSpPr>
        <p:spPr>
          <a:xfrm>
            <a:off x="1643615" y="2480912"/>
            <a:ext cx="1524214" cy="29238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1900" b="0" i="0" u="none" strike="noStrike" kern="1200" cap="none" spc="0" normalizeH="0" baseline="0" noProof="0">
              <a:ln w="3175">
                <a:noFill/>
              </a:ln>
              <a:solidFill>
                <a:srgbClr val="50E6FF"/>
              </a:solidFill>
              <a:effectLst/>
              <a:uLnTx/>
              <a:uFillTx/>
              <a:latin typeface="Segoe UI Semibold"/>
              <a:ea typeface="+mn-ea"/>
              <a:cs typeface="Segoe UI Semilight" panose="020B0402040204020203" pitchFamily="34" charset="0"/>
            </a:endParaRPr>
          </a:p>
        </p:txBody>
      </p:sp>
      <p:pic>
        <p:nvPicPr>
          <p:cNvPr id="28" name="Picture 2" descr="BBC Television Logos and Idents - BBC Logo Gallery Archives from 1953">
            <a:extLst>
              <a:ext uri="{FF2B5EF4-FFF2-40B4-BE49-F238E27FC236}">
                <a16:creationId xmlns:a16="http://schemas.microsoft.com/office/drawing/2014/main" id="{C290A9E0-CE3F-4261-A8F5-C4216C3FE5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8678" y="4346542"/>
            <a:ext cx="734088" cy="42699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Introducing Black Tech Women Brunch Sponsor: eBay - Black Tech ...">
            <a:extLst>
              <a:ext uri="{FF2B5EF4-FFF2-40B4-BE49-F238E27FC236}">
                <a16:creationId xmlns:a16="http://schemas.microsoft.com/office/drawing/2014/main" id="{660D976F-338A-4A47-8783-4E260F798341}"/>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116691" y="2893381"/>
            <a:ext cx="578063" cy="231225"/>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48844EE8-9FBA-43C6-8B05-5DCF05790A64}"/>
              </a:ext>
            </a:extLst>
          </p:cNvPr>
          <p:cNvGrpSpPr/>
          <p:nvPr/>
        </p:nvGrpSpPr>
        <p:grpSpPr>
          <a:xfrm>
            <a:off x="9737745" y="2740752"/>
            <a:ext cx="367995" cy="217117"/>
            <a:chOff x="9649569" y="2710949"/>
            <a:chExt cx="544346" cy="321164"/>
          </a:xfrm>
        </p:grpSpPr>
        <p:pic>
          <p:nvPicPr>
            <p:cNvPr id="4098" name="Picture 2" descr="See the source image">
              <a:extLst>
                <a:ext uri="{FF2B5EF4-FFF2-40B4-BE49-F238E27FC236}">
                  <a16:creationId xmlns:a16="http://schemas.microsoft.com/office/drawing/2014/main" id="{25D069AB-9081-4A69-9455-2959B11EF95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49569" y="2710949"/>
              <a:ext cx="544346" cy="321164"/>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 descr="See the source image">
              <a:extLst>
                <a:ext uri="{FF2B5EF4-FFF2-40B4-BE49-F238E27FC236}">
                  <a16:creationId xmlns:a16="http://schemas.microsoft.com/office/drawing/2014/main" id="{6DF23C34-576C-4F56-8673-73C868EFB6C5}"/>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649569" y="2710949"/>
              <a:ext cx="544346" cy="32116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oup 23">
            <a:extLst>
              <a:ext uri="{FF2B5EF4-FFF2-40B4-BE49-F238E27FC236}">
                <a16:creationId xmlns:a16="http://schemas.microsoft.com/office/drawing/2014/main" id="{3B2450A8-D71C-4027-923D-61623E942463}"/>
              </a:ext>
            </a:extLst>
          </p:cNvPr>
          <p:cNvGrpSpPr/>
          <p:nvPr/>
        </p:nvGrpSpPr>
        <p:grpSpPr>
          <a:xfrm>
            <a:off x="9535751" y="3515509"/>
            <a:ext cx="771982" cy="189467"/>
            <a:chOff x="9421933" y="3496602"/>
            <a:chExt cx="998427" cy="245043"/>
          </a:xfrm>
        </p:grpSpPr>
        <p:grpSp>
          <p:nvGrpSpPr>
            <p:cNvPr id="13" name="Group 12">
              <a:extLst>
                <a:ext uri="{FF2B5EF4-FFF2-40B4-BE49-F238E27FC236}">
                  <a16:creationId xmlns:a16="http://schemas.microsoft.com/office/drawing/2014/main" id="{EBD94401-C9CA-43EC-A896-87D0CEE38F57}"/>
                </a:ext>
              </a:extLst>
            </p:cNvPr>
            <p:cNvGrpSpPr/>
            <p:nvPr/>
          </p:nvGrpSpPr>
          <p:grpSpPr>
            <a:xfrm>
              <a:off x="9423124" y="3496602"/>
              <a:ext cx="997236" cy="245043"/>
              <a:chOff x="9423124" y="3496602"/>
              <a:chExt cx="997236" cy="245043"/>
            </a:xfrm>
          </p:grpSpPr>
          <p:pic>
            <p:nvPicPr>
              <p:cNvPr id="32" name="Picture 2" descr="Chevron commits to hydrogen">
                <a:extLst>
                  <a:ext uri="{FF2B5EF4-FFF2-40B4-BE49-F238E27FC236}">
                    <a16:creationId xmlns:a16="http://schemas.microsoft.com/office/drawing/2014/main" id="{0E145167-C9DB-4F00-B267-BE5C75B64FEB}"/>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33371" b="33866"/>
              <a:stretch/>
            </p:blipFill>
            <p:spPr bwMode="auto">
              <a:xfrm>
                <a:off x="9423124" y="3496602"/>
                <a:ext cx="997236" cy="245043"/>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 descr="Chevron commits to hydrogen">
                <a:extLst>
                  <a:ext uri="{FF2B5EF4-FFF2-40B4-BE49-F238E27FC236}">
                    <a16:creationId xmlns:a16="http://schemas.microsoft.com/office/drawing/2014/main" id="{9BD181CA-82B2-48F2-9E3D-2D375AD28224}"/>
                  </a:ext>
                </a:extLst>
              </p:cNvPr>
              <p:cNvPicPr>
                <a:picLocks noChangeAspect="1" noChangeArrowheads="1"/>
              </p:cNvPicPr>
              <p:nvPr/>
            </p:nvPicPr>
            <p:blipFill rotWithShape="1">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l="28758" t="33371" b="33866"/>
              <a:stretch/>
            </p:blipFill>
            <p:spPr bwMode="auto">
              <a:xfrm>
                <a:off x="9709904" y="3496602"/>
                <a:ext cx="710455" cy="245043"/>
              </a:xfrm>
              <a:prstGeom prst="rect">
                <a:avLst/>
              </a:prstGeom>
              <a:noFill/>
              <a:extLst>
                <a:ext uri="{909E8E84-426E-40DD-AFC4-6F175D3DCCD1}">
                  <a14:hiddenFill xmlns:a14="http://schemas.microsoft.com/office/drawing/2010/main">
                    <a:solidFill>
                      <a:srgbClr val="FFFFFF"/>
                    </a:solidFill>
                  </a14:hiddenFill>
                </a:ext>
              </a:extLst>
            </p:spPr>
          </p:pic>
        </p:grpSp>
        <p:pic>
          <p:nvPicPr>
            <p:cNvPr id="82946" name="Picture 2" descr="See the source image">
              <a:extLst>
                <a:ext uri="{FF2B5EF4-FFF2-40B4-BE49-F238E27FC236}">
                  <a16:creationId xmlns:a16="http://schemas.microsoft.com/office/drawing/2014/main" id="{15473213-23A5-495E-AADD-FBB5D657A057}"/>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0388" t="35161" r="30574" b="22054"/>
            <a:stretch/>
          </p:blipFill>
          <p:spPr bwMode="auto">
            <a:xfrm>
              <a:off x="9421933" y="3517076"/>
              <a:ext cx="252615" cy="221488"/>
            </a:xfrm>
            <a:prstGeom prst="rect">
              <a:avLst/>
            </a:prstGeom>
            <a:noFill/>
            <a:extLst>
              <a:ext uri="{909E8E84-426E-40DD-AFC4-6F175D3DCCD1}">
                <a14:hiddenFill xmlns:a14="http://schemas.microsoft.com/office/drawing/2010/main">
                  <a:solidFill>
                    <a:srgbClr val="FFFFFF"/>
                  </a:solidFill>
                </a14:hiddenFill>
              </a:ext>
            </a:extLst>
          </p:spPr>
        </p:pic>
      </p:grpSp>
      <p:pic>
        <p:nvPicPr>
          <p:cNvPr id="82950" name="Picture 6" descr="See the source image">
            <a:extLst>
              <a:ext uri="{FF2B5EF4-FFF2-40B4-BE49-F238E27FC236}">
                <a16:creationId xmlns:a16="http://schemas.microsoft.com/office/drawing/2014/main" id="{260E2B04-1B3E-46FB-BBF3-C81068CF5043}"/>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572965" y="5003621"/>
            <a:ext cx="697555" cy="221064"/>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a:extLst>
              <a:ext uri="{FF2B5EF4-FFF2-40B4-BE49-F238E27FC236}">
                <a16:creationId xmlns:a16="http://schemas.microsoft.com/office/drawing/2014/main" id="{C06DC0F1-A4F7-4843-808B-9A9F188E11BF}"/>
              </a:ext>
            </a:extLst>
          </p:cNvPr>
          <p:cNvGrpSpPr/>
          <p:nvPr/>
        </p:nvGrpSpPr>
        <p:grpSpPr>
          <a:xfrm>
            <a:off x="9467795" y="5706259"/>
            <a:ext cx="907894" cy="208499"/>
            <a:chOff x="9311280" y="5702299"/>
            <a:chExt cx="1227903" cy="281990"/>
          </a:xfrm>
        </p:grpSpPr>
        <p:pic>
          <p:nvPicPr>
            <p:cNvPr id="81" name="Picture 80" descr="See the source image">
              <a:extLst>
                <a:ext uri="{FF2B5EF4-FFF2-40B4-BE49-F238E27FC236}">
                  <a16:creationId xmlns:a16="http://schemas.microsoft.com/office/drawing/2014/main" id="{17853283-92A2-48D8-BBFF-87A323AF71F5}"/>
                </a:ext>
              </a:extLst>
            </p:cNvPr>
            <p:cNvPicPr>
              <a:picLocks noChangeAspect="1" noChangeArrowheads="1"/>
            </p:cNvPicPr>
            <p:nvPr/>
          </p:nvPicPr>
          <p:blipFill rotWithShape="1">
            <a:blip r:embed="rId15">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rcRect l="30265" b="30108"/>
            <a:stretch/>
          </p:blipFill>
          <p:spPr bwMode="auto">
            <a:xfrm>
              <a:off x="9678033" y="5709056"/>
              <a:ext cx="861150" cy="268477"/>
            </a:xfrm>
            <a:custGeom>
              <a:avLst/>
              <a:gdLst>
                <a:gd name="connsiteX0" fmla="*/ 0 w 861150"/>
                <a:gd name="connsiteY0" fmla="*/ 0 h 268477"/>
                <a:gd name="connsiteX1" fmla="*/ 861150 w 861150"/>
                <a:gd name="connsiteY1" fmla="*/ 0 h 268477"/>
                <a:gd name="connsiteX2" fmla="*/ 861150 w 861150"/>
                <a:gd name="connsiteY2" fmla="*/ 261593 h 268477"/>
                <a:gd name="connsiteX3" fmla="*/ 246321 w 861150"/>
                <a:gd name="connsiteY3" fmla="*/ 261593 h 268477"/>
                <a:gd name="connsiteX4" fmla="*/ 246321 w 861150"/>
                <a:gd name="connsiteY4" fmla="*/ 268477 h 268477"/>
                <a:gd name="connsiteX5" fmla="*/ 0 w 861150"/>
                <a:gd name="connsiteY5" fmla="*/ 268477 h 26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1150" h="268477">
                  <a:moveTo>
                    <a:pt x="0" y="0"/>
                  </a:moveTo>
                  <a:lnTo>
                    <a:pt x="861150" y="0"/>
                  </a:lnTo>
                  <a:lnTo>
                    <a:pt x="861150" y="261593"/>
                  </a:lnTo>
                  <a:lnTo>
                    <a:pt x="246321" y="261593"/>
                  </a:lnTo>
                  <a:lnTo>
                    <a:pt x="246321" y="268477"/>
                  </a:lnTo>
                  <a:lnTo>
                    <a:pt x="0" y="268477"/>
                  </a:lnTo>
                  <a:close/>
                </a:path>
              </a:pathLst>
            </a:custGeom>
            <a:noFill/>
            <a:extLst>
              <a:ext uri="{909E8E84-426E-40DD-AFC4-6F175D3DCCD1}">
                <a14:hiddenFill xmlns:a14="http://schemas.microsoft.com/office/drawing/2010/main">
                  <a:solidFill>
                    <a:srgbClr val="FFFFFF"/>
                  </a:solidFill>
                </a14:hiddenFill>
              </a:ext>
            </a:extLst>
          </p:spPr>
        </p:pic>
        <p:pic>
          <p:nvPicPr>
            <p:cNvPr id="82952" name="Picture 8" descr="See the source image">
              <a:extLst>
                <a:ext uri="{FF2B5EF4-FFF2-40B4-BE49-F238E27FC236}">
                  <a16:creationId xmlns:a16="http://schemas.microsoft.com/office/drawing/2014/main" id="{B0F1B3C1-A48A-42A3-8D9D-0727B9C6D697}"/>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29269" t="9205" r="28359" b="56276"/>
            <a:stretch/>
          </p:blipFill>
          <p:spPr bwMode="auto">
            <a:xfrm>
              <a:off x="9311280" y="5702299"/>
              <a:ext cx="346148" cy="281990"/>
            </a:xfrm>
            <a:prstGeom prst="rect">
              <a:avLst/>
            </a:prstGeom>
            <a:noFill/>
            <a:extLst>
              <a:ext uri="{909E8E84-426E-40DD-AFC4-6F175D3DCCD1}">
                <a14:hiddenFill xmlns:a14="http://schemas.microsoft.com/office/drawing/2010/main">
                  <a:solidFill>
                    <a:srgbClr val="FFFFFF"/>
                  </a:solidFill>
                </a14:hiddenFill>
              </a:ext>
            </a:extLst>
          </p:spPr>
        </p:pic>
      </p:grpSp>
      <p:pic>
        <p:nvPicPr>
          <p:cNvPr id="5122" name="Picture 2" descr="White+Wix+logo+Assets+Transparent - IT Company Los Angeles ...">
            <a:extLst>
              <a:ext uri="{FF2B5EF4-FFF2-40B4-BE49-F238E27FC236}">
                <a16:creationId xmlns:a16="http://schemas.microsoft.com/office/drawing/2014/main" id="{3C209DC9-67D5-4BC9-A368-CEC084DE3751}"/>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r="42338"/>
          <a:stretch/>
        </p:blipFill>
        <p:spPr bwMode="auto">
          <a:xfrm>
            <a:off x="9701619" y="1902241"/>
            <a:ext cx="440246" cy="326494"/>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Group 29">
            <a:extLst>
              <a:ext uri="{FF2B5EF4-FFF2-40B4-BE49-F238E27FC236}">
                <a16:creationId xmlns:a16="http://schemas.microsoft.com/office/drawing/2014/main" id="{5CE27EE3-8FDB-4E49-B761-9AB71CB14344}"/>
              </a:ext>
            </a:extLst>
          </p:cNvPr>
          <p:cNvGrpSpPr/>
          <p:nvPr/>
        </p:nvGrpSpPr>
        <p:grpSpPr>
          <a:xfrm>
            <a:off x="9395689" y="4155967"/>
            <a:ext cx="1121778" cy="433405"/>
            <a:chOff x="9334726" y="4155967"/>
            <a:chExt cx="1121778" cy="433405"/>
          </a:xfrm>
        </p:grpSpPr>
        <p:pic>
          <p:nvPicPr>
            <p:cNvPr id="14" name="Picture 2" descr="GE Aviation, Brightwater UAG Sign Exclusive Agreement for T700 ...">
              <a:extLst>
                <a:ext uri="{FF2B5EF4-FFF2-40B4-BE49-F238E27FC236}">
                  <a16:creationId xmlns:a16="http://schemas.microsoft.com/office/drawing/2014/main" id="{D6C5E2B6-3008-4055-9DB5-946FCB7EFB45}"/>
                </a:ext>
              </a:extLst>
            </p:cNvPr>
            <p:cNvPicPr>
              <a:picLocks noChangeAspect="1" noChangeArrowheads="1"/>
            </p:cNvPicPr>
            <p:nvPr/>
          </p:nvPicPr>
          <p:blipFill rotWithShape="1">
            <a:blip r:embed="rId19">
              <a:biLevel thresh="50000"/>
              <a:extLst>
                <a:ext uri="{28A0092B-C50C-407E-A947-70E740481C1C}">
                  <a14:useLocalDpi xmlns:a14="http://schemas.microsoft.com/office/drawing/2010/main" val="0"/>
                </a:ext>
              </a:extLst>
            </a:blip>
            <a:srcRect l="5714" t="22512" r="63724" b="22361"/>
            <a:stretch/>
          </p:blipFill>
          <p:spPr bwMode="auto">
            <a:xfrm>
              <a:off x="9334726" y="4175027"/>
              <a:ext cx="330924" cy="34303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GE Aviation, Brightwater UAG Sign Exclusive Agreement for T700 ...">
              <a:extLst>
                <a:ext uri="{FF2B5EF4-FFF2-40B4-BE49-F238E27FC236}">
                  <a16:creationId xmlns:a16="http://schemas.microsoft.com/office/drawing/2014/main" id="{C1773F5A-419C-4C2D-BFB9-26A3CB560D67}"/>
                </a:ext>
              </a:extLst>
            </p:cNvPr>
            <p:cNvPicPr>
              <a:picLocks noChangeAspect="1" noChangeArrowheads="1"/>
            </p:cNvPicPr>
            <p:nvPr/>
          </p:nvPicPr>
          <p:blipFill rotWithShape="1">
            <a:blip r:embed="rId19">
              <a:biLevel thresh="25000"/>
              <a:extLst>
                <a:ext uri="{28A0092B-C50C-407E-A947-70E740481C1C}">
                  <a14:useLocalDpi xmlns:a14="http://schemas.microsoft.com/office/drawing/2010/main" val="0"/>
                </a:ext>
              </a:extLst>
            </a:blip>
            <a:srcRect l="35090" t="22512" r="7540" b="22361"/>
            <a:stretch/>
          </p:blipFill>
          <p:spPr bwMode="auto">
            <a:xfrm>
              <a:off x="9671639" y="4155967"/>
              <a:ext cx="784865" cy="433405"/>
            </a:xfrm>
            <a:prstGeom prst="rect">
              <a:avLst/>
            </a:prstGeom>
            <a:noFill/>
            <a:extLst>
              <a:ext uri="{909E8E84-426E-40DD-AFC4-6F175D3DCCD1}">
                <a14:hiddenFill xmlns:a14="http://schemas.microsoft.com/office/drawing/2010/main">
                  <a:solidFill>
                    <a:srgbClr val="FFFFFF"/>
                  </a:solidFill>
                </a14:hiddenFill>
              </a:ext>
            </a:extLst>
          </p:spPr>
        </p:pic>
      </p:grpSp>
      <p:pic>
        <p:nvPicPr>
          <p:cNvPr id="9" name="Picture 2" descr="Uber Brand">
            <a:extLst>
              <a:ext uri="{FF2B5EF4-FFF2-40B4-BE49-F238E27FC236}">
                <a16:creationId xmlns:a16="http://schemas.microsoft.com/office/drawing/2014/main" id="{70C54DEE-E793-4A8A-9572-F1CC35DE2552}"/>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29596" b="32622"/>
          <a:stretch/>
        </p:blipFill>
        <p:spPr bwMode="auto">
          <a:xfrm>
            <a:off x="2063620" y="5183370"/>
            <a:ext cx="684204" cy="256599"/>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CDC | IQ Solutions">
            <a:extLst>
              <a:ext uri="{FF2B5EF4-FFF2-40B4-BE49-F238E27FC236}">
                <a16:creationId xmlns:a16="http://schemas.microsoft.com/office/drawing/2014/main" id="{C7DAB207-8FA8-4284-A171-2655AD8A009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167871" y="3662135"/>
            <a:ext cx="475702" cy="287535"/>
          </a:xfrm>
          <a:prstGeom prst="rect">
            <a:avLst/>
          </a:prstGeom>
          <a:noFill/>
          <a:extLst>
            <a:ext uri="{909E8E84-426E-40DD-AFC4-6F175D3DCCD1}">
              <a14:hiddenFill xmlns:a14="http://schemas.microsoft.com/office/drawing/2010/main">
                <a:solidFill>
                  <a:srgbClr val="FFFFFF"/>
                </a:solidFill>
              </a14:hiddenFill>
            </a:ext>
          </a:extLst>
        </p:spPr>
      </p:pic>
      <p:grpSp>
        <p:nvGrpSpPr>
          <p:cNvPr id="98" name="Group 97">
            <a:extLst>
              <a:ext uri="{FF2B5EF4-FFF2-40B4-BE49-F238E27FC236}">
                <a16:creationId xmlns:a16="http://schemas.microsoft.com/office/drawing/2014/main" id="{0E51B116-E8F8-4F87-9428-F034965990CC}"/>
              </a:ext>
            </a:extLst>
          </p:cNvPr>
          <p:cNvGrpSpPr/>
          <p:nvPr/>
        </p:nvGrpSpPr>
        <p:grpSpPr>
          <a:xfrm>
            <a:off x="3961639" y="1422217"/>
            <a:ext cx="414950" cy="512847"/>
            <a:chOff x="3973963" y="1325161"/>
            <a:chExt cx="414950" cy="512847"/>
          </a:xfrm>
        </p:grpSpPr>
        <p:grpSp>
          <p:nvGrpSpPr>
            <p:cNvPr id="99" name="Group 98">
              <a:extLst>
                <a:ext uri="{FF2B5EF4-FFF2-40B4-BE49-F238E27FC236}">
                  <a16:creationId xmlns:a16="http://schemas.microsoft.com/office/drawing/2014/main" id="{3CD4CE9B-978E-4748-8B05-9157D88DD12B}"/>
                </a:ext>
              </a:extLst>
            </p:cNvPr>
            <p:cNvGrpSpPr/>
            <p:nvPr/>
          </p:nvGrpSpPr>
          <p:grpSpPr>
            <a:xfrm>
              <a:off x="3973963" y="1534721"/>
              <a:ext cx="414950" cy="303287"/>
              <a:chOff x="-709939" y="1835886"/>
              <a:chExt cx="2805497" cy="2050536"/>
            </a:xfrm>
            <a:solidFill>
              <a:schemeClr val="bg2">
                <a:lumMod val="50000"/>
              </a:schemeClr>
            </a:solidFill>
          </p:grpSpPr>
          <p:sp>
            <p:nvSpPr>
              <p:cNvPr id="127" name="Oval 87">
                <a:extLst>
                  <a:ext uri="{FF2B5EF4-FFF2-40B4-BE49-F238E27FC236}">
                    <a16:creationId xmlns:a16="http://schemas.microsoft.com/office/drawing/2014/main" id="{BA043EC8-E8CF-4226-BCE9-A786CA00DB90}"/>
                  </a:ext>
                </a:extLst>
              </p:cNvPr>
              <p:cNvSpPr/>
              <p:nvPr/>
            </p:nvSpPr>
            <p:spPr>
              <a:xfrm>
                <a:off x="-709939" y="2649679"/>
                <a:ext cx="2805497" cy="1236743"/>
              </a:xfrm>
              <a:custGeom>
                <a:avLst/>
                <a:gdLst>
                  <a:gd name="connsiteX0" fmla="*/ 0 w 2131421"/>
                  <a:gd name="connsiteY0" fmla="*/ 629088 h 1258176"/>
                  <a:gd name="connsiteX1" fmla="*/ 1065711 w 2131421"/>
                  <a:gd name="connsiteY1" fmla="*/ 0 h 1258176"/>
                  <a:gd name="connsiteX2" fmla="*/ 2131422 w 2131421"/>
                  <a:gd name="connsiteY2" fmla="*/ 629088 h 1258176"/>
                  <a:gd name="connsiteX3" fmla="*/ 1065711 w 2131421"/>
                  <a:gd name="connsiteY3" fmla="*/ 1258176 h 1258176"/>
                  <a:gd name="connsiteX4" fmla="*/ 0 w 2131421"/>
                  <a:gd name="connsiteY4" fmla="*/ 629088 h 1258176"/>
                  <a:gd name="connsiteX0" fmla="*/ 0 w 2472384"/>
                  <a:gd name="connsiteY0" fmla="*/ 632912 h 1273485"/>
                  <a:gd name="connsiteX1" fmla="*/ 1065711 w 2472384"/>
                  <a:gd name="connsiteY1" fmla="*/ 3824 h 1273485"/>
                  <a:gd name="connsiteX2" fmla="*/ 2472384 w 2472384"/>
                  <a:gd name="connsiteY2" fmla="*/ 890184 h 1273485"/>
                  <a:gd name="connsiteX3" fmla="*/ 1065711 w 2472384"/>
                  <a:gd name="connsiteY3" fmla="*/ 1262000 h 1273485"/>
                  <a:gd name="connsiteX4" fmla="*/ 0 w 2472384"/>
                  <a:gd name="connsiteY4" fmla="*/ 632912 h 1273485"/>
                  <a:gd name="connsiteX0" fmla="*/ 0 w 2779250"/>
                  <a:gd name="connsiteY0" fmla="*/ 917394 h 1259324"/>
                  <a:gd name="connsiteX1" fmla="*/ 1372577 w 2779250"/>
                  <a:gd name="connsiteY1" fmla="*/ 37 h 1259324"/>
                  <a:gd name="connsiteX2" fmla="*/ 2779250 w 2779250"/>
                  <a:gd name="connsiteY2" fmla="*/ 886397 h 1259324"/>
                  <a:gd name="connsiteX3" fmla="*/ 1372577 w 2779250"/>
                  <a:gd name="connsiteY3" fmla="*/ 1258213 h 1259324"/>
                  <a:gd name="connsiteX4" fmla="*/ 0 w 2779250"/>
                  <a:gd name="connsiteY4" fmla="*/ 917394 h 1259324"/>
                  <a:gd name="connsiteX0" fmla="*/ 0 w 2779250"/>
                  <a:gd name="connsiteY0" fmla="*/ 917394 h 1258354"/>
                  <a:gd name="connsiteX1" fmla="*/ 1372577 w 2779250"/>
                  <a:gd name="connsiteY1" fmla="*/ 37 h 1258354"/>
                  <a:gd name="connsiteX2" fmla="*/ 2779250 w 2779250"/>
                  <a:gd name="connsiteY2" fmla="*/ 886397 h 1258354"/>
                  <a:gd name="connsiteX3" fmla="*/ 1372577 w 2779250"/>
                  <a:gd name="connsiteY3" fmla="*/ 1258213 h 1258354"/>
                  <a:gd name="connsiteX4" fmla="*/ 0 w 2779250"/>
                  <a:gd name="connsiteY4" fmla="*/ 917394 h 1258354"/>
                  <a:gd name="connsiteX0" fmla="*/ 31345 w 2810595"/>
                  <a:gd name="connsiteY0" fmla="*/ 930067 h 1271027"/>
                  <a:gd name="connsiteX1" fmla="*/ 520019 w 2810595"/>
                  <a:gd name="connsiteY1" fmla="*/ 412315 h 1271027"/>
                  <a:gd name="connsiteX2" fmla="*/ 1403922 w 2810595"/>
                  <a:gd name="connsiteY2" fmla="*/ 12710 h 1271027"/>
                  <a:gd name="connsiteX3" fmla="*/ 2810595 w 2810595"/>
                  <a:gd name="connsiteY3" fmla="*/ 899070 h 1271027"/>
                  <a:gd name="connsiteX4" fmla="*/ 1403922 w 2810595"/>
                  <a:gd name="connsiteY4" fmla="*/ 1270886 h 1271027"/>
                  <a:gd name="connsiteX5" fmla="*/ 31345 w 2810595"/>
                  <a:gd name="connsiteY5" fmla="*/ 930067 h 1271027"/>
                  <a:gd name="connsiteX0" fmla="*/ 48540 w 2827790"/>
                  <a:gd name="connsiteY0" fmla="*/ 943388 h 1284314"/>
                  <a:gd name="connsiteX1" fmla="*/ 413228 w 2827790"/>
                  <a:gd name="connsiteY1" fmla="*/ 298550 h 1284314"/>
                  <a:gd name="connsiteX2" fmla="*/ 1421117 w 2827790"/>
                  <a:gd name="connsiteY2" fmla="*/ 26031 h 1284314"/>
                  <a:gd name="connsiteX3" fmla="*/ 2827790 w 2827790"/>
                  <a:gd name="connsiteY3" fmla="*/ 912391 h 1284314"/>
                  <a:gd name="connsiteX4" fmla="*/ 1421117 w 2827790"/>
                  <a:gd name="connsiteY4" fmla="*/ 1284207 h 1284314"/>
                  <a:gd name="connsiteX5" fmla="*/ 48540 w 2827790"/>
                  <a:gd name="connsiteY5" fmla="*/ 943388 h 1284314"/>
                  <a:gd name="connsiteX0" fmla="*/ 48540 w 2848791"/>
                  <a:gd name="connsiteY0" fmla="*/ 917737 h 1258663"/>
                  <a:gd name="connsiteX1" fmla="*/ 413228 w 2848791"/>
                  <a:gd name="connsiteY1" fmla="*/ 272899 h 1258663"/>
                  <a:gd name="connsiteX2" fmla="*/ 1421117 w 2848791"/>
                  <a:gd name="connsiteY2" fmla="*/ 380 h 1258663"/>
                  <a:gd name="connsiteX3" fmla="*/ 2207932 w 2848791"/>
                  <a:gd name="connsiteY3" fmla="*/ 322495 h 1258663"/>
                  <a:gd name="connsiteX4" fmla="*/ 2827790 w 2848791"/>
                  <a:gd name="connsiteY4" fmla="*/ 886740 h 1258663"/>
                  <a:gd name="connsiteX5" fmla="*/ 1421117 w 2848791"/>
                  <a:gd name="connsiteY5" fmla="*/ 1258556 h 1258663"/>
                  <a:gd name="connsiteX6" fmla="*/ 48540 w 2848791"/>
                  <a:gd name="connsiteY6" fmla="*/ 917737 h 1258663"/>
                  <a:gd name="connsiteX0" fmla="*/ 48540 w 2862285"/>
                  <a:gd name="connsiteY0" fmla="*/ 917364 h 1258290"/>
                  <a:gd name="connsiteX1" fmla="*/ 413228 w 2862285"/>
                  <a:gd name="connsiteY1" fmla="*/ 272526 h 1258290"/>
                  <a:gd name="connsiteX2" fmla="*/ 1421117 w 2862285"/>
                  <a:gd name="connsiteY2" fmla="*/ 7 h 1258290"/>
                  <a:gd name="connsiteX3" fmla="*/ 2455905 w 2862285"/>
                  <a:gd name="connsiteY3" fmla="*/ 266328 h 1258290"/>
                  <a:gd name="connsiteX4" fmla="*/ 2827790 w 2862285"/>
                  <a:gd name="connsiteY4" fmla="*/ 886367 h 1258290"/>
                  <a:gd name="connsiteX5" fmla="*/ 1421117 w 2862285"/>
                  <a:gd name="connsiteY5" fmla="*/ 1258183 h 1258290"/>
                  <a:gd name="connsiteX6" fmla="*/ 48540 w 2862285"/>
                  <a:gd name="connsiteY6" fmla="*/ 917364 h 1258290"/>
                  <a:gd name="connsiteX0" fmla="*/ 48540 w 2862285"/>
                  <a:gd name="connsiteY0" fmla="*/ 870873 h 1211799"/>
                  <a:gd name="connsiteX1" fmla="*/ 413228 w 2862285"/>
                  <a:gd name="connsiteY1" fmla="*/ 226035 h 1211799"/>
                  <a:gd name="connsiteX2" fmla="*/ 1418017 w 2862285"/>
                  <a:gd name="connsiteY2" fmla="*/ 11 h 1211799"/>
                  <a:gd name="connsiteX3" fmla="*/ 2455905 w 2862285"/>
                  <a:gd name="connsiteY3" fmla="*/ 219837 h 1211799"/>
                  <a:gd name="connsiteX4" fmla="*/ 2827790 w 2862285"/>
                  <a:gd name="connsiteY4" fmla="*/ 839876 h 1211799"/>
                  <a:gd name="connsiteX5" fmla="*/ 1421117 w 2862285"/>
                  <a:gd name="connsiteY5" fmla="*/ 1211692 h 1211799"/>
                  <a:gd name="connsiteX6" fmla="*/ 48540 w 2862285"/>
                  <a:gd name="connsiteY6" fmla="*/ 870873 h 1211799"/>
                  <a:gd name="connsiteX0" fmla="*/ 48540 w 2853817"/>
                  <a:gd name="connsiteY0" fmla="*/ 870873 h 1214250"/>
                  <a:gd name="connsiteX1" fmla="*/ 413228 w 2853817"/>
                  <a:gd name="connsiteY1" fmla="*/ 226035 h 1214250"/>
                  <a:gd name="connsiteX2" fmla="*/ 1418017 w 2853817"/>
                  <a:gd name="connsiteY2" fmla="*/ 11 h 1214250"/>
                  <a:gd name="connsiteX3" fmla="*/ 2455905 w 2853817"/>
                  <a:gd name="connsiteY3" fmla="*/ 219837 h 1214250"/>
                  <a:gd name="connsiteX4" fmla="*/ 2818491 w 2853817"/>
                  <a:gd name="connsiteY4" fmla="*/ 985560 h 1214250"/>
                  <a:gd name="connsiteX5" fmla="*/ 1421117 w 2853817"/>
                  <a:gd name="connsiteY5" fmla="*/ 1211692 h 1214250"/>
                  <a:gd name="connsiteX6" fmla="*/ 48540 w 2853817"/>
                  <a:gd name="connsiteY6" fmla="*/ 870873 h 1214250"/>
                  <a:gd name="connsiteX0" fmla="*/ 50935 w 2834514"/>
                  <a:gd name="connsiteY0" fmla="*/ 997959 h 1211751"/>
                  <a:gd name="connsiteX1" fmla="*/ 393925 w 2834514"/>
                  <a:gd name="connsiteY1" fmla="*/ 226035 h 1211751"/>
                  <a:gd name="connsiteX2" fmla="*/ 1398714 w 2834514"/>
                  <a:gd name="connsiteY2" fmla="*/ 11 h 1211751"/>
                  <a:gd name="connsiteX3" fmla="*/ 2436602 w 2834514"/>
                  <a:gd name="connsiteY3" fmla="*/ 219837 h 1211751"/>
                  <a:gd name="connsiteX4" fmla="*/ 2799188 w 2834514"/>
                  <a:gd name="connsiteY4" fmla="*/ 985560 h 1211751"/>
                  <a:gd name="connsiteX5" fmla="*/ 1401814 w 2834514"/>
                  <a:gd name="connsiteY5" fmla="*/ 1211692 h 1211751"/>
                  <a:gd name="connsiteX6" fmla="*/ 50935 w 2834514"/>
                  <a:gd name="connsiteY6" fmla="*/ 997959 h 1211751"/>
                  <a:gd name="connsiteX0" fmla="*/ 37723 w 2821302"/>
                  <a:gd name="connsiteY0" fmla="*/ 997959 h 1211882"/>
                  <a:gd name="connsiteX1" fmla="*/ 380713 w 2821302"/>
                  <a:gd name="connsiteY1" fmla="*/ 226035 h 1211882"/>
                  <a:gd name="connsiteX2" fmla="*/ 1385502 w 2821302"/>
                  <a:gd name="connsiteY2" fmla="*/ 11 h 1211882"/>
                  <a:gd name="connsiteX3" fmla="*/ 2423390 w 2821302"/>
                  <a:gd name="connsiteY3" fmla="*/ 219837 h 1211882"/>
                  <a:gd name="connsiteX4" fmla="*/ 2785976 w 2821302"/>
                  <a:gd name="connsiteY4" fmla="*/ 985560 h 1211882"/>
                  <a:gd name="connsiteX5" fmla="*/ 1388602 w 2821302"/>
                  <a:gd name="connsiteY5" fmla="*/ 1211692 h 1211882"/>
                  <a:gd name="connsiteX6" fmla="*/ 37723 w 2821302"/>
                  <a:gd name="connsiteY6" fmla="*/ 997959 h 1211882"/>
                  <a:gd name="connsiteX0" fmla="*/ 37723 w 2796135"/>
                  <a:gd name="connsiteY0" fmla="*/ 997959 h 1211726"/>
                  <a:gd name="connsiteX1" fmla="*/ 380713 w 2796135"/>
                  <a:gd name="connsiteY1" fmla="*/ 226035 h 1211726"/>
                  <a:gd name="connsiteX2" fmla="*/ 1385502 w 2796135"/>
                  <a:gd name="connsiteY2" fmla="*/ 11 h 1211726"/>
                  <a:gd name="connsiteX3" fmla="*/ 2423390 w 2796135"/>
                  <a:gd name="connsiteY3" fmla="*/ 219837 h 1211726"/>
                  <a:gd name="connsiteX4" fmla="*/ 2758079 w 2796135"/>
                  <a:gd name="connsiteY4" fmla="*/ 1007258 h 1211726"/>
                  <a:gd name="connsiteX5" fmla="*/ 1388602 w 2796135"/>
                  <a:gd name="connsiteY5" fmla="*/ 1211692 h 1211726"/>
                  <a:gd name="connsiteX6" fmla="*/ 37723 w 2796135"/>
                  <a:gd name="connsiteY6" fmla="*/ 997959 h 1211726"/>
                  <a:gd name="connsiteX0" fmla="*/ 37723 w 2796135"/>
                  <a:gd name="connsiteY0" fmla="*/ 1022592 h 1236359"/>
                  <a:gd name="connsiteX1" fmla="*/ 380713 w 2796135"/>
                  <a:gd name="connsiteY1" fmla="*/ 250668 h 1236359"/>
                  <a:gd name="connsiteX2" fmla="*/ 1180426 w 2796135"/>
                  <a:gd name="connsiteY2" fmla="*/ 30591 h 1236359"/>
                  <a:gd name="connsiteX3" fmla="*/ 1385502 w 2796135"/>
                  <a:gd name="connsiteY3" fmla="*/ 24644 h 1236359"/>
                  <a:gd name="connsiteX4" fmla="*/ 2423390 w 2796135"/>
                  <a:gd name="connsiteY4" fmla="*/ 244470 h 1236359"/>
                  <a:gd name="connsiteX5" fmla="*/ 2758079 w 2796135"/>
                  <a:gd name="connsiteY5" fmla="*/ 1031891 h 1236359"/>
                  <a:gd name="connsiteX6" fmla="*/ 1388602 w 2796135"/>
                  <a:gd name="connsiteY6" fmla="*/ 1236325 h 1236359"/>
                  <a:gd name="connsiteX7" fmla="*/ 37723 w 2796135"/>
                  <a:gd name="connsiteY7" fmla="*/ 1022592 h 1236359"/>
                  <a:gd name="connsiteX0" fmla="*/ 37723 w 2796135"/>
                  <a:gd name="connsiteY0" fmla="*/ 1033639 h 1247406"/>
                  <a:gd name="connsiteX1" fmla="*/ 380713 w 2796135"/>
                  <a:gd name="connsiteY1" fmla="*/ 261715 h 1247406"/>
                  <a:gd name="connsiteX2" fmla="*/ 913855 w 2796135"/>
                  <a:gd name="connsiteY2" fmla="*/ 23040 h 1247406"/>
                  <a:gd name="connsiteX3" fmla="*/ 1385502 w 2796135"/>
                  <a:gd name="connsiteY3" fmla="*/ 35691 h 1247406"/>
                  <a:gd name="connsiteX4" fmla="*/ 2423390 w 2796135"/>
                  <a:gd name="connsiteY4" fmla="*/ 255517 h 1247406"/>
                  <a:gd name="connsiteX5" fmla="*/ 2758079 w 2796135"/>
                  <a:gd name="connsiteY5" fmla="*/ 1042938 h 1247406"/>
                  <a:gd name="connsiteX6" fmla="*/ 1388602 w 2796135"/>
                  <a:gd name="connsiteY6" fmla="*/ 1247372 h 1247406"/>
                  <a:gd name="connsiteX7" fmla="*/ 37723 w 2796135"/>
                  <a:gd name="connsiteY7" fmla="*/ 1033639 h 1247406"/>
                  <a:gd name="connsiteX0" fmla="*/ 37723 w 2796135"/>
                  <a:gd name="connsiteY0" fmla="*/ 1011616 h 1225383"/>
                  <a:gd name="connsiteX1" fmla="*/ 380713 w 2796135"/>
                  <a:gd name="connsiteY1" fmla="*/ 239692 h 1225383"/>
                  <a:gd name="connsiteX2" fmla="*/ 913855 w 2796135"/>
                  <a:gd name="connsiteY2" fmla="*/ 1017 h 1225383"/>
                  <a:gd name="connsiteX3" fmla="*/ 1401001 w 2796135"/>
                  <a:gd name="connsiteY3" fmla="*/ 1024158 h 1225383"/>
                  <a:gd name="connsiteX4" fmla="*/ 2423390 w 2796135"/>
                  <a:gd name="connsiteY4" fmla="*/ 233494 h 1225383"/>
                  <a:gd name="connsiteX5" fmla="*/ 2758079 w 2796135"/>
                  <a:gd name="connsiteY5" fmla="*/ 1020915 h 1225383"/>
                  <a:gd name="connsiteX6" fmla="*/ 1388602 w 2796135"/>
                  <a:gd name="connsiteY6" fmla="*/ 1225349 h 1225383"/>
                  <a:gd name="connsiteX7" fmla="*/ 37723 w 2796135"/>
                  <a:gd name="connsiteY7" fmla="*/ 1011616 h 1225383"/>
                  <a:gd name="connsiteX0" fmla="*/ 37723 w 2786074"/>
                  <a:gd name="connsiteY0" fmla="*/ 1011632 h 1225399"/>
                  <a:gd name="connsiteX1" fmla="*/ 380713 w 2786074"/>
                  <a:gd name="connsiteY1" fmla="*/ 239708 h 1225399"/>
                  <a:gd name="connsiteX2" fmla="*/ 913855 w 2786074"/>
                  <a:gd name="connsiteY2" fmla="*/ 1033 h 1225399"/>
                  <a:gd name="connsiteX3" fmla="*/ 1401001 w 2786074"/>
                  <a:gd name="connsiteY3" fmla="*/ 1024174 h 1225399"/>
                  <a:gd name="connsiteX4" fmla="*/ 2163019 w 2786074"/>
                  <a:gd name="connsiteY4" fmla="*/ 338897 h 1225399"/>
                  <a:gd name="connsiteX5" fmla="*/ 2423390 w 2786074"/>
                  <a:gd name="connsiteY5" fmla="*/ 233510 h 1225399"/>
                  <a:gd name="connsiteX6" fmla="*/ 2758079 w 2786074"/>
                  <a:gd name="connsiteY6" fmla="*/ 1020931 h 1225399"/>
                  <a:gd name="connsiteX7" fmla="*/ 1388602 w 2786074"/>
                  <a:gd name="connsiteY7" fmla="*/ 1225365 h 1225399"/>
                  <a:gd name="connsiteX8" fmla="*/ 37723 w 2786074"/>
                  <a:gd name="connsiteY8" fmla="*/ 1011632 h 1225399"/>
                  <a:gd name="connsiteX0" fmla="*/ 37723 w 2786074"/>
                  <a:gd name="connsiteY0" fmla="*/ 1059094 h 1272861"/>
                  <a:gd name="connsiteX1" fmla="*/ 380713 w 2786074"/>
                  <a:gd name="connsiteY1" fmla="*/ 287170 h 1272861"/>
                  <a:gd name="connsiteX2" fmla="*/ 913855 w 2786074"/>
                  <a:gd name="connsiteY2" fmla="*/ 48495 h 1272861"/>
                  <a:gd name="connsiteX3" fmla="*/ 1401001 w 2786074"/>
                  <a:gd name="connsiteY3" fmla="*/ 1071636 h 1272861"/>
                  <a:gd name="connsiteX4" fmla="*/ 1899548 w 2786074"/>
                  <a:gd name="connsiteY4" fmla="*/ 36097 h 1272861"/>
                  <a:gd name="connsiteX5" fmla="*/ 2423390 w 2786074"/>
                  <a:gd name="connsiteY5" fmla="*/ 280972 h 1272861"/>
                  <a:gd name="connsiteX6" fmla="*/ 2758079 w 2786074"/>
                  <a:gd name="connsiteY6" fmla="*/ 1068393 h 1272861"/>
                  <a:gd name="connsiteX7" fmla="*/ 1388602 w 2786074"/>
                  <a:gd name="connsiteY7" fmla="*/ 1272827 h 1272861"/>
                  <a:gd name="connsiteX8" fmla="*/ 37723 w 2786074"/>
                  <a:gd name="connsiteY8" fmla="*/ 1059094 h 1272861"/>
                  <a:gd name="connsiteX0" fmla="*/ 37723 w 2786074"/>
                  <a:gd name="connsiteY0" fmla="*/ 1022997 h 1236764"/>
                  <a:gd name="connsiteX1" fmla="*/ 380713 w 2786074"/>
                  <a:gd name="connsiteY1" fmla="*/ 251073 h 1236764"/>
                  <a:gd name="connsiteX2" fmla="*/ 913855 w 2786074"/>
                  <a:gd name="connsiteY2" fmla="*/ 12398 h 1236764"/>
                  <a:gd name="connsiteX3" fmla="*/ 1401001 w 2786074"/>
                  <a:gd name="connsiteY3" fmla="*/ 1035539 h 1236764"/>
                  <a:gd name="connsiteX4" fmla="*/ 1899548 w 2786074"/>
                  <a:gd name="connsiteY4" fmla="*/ 0 h 1236764"/>
                  <a:gd name="connsiteX5" fmla="*/ 2423390 w 2786074"/>
                  <a:gd name="connsiteY5" fmla="*/ 244875 h 1236764"/>
                  <a:gd name="connsiteX6" fmla="*/ 2758079 w 2786074"/>
                  <a:gd name="connsiteY6" fmla="*/ 1032296 h 1236764"/>
                  <a:gd name="connsiteX7" fmla="*/ 1388602 w 2786074"/>
                  <a:gd name="connsiteY7" fmla="*/ 1236730 h 1236764"/>
                  <a:gd name="connsiteX8" fmla="*/ 37723 w 2786074"/>
                  <a:gd name="connsiteY8" fmla="*/ 1022997 h 1236764"/>
                  <a:gd name="connsiteX0" fmla="*/ 37723 w 2786074"/>
                  <a:gd name="connsiteY0" fmla="*/ 1022997 h 1236764"/>
                  <a:gd name="connsiteX1" fmla="*/ 380713 w 2786074"/>
                  <a:gd name="connsiteY1" fmla="*/ 251073 h 1236764"/>
                  <a:gd name="connsiteX2" fmla="*/ 913855 w 2786074"/>
                  <a:gd name="connsiteY2" fmla="*/ 12398 h 1236764"/>
                  <a:gd name="connsiteX3" fmla="*/ 1401001 w 2786074"/>
                  <a:gd name="connsiteY3" fmla="*/ 1035539 h 1236764"/>
                  <a:gd name="connsiteX4" fmla="*/ 1899548 w 2786074"/>
                  <a:gd name="connsiteY4" fmla="*/ 0 h 1236764"/>
                  <a:gd name="connsiteX5" fmla="*/ 2423390 w 2786074"/>
                  <a:gd name="connsiteY5" fmla="*/ 244875 h 1236764"/>
                  <a:gd name="connsiteX6" fmla="*/ 2758079 w 2786074"/>
                  <a:gd name="connsiteY6" fmla="*/ 1032296 h 1236764"/>
                  <a:gd name="connsiteX7" fmla="*/ 1388602 w 2786074"/>
                  <a:gd name="connsiteY7" fmla="*/ 1236730 h 1236764"/>
                  <a:gd name="connsiteX8" fmla="*/ 37723 w 2786074"/>
                  <a:gd name="connsiteY8" fmla="*/ 1022997 h 1236764"/>
                  <a:gd name="connsiteX0" fmla="*/ 37723 w 2786074"/>
                  <a:gd name="connsiteY0" fmla="*/ 1022997 h 1236764"/>
                  <a:gd name="connsiteX1" fmla="*/ 380713 w 2786074"/>
                  <a:gd name="connsiteY1" fmla="*/ 251073 h 1236764"/>
                  <a:gd name="connsiteX2" fmla="*/ 913855 w 2786074"/>
                  <a:gd name="connsiteY2" fmla="*/ 12398 h 1236764"/>
                  <a:gd name="connsiteX3" fmla="*/ 1401001 w 2786074"/>
                  <a:gd name="connsiteY3" fmla="*/ 1035539 h 1236764"/>
                  <a:gd name="connsiteX4" fmla="*/ 1899548 w 2786074"/>
                  <a:gd name="connsiteY4" fmla="*/ 0 h 1236764"/>
                  <a:gd name="connsiteX5" fmla="*/ 2423390 w 2786074"/>
                  <a:gd name="connsiteY5" fmla="*/ 244875 h 1236764"/>
                  <a:gd name="connsiteX6" fmla="*/ 2758079 w 2786074"/>
                  <a:gd name="connsiteY6" fmla="*/ 1032296 h 1236764"/>
                  <a:gd name="connsiteX7" fmla="*/ 1388602 w 2786074"/>
                  <a:gd name="connsiteY7" fmla="*/ 1236730 h 1236764"/>
                  <a:gd name="connsiteX8" fmla="*/ 37723 w 2786074"/>
                  <a:gd name="connsiteY8" fmla="*/ 1022997 h 1236764"/>
                  <a:gd name="connsiteX0" fmla="*/ 37723 w 2786074"/>
                  <a:gd name="connsiteY0" fmla="*/ 1022997 h 1236764"/>
                  <a:gd name="connsiteX1" fmla="*/ 380713 w 2786074"/>
                  <a:gd name="connsiteY1" fmla="*/ 251073 h 1236764"/>
                  <a:gd name="connsiteX2" fmla="*/ 913855 w 2786074"/>
                  <a:gd name="connsiteY2" fmla="*/ 12398 h 1236764"/>
                  <a:gd name="connsiteX3" fmla="*/ 1401001 w 2786074"/>
                  <a:gd name="connsiteY3" fmla="*/ 1035539 h 1236764"/>
                  <a:gd name="connsiteX4" fmla="*/ 1899548 w 2786074"/>
                  <a:gd name="connsiteY4" fmla="*/ 0 h 1236764"/>
                  <a:gd name="connsiteX5" fmla="*/ 2423390 w 2786074"/>
                  <a:gd name="connsiteY5" fmla="*/ 244875 h 1236764"/>
                  <a:gd name="connsiteX6" fmla="*/ 2758079 w 2786074"/>
                  <a:gd name="connsiteY6" fmla="*/ 1032296 h 1236764"/>
                  <a:gd name="connsiteX7" fmla="*/ 1388602 w 2786074"/>
                  <a:gd name="connsiteY7" fmla="*/ 1236730 h 1236764"/>
                  <a:gd name="connsiteX8" fmla="*/ 37723 w 2786074"/>
                  <a:gd name="connsiteY8" fmla="*/ 1022997 h 1236764"/>
                  <a:gd name="connsiteX0" fmla="*/ 37723 w 2786074"/>
                  <a:gd name="connsiteY0" fmla="*/ 1022997 h 1236764"/>
                  <a:gd name="connsiteX1" fmla="*/ 380713 w 2786074"/>
                  <a:gd name="connsiteY1" fmla="*/ 251073 h 1236764"/>
                  <a:gd name="connsiteX2" fmla="*/ 913855 w 2786074"/>
                  <a:gd name="connsiteY2" fmla="*/ 12398 h 1236764"/>
                  <a:gd name="connsiteX3" fmla="*/ 1413400 w 2786074"/>
                  <a:gd name="connsiteY3" fmla="*/ 1060337 h 1236764"/>
                  <a:gd name="connsiteX4" fmla="*/ 1899548 w 2786074"/>
                  <a:gd name="connsiteY4" fmla="*/ 0 h 1236764"/>
                  <a:gd name="connsiteX5" fmla="*/ 2423390 w 2786074"/>
                  <a:gd name="connsiteY5" fmla="*/ 244875 h 1236764"/>
                  <a:gd name="connsiteX6" fmla="*/ 2758079 w 2786074"/>
                  <a:gd name="connsiteY6" fmla="*/ 1032296 h 1236764"/>
                  <a:gd name="connsiteX7" fmla="*/ 1388602 w 2786074"/>
                  <a:gd name="connsiteY7" fmla="*/ 1236730 h 1236764"/>
                  <a:gd name="connsiteX8" fmla="*/ 37723 w 2786074"/>
                  <a:gd name="connsiteY8" fmla="*/ 1022997 h 1236764"/>
                  <a:gd name="connsiteX0" fmla="*/ 37723 w 2790021"/>
                  <a:gd name="connsiteY0" fmla="*/ 1022997 h 1236764"/>
                  <a:gd name="connsiteX1" fmla="*/ 380713 w 2790021"/>
                  <a:gd name="connsiteY1" fmla="*/ 251073 h 1236764"/>
                  <a:gd name="connsiteX2" fmla="*/ 913855 w 2790021"/>
                  <a:gd name="connsiteY2" fmla="*/ 12398 h 1236764"/>
                  <a:gd name="connsiteX3" fmla="*/ 1413400 w 2790021"/>
                  <a:gd name="connsiteY3" fmla="*/ 1060337 h 1236764"/>
                  <a:gd name="connsiteX4" fmla="*/ 1899548 w 2790021"/>
                  <a:gd name="connsiteY4" fmla="*/ 0 h 1236764"/>
                  <a:gd name="connsiteX5" fmla="*/ 2423390 w 2790021"/>
                  <a:gd name="connsiteY5" fmla="*/ 244875 h 1236764"/>
                  <a:gd name="connsiteX6" fmla="*/ 2758079 w 2790021"/>
                  <a:gd name="connsiteY6" fmla="*/ 1032296 h 1236764"/>
                  <a:gd name="connsiteX7" fmla="*/ 1388602 w 2790021"/>
                  <a:gd name="connsiteY7" fmla="*/ 1236730 h 1236764"/>
                  <a:gd name="connsiteX8" fmla="*/ 37723 w 2790021"/>
                  <a:gd name="connsiteY8" fmla="*/ 1022997 h 1236764"/>
                  <a:gd name="connsiteX0" fmla="*/ 37723 w 2790021"/>
                  <a:gd name="connsiteY0" fmla="*/ 1022997 h 1236764"/>
                  <a:gd name="connsiteX1" fmla="*/ 380713 w 2790021"/>
                  <a:gd name="connsiteY1" fmla="*/ 251073 h 1236764"/>
                  <a:gd name="connsiteX2" fmla="*/ 913855 w 2790021"/>
                  <a:gd name="connsiteY2" fmla="*/ 12398 h 1236764"/>
                  <a:gd name="connsiteX3" fmla="*/ 1413400 w 2790021"/>
                  <a:gd name="connsiteY3" fmla="*/ 1060337 h 1236764"/>
                  <a:gd name="connsiteX4" fmla="*/ 1899548 w 2790021"/>
                  <a:gd name="connsiteY4" fmla="*/ 0 h 1236764"/>
                  <a:gd name="connsiteX5" fmla="*/ 2423390 w 2790021"/>
                  <a:gd name="connsiteY5" fmla="*/ 244875 h 1236764"/>
                  <a:gd name="connsiteX6" fmla="*/ 2758079 w 2790021"/>
                  <a:gd name="connsiteY6" fmla="*/ 1032296 h 1236764"/>
                  <a:gd name="connsiteX7" fmla="*/ 1388602 w 2790021"/>
                  <a:gd name="connsiteY7" fmla="*/ 1236730 h 1236764"/>
                  <a:gd name="connsiteX8" fmla="*/ 37723 w 2790021"/>
                  <a:gd name="connsiteY8" fmla="*/ 1022997 h 1236764"/>
                  <a:gd name="connsiteX0" fmla="*/ 37723 w 2790748"/>
                  <a:gd name="connsiteY0" fmla="*/ 1022997 h 1236764"/>
                  <a:gd name="connsiteX1" fmla="*/ 380713 w 2790748"/>
                  <a:gd name="connsiteY1" fmla="*/ 251073 h 1236764"/>
                  <a:gd name="connsiteX2" fmla="*/ 913855 w 2790748"/>
                  <a:gd name="connsiteY2" fmla="*/ 12398 h 1236764"/>
                  <a:gd name="connsiteX3" fmla="*/ 1413400 w 2790748"/>
                  <a:gd name="connsiteY3" fmla="*/ 1060337 h 1236764"/>
                  <a:gd name="connsiteX4" fmla="*/ 1899548 w 2790748"/>
                  <a:gd name="connsiteY4" fmla="*/ 0 h 1236764"/>
                  <a:gd name="connsiteX5" fmla="*/ 2432689 w 2790748"/>
                  <a:gd name="connsiteY5" fmla="*/ 244875 h 1236764"/>
                  <a:gd name="connsiteX6" fmla="*/ 2758079 w 2790748"/>
                  <a:gd name="connsiteY6" fmla="*/ 1032296 h 1236764"/>
                  <a:gd name="connsiteX7" fmla="*/ 1388602 w 2790748"/>
                  <a:gd name="connsiteY7" fmla="*/ 1236730 h 1236764"/>
                  <a:gd name="connsiteX8" fmla="*/ 37723 w 2790748"/>
                  <a:gd name="connsiteY8" fmla="*/ 1022997 h 1236764"/>
                  <a:gd name="connsiteX0" fmla="*/ 37723 w 2796018"/>
                  <a:gd name="connsiteY0" fmla="*/ 1022997 h 1236764"/>
                  <a:gd name="connsiteX1" fmla="*/ 380713 w 2796018"/>
                  <a:gd name="connsiteY1" fmla="*/ 251073 h 1236764"/>
                  <a:gd name="connsiteX2" fmla="*/ 913855 w 2796018"/>
                  <a:gd name="connsiteY2" fmla="*/ 12398 h 1236764"/>
                  <a:gd name="connsiteX3" fmla="*/ 1413400 w 2796018"/>
                  <a:gd name="connsiteY3" fmla="*/ 1060337 h 1236764"/>
                  <a:gd name="connsiteX4" fmla="*/ 1899548 w 2796018"/>
                  <a:gd name="connsiteY4" fmla="*/ 0 h 1236764"/>
                  <a:gd name="connsiteX5" fmla="*/ 2432689 w 2796018"/>
                  <a:gd name="connsiteY5" fmla="*/ 244875 h 1236764"/>
                  <a:gd name="connsiteX6" fmla="*/ 2758079 w 2796018"/>
                  <a:gd name="connsiteY6" fmla="*/ 1032296 h 1236764"/>
                  <a:gd name="connsiteX7" fmla="*/ 1388602 w 2796018"/>
                  <a:gd name="connsiteY7" fmla="*/ 1236730 h 1236764"/>
                  <a:gd name="connsiteX8" fmla="*/ 37723 w 2796018"/>
                  <a:gd name="connsiteY8" fmla="*/ 1022997 h 1236764"/>
                  <a:gd name="connsiteX0" fmla="*/ 37723 w 2796018"/>
                  <a:gd name="connsiteY0" fmla="*/ 1022997 h 1236764"/>
                  <a:gd name="connsiteX1" fmla="*/ 380713 w 2796018"/>
                  <a:gd name="connsiteY1" fmla="*/ 251073 h 1236764"/>
                  <a:gd name="connsiteX2" fmla="*/ 913855 w 2796018"/>
                  <a:gd name="connsiteY2" fmla="*/ 12398 h 1236764"/>
                  <a:gd name="connsiteX3" fmla="*/ 1413400 w 2796018"/>
                  <a:gd name="connsiteY3" fmla="*/ 1060337 h 1236764"/>
                  <a:gd name="connsiteX4" fmla="*/ 1899548 w 2796018"/>
                  <a:gd name="connsiteY4" fmla="*/ 0 h 1236764"/>
                  <a:gd name="connsiteX5" fmla="*/ 2432689 w 2796018"/>
                  <a:gd name="connsiteY5" fmla="*/ 244875 h 1236764"/>
                  <a:gd name="connsiteX6" fmla="*/ 2758079 w 2796018"/>
                  <a:gd name="connsiteY6" fmla="*/ 1032296 h 1236764"/>
                  <a:gd name="connsiteX7" fmla="*/ 1388602 w 2796018"/>
                  <a:gd name="connsiteY7" fmla="*/ 1236730 h 1236764"/>
                  <a:gd name="connsiteX8" fmla="*/ 37723 w 2796018"/>
                  <a:gd name="connsiteY8" fmla="*/ 1022997 h 1236764"/>
                  <a:gd name="connsiteX0" fmla="*/ 37723 w 2796018"/>
                  <a:gd name="connsiteY0" fmla="*/ 1022997 h 1236764"/>
                  <a:gd name="connsiteX1" fmla="*/ 380713 w 2796018"/>
                  <a:gd name="connsiteY1" fmla="*/ 251073 h 1236764"/>
                  <a:gd name="connsiteX2" fmla="*/ 913855 w 2796018"/>
                  <a:gd name="connsiteY2" fmla="*/ 12398 h 1236764"/>
                  <a:gd name="connsiteX3" fmla="*/ 1413400 w 2796018"/>
                  <a:gd name="connsiteY3" fmla="*/ 1060337 h 1236764"/>
                  <a:gd name="connsiteX4" fmla="*/ 1899548 w 2796018"/>
                  <a:gd name="connsiteY4" fmla="*/ 0 h 1236764"/>
                  <a:gd name="connsiteX5" fmla="*/ 2432689 w 2796018"/>
                  <a:gd name="connsiteY5" fmla="*/ 244875 h 1236764"/>
                  <a:gd name="connsiteX6" fmla="*/ 2758079 w 2796018"/>
                  <a:gd name="connsiteY6" fmla="*/ 1032296 h 1236764"/>
                  <a:gd name="connsiteX7" fmla="*/ 1388602 w 2796018"/>
                  <a:gd name="connsiteY7" fmla="*/ 1236730 h 1236764"/>
                  <a:gd name="connsiteX8" fmla="*/ 37723 w 2796018"/>
                  <a:gd name="connsiteY8" fmla="*/ 1022997 h 1236764"/>
                  <a:gd name="connsiteX0" fmla="*/ 37723 w 2796018"/>
                  <a:gd name="connsiteY0" fmla="*/ 1022997 h 1236764"/>
                  <a:gd name="connsiteX1" fmla="*/ 380713 w 2796018"/>
                  <a:gd name="connsiteY1" fmla="*/ 251073 h 1236764"/>
                  <a:gd name="connsiteX2" fmla="*/ 913855 w 2796018"/>
                  <a:gd name="connsiteY2" fmla="*/ 12398 h 1236764"/>
                  <a:gd name="connsiteX3" fmla="*/ 1406576 w 2796018"/>
                  <a:gd name="connsiteY3" fmla="*/ 1076715 h 1236764"/>
                  <a:gd name="connsiteX4" fmla="*/ 1899548 w 2796018"/>
                  <a:gd name="connsiteY4" fmla="*/ 0 h 1236764"/>
                  <a:gd name="connsiteX5" fmla="*/ 2432689 w 2796018"/>
                  <a:gd name="connsiteY5" fmla="*/ 244875 h 1236764"/>
                  <a:gd name="connsiteX6" fmla="*/ 2758079 w 2796018"/>
                  <a:gd name="connsiteY6" fmla="*/ 1032296 h 1236764"/>
                  <a:gd name="connsiteX7" fmla="*/ 1388602 w 2796018"/>
                  <a:gd name="connsiteY7" fmla="*/ 1236730 h 1236764"/>
                  <a:gd name="connsiteX8" fmla="*/ 37723 w 2796018"/>
                  <a:gd name="connsiteY8" fmla="*/ 1022997 h 1236764"/>
                  <a:gd name="connsiteX0" fmla="*/ 37723 w 2796018"/>
                  <a:gd name="connsiteY0" fmla="*/ 1022997 h 1242681"/>
                  <a:gd name="connsiteX1" fmla="*/ 380713 w 2796018"/>
                  <a:gd name="connsiteY1" fmla="*/ 251073 h 1242681"/>
                  <a:gd name="connsiteX2" fmla="*/ 913855 w 2796018"/>
                  <a:gd name="connsiteY2" fmla="*/ 12398 h 1242681"/>
                  <a:gd name="connsiteX3" fmla="*/ 1406576 w 2796018"/>
                  <a:gd name="connsiteY3" fmla="*/ 1076715 h 1242681"/>
                  <a:gd name="connsiteX4" fmla="*/ 1899548 w 2796018"/>
                  <a:gd name="connsiteY4" fmla="*/ 0 h 1242681"/>
                  <a:gd name="connsiteX5" fmla="*/ 2432689 w 2796018"/>
                  <a:gd name="connsiteY5" fmla="*/ 244875 h 1242681"/>
                  <a:gd name="connsiteX6" fmla="*/ 2758079 w 2796018"/>
                  <a:gd name="connsiteY6" fmla="*/ 1032296 h 1242681"/>
                  <a:gd name="connsiteX7" fmla="*/ 1388602 w 2796018"/>
                  <a:gd name="connsiteY7" fmla="*/ 1236730 h 1242681"/>
                  <a:gd name="connsiteX8" fmla="*/ 37723 w 2796018"/>
                  <a:gd name="connsiteY8" fmla="*/ 1022997 h 1242681"/>
                  <a:gd name="connsiteX0" fmla="*/ 37723 w 2796018"/>
                  <a:gd name="connsiteY0" fmla="*/ 1022997 h 1236730"/>
                  <a:gd name="connsiteX1" fmla="*/ 380713 w 2796018"/>
                  <a:gd name="connsiteY1" fmla="*/ 251073 h 1236730"/>
                  <a:gd name="connsiteX2" fmla="*/ 913855 w 2796018"/>
                  <a:gd name="connsiteY2" fmla="*/ 12398 h 1236730"/>
                  <a:gd name="connsiteX3" fmla="*/ 1406576 w 2796018"/>
                  <a:gd name="connsiteY3" fmla="*/ 1076715 h 1236730"/>
                  <a:gd name="connsiteX4" fmla="*/ 1899548 w 2796018"/>
                  <a:gd name="connsiteY4" fmla="*/ 0 h 1236730"/>
                  <a:gd name="connsiteX5" fmla="*/ 2432689 w 2796018"/>
                  <a:gd name="connsiteY5" fmla="*/ 244875 h 1236730"/>
                  <a:gd name="connsiteX6" fmla="*/ 2758079 w 2796018"/>
                  <a:gd name="connsiteY6" fmla="*/ 1032296 h 1236730"/>
                  <a:gd name="connsiteX7" fmla="*/ 1388602 w 2796018"/>
                  <a:gd name="connsiteY7" fmla="*/ 1236730 h 1236730"/>
                  <a:gd name="connsiteX8" fmla="*/ 37723 w 2796018"/>
                  <a:gd name="connsiteY8" fmla="*/ 1022997 h 1236730"/>
                  <a:gd name="connsiteX0" fmla="*/ 37723 w 2796018"/>
                  <a:gd name="connsiteY0" fmla="*/ 1022997 h 1237125"/>
                  <a:gd name="connsiteX1" fmla="*/ 380713 w 2796018"/>
                  <a:gd name="connsiteY1" fmla="*/ 251073 h 1237125"/>
                  <a:gd name="connsiteX2" fmla="*/ 913855 w 2796018"/>
                  <a:gd name="connsiteY2" fmla="*/ 12398 h 1237125"/>
                  <a:gd name="connsiteX3" fmla="*/ 1406576 w 2796018"/>
                  <a:gd name="connsiteY3" fmla="*/ 1076715 h 1237125"/>
                  <a:gd name="connsiteX4" fmla="*/ 1899548 w 2796018"/>
                  <a:gd name="connsiteY4" fmla="*/ 0 h 1237125"/>
                  <a:gd name="connsiteX5" fmla="*/ 2432689 w 2796018"/>
                  <a:gd name="connsiteY5" fmla="*/ 244875 h 1237125"/>
                  <a:gd name="connsiteX6" fmla="*/ 2758079 w 2796018"/>
                  <a:gd name="connsiteY6" fmla="*/ 1032296 h 1237125"/>
                  <a:gd name="connsiteX7" fmla="*/ 1388602 w 2796018"/>
                  <a:gd name="connsiteY7" fmla="*/ 1236730 h 1237125"/>
                  <a:gd name="connsiteX8" fmla="*/ 37723 w 2796018"/>
                  <a:gd name="connsiteY8" fmla="*/ 1022997 h 1237125"/>
                  <a:gd name="connsiteX0" fmla="*/ 36243 w 2809965"/>
                  <a:gd name="connsiteY0" fmla="*/ 1031412 h 1236730"/>
                  <a:gd name="connsiteX1" fmla="*/ 394660 w 2809965"/>
                  <a:gd name="connsiteY1" fmla="*/ 251073 h 1236730"/>
                  <a:gd name="connsiteX2" fmla="*/ 927802 w 2809965"/>
                  <a:gd name="connsiteY2" fmla="*/ 12398 h 1236730"/>
                  <a:gd name="connsiteX3" fmla="*/ 1420523 w 2809965"/>
                  <a:gd name="connsiteY3" fmla="*/ 1076715 h 1236730"/>
                  <a:gd name="connsiteX4" fmla="*/ 1913495 w 2809965"/>
                  <a:gd name="connsiteY4" fmla="*/ 0 h 1236730"/>
                  <a:gd name="connsiteX5" fmla="*/ 2446636 w 2809965"/>
                  <a:gd name="connsiteY5" fmla="*/ 244875 h 1236730"/>
                  <a:gd name="connsiteX6" fmla="*/ 2772026 w 2809965"/>
                  <a:gd name="connsiteY6" fmla="*/ 1032296 h 1236730"/>
                  <a:gd name="connsiteX7" fmla="*/ 1402549 w 2809965"/>
                  <a:gd name="connsiteY7" fmla="*/ 1236730 h 1236730"/>
                  <a:gd name="connsiteX8" fmla="*/ 36243 w 2809965"/>
                  <a:gd name="connsiteY8" fmla="*/ 1031412 h 1236730"/>
                  <a:gd name="connsiteX0" fmla="*/ 36802 w 2804567"/>
                  <a:gd name="connsiteY0" fmla="*/ 1031412 h 1236730"/>
                  <a:gd name="connsiteX1" fmla="*/ 389262 w 2804567"/>
                  <a:gd name="connsiteY1" fmla="*/ 251073 h 1236730"/>
                  <a:gd name="connsiteX2" fmla="*/ 922404 w 2804567"/>
                  <a:gd name="connsiteY2" fmla="*/ 12398 h 1236730"/>
                  <a:gd name="connsiteX3" fmla="*/ 1415125 w 2804567"/>
                  <a:gd name="connsiteY3" fmla="*/ 1076715 h 1236730"/>
                  <a:gd name="connsiteX4" fmla="*/ 1908097 w 2804567"/>
                  <a:gd name="connsiteY4" fmla="*/ 0 h 1236730"/>
                  <a:gd name="connsiteX5" fmla="*/ 2441238 w 2804567"/>
                  <a:gd name="connsiteY5" fmla="*/ 244875 h 1236730"/>
                  <a:gd name="connsiteX6" fmla="*/ 2766628 w 2804567"/>
                  <a:gd name="connsiteY6" fmla="*/ 1032296 h 1236730"/>
                  <a:gd name="connsiteX7" fmla="*/ 1397151 w 2804567"/>
                  <a:gd name="connsiteY7" fmla="*/ 1236730 h 1236730"/>
                  <a:gd name="connsiteX8" fmla="*/ 36802 w 2804567"/>
                  <a:gd name="connsiteY8" fmla="*/ 1031412 h 1236730"/>
                  <a:gd name="connsiteX0" fmla="*/ 24375 w 2792140"/>
                  <a:gd name="connsiteY0" fmla="*/ 1031412 h 1236766"/>
                  <a:gd name="connsiteX1" fmla="*/ 376835 w 2792140"/>
                  <a:gd name="connsiteY1" fmla="*/ 251073 h 1236766"/>
                  <a:gd name="connsiteX2" fmla="*/ 909977 w 2792140"/>
                  <a:gd name="connsiteY2" fmla="*/ 12398 h 1236766"/>
                  <a:gd name="connsiteX3" fmla="*/ 1402698 w 2792140"/>
                  <a:gd name="connsiteY3" fmla="*/ 1076715 h 1236766"/>
                  <a:gd name="connsiteX4" fmla="*/ 1895670 w 2792140"/>
                  <a:gd name="connsiteY4" fmla="*/ 0 h 1236766"/>
                  <a:gd name="connsiteX5" fmla="*/ 2428811 w 2792140"/>
                  <a:gd name="connsiteY5" fmla="*/ 244875 h 1236766"/>
                  <a:gd name="connsiteX6" fmla="*/ 2754201 w 2792140"/>
                  <a:gd name="connsiteY6" fmla="*/ 1032296 h 1236766"/>
                  <a:gd name="connsiteX7" fmla="*/ 1384724 w 2792140"/>
                  <a:gd name="connsiteY7" fmla="*/ 1236730 h 1236766"/>
                  <a:gd name="connsiteX8" fmla="*/ 24375 w 2792140"/>
                  <a:gd name="connsiteY8" fmla="*/ 1031412 h 1236766"/>
                  <a:gd name="connsiteX0" fmla="*/ 24375 w 2792140"/>
                  <a:gd name="connsiteY0" fmla="*/ 1031412 h 1236730"/>
                  <a:gd name="connsiteX1" fmla="*/ 376835 w 2792140"/>
                  <a:gd name="connsiteY1" fmla="*/ 251073 h 1236730"/>
                  <a:gd name="connsiteX2" fmla="*/ 909977 w 2792140"/>
                  <a:gd name="connsiteY2" fmla="*/ 12398 h 1236730"/>
                  <a:gd name="connsiteX3" fmla="*/ 1402698 w 2792140"/>
                  <a:gd name="connsiteY3" fmla="*/ 1076715 h 1236730"/>
                  <a:gd name="connsiteX4" fmla="*/ 1895670 w 2792140"/>
                  <a:gd name="connsiteY4" fmla="*/ 0 h 1236730"/>
                  <a:gd name="connsiteX5" fmla="*/ 2428811 w 2792140"/>
                  <a:gd name="connsiteY5" fmla="*/ 244875 h 1236730"/>
                  <a:gd name="connsiteX6" fmla="*/ 2754201 w 2792140"/>
                  <a:gd name="connsiteY6" fmla="*/ 1032296 h 1236730"/>
                  <a:gd name="connsiteX7" fmla="*/ 1384724 w 2792140"/>
                  <a:gd name="connsiteY7" fmla="*/ 1236730 h 1236730"/>
                  <a:gd name="connsiteX8" fmla="*/ 24375 w 2792140"/>
                  <a:gd name="connsiteY8" fmla="*/ 1031412 h 1236730"/>
                  <a:gd name="connsiteX0" fmla="*/ 24375 w 2792140"/>
                  <a:gd name="connsiteY0" fmla="*/ 1031412 h 1236730"/>
                  <a:gd name="connsiteX1" fmla="*/ 376835 w 2792140"/>
                  <a:gd name="connsiteY1" fmla="*/ 251073 h 1236730"/>
                  <a:gd name="connsiteX2" fmla="*/ 909977 w 2792140"/>
                  <a:gd name="connsiteY2" fmla="*/ 12398 h 1236730"/>
                  <a:gd name="connsiteX3" fmla="*/ 1402698 w 2792140"/>
                  <a:gd name="connsiteY3" fmla="*/ 1076715 h 1236730"/>
                  <a:gd name="connsiteX4" fmla="*/ 1895670 w 2792140"/>
                  <a:gd name="connsiteY4" fmla="*/ 0 h 1236730"/>
                  <a:gd name="connsiteX5" fmla="*/ 2428811 w 2792140"/>
                  <a:gd name="connsiteY5" fmla="*/ 244875 h 1236730"/>
                  <a:gd name="connsiteX6" fmla="*/ 2754201 w 2792140"/>
                  <a:gd name="connsiteY6" fmla="*/ 1032296 h 1236730"/>
                  <a:gd name="connsiteX7" fmla="*/ 1384724 w 2792140"/>
                  <a:gd name="connsiteY7" fmla="*/ 1236730 h 1236730"/>
                  <a:gd name="connsiteX8" fmla="*/ 24375 w 2792140"/>
                  <a:gd name="connsiteY8" fmla="*/ 1031412 h 1236730"/>
                  <a:gd name="connsiteX0" fmla="*/ 24375 w 2792140"/>
                  <a:gd name="connsiteY0" fmla="*/ 1031412 h 1236730"/>
                  <a:gd name="connsiteX1" fmla="*/ 376835 w 2792140"/>
                  <a:gd name="connsiteY1" fmla="*/ 251073 h 1236730"/>
                  <a:gd name="connsiteX2" fmla="*/ 909977 w 2792140"/>
                  <a:gd name="connsiteY2" fmla="*/ 12398 h 1236730"/>
                  <a:gd name="connsiteX3" fmla="*/ 1402698 w 2792140"/>
                  <a:gd name="connsiteY3" fmla="*/ 1076715 h 1236730"/>
                  <a:gd name="connsiteX4" fmla="*/ 1895670 w 2792140"/>
                  <a:gd name="connsiteY4" fmla="*/ 0 h 1236730"/>
                  <a:gd name="connsiteX5" fmla="*/ 2428811 w 2792140"/>
                  <a:gd name="connsiteY5" fmla="*/ 244875 h 1236730"/>
                  <a:gd name="connsiteX6" fmla="*/ 2754201 w 2792140"/>
                  <a:gd name="connsiteY6" fmla="*/ 1032296 h 1236730"/>
                  <a:gd name="connsiteX7" fmla="*/ 1384724 w 2792140"/>
                  <a:gd name="connsiteY7" fmla="*/ 1236730 h 1236730"/>
                  <a:gd name="connsiteX8" fmla="*/ 24375 w 2792140"/>
                  <a:gd name="connsiteY8" fmla="*/ 1031412 h 1236730"/>
                  <a:gd name="connsiteX0" fmla="*/ 23490 w 2803406"/>
                  <a:gd name="connsiteY0" fmla="*/ 1037488 h 1236744"/>
                  <a:gd name="connsiteX1" fmla="*/ 388101 w 2803406"/>
                  <a:gd name="connsiteY1" fmla="*/ 251073 h 1236744"/>
                  <a:gd name="connsiteX2" fmla="*/ 921243 w 2803406"/>
                  <a:gd name="connsiteY2" fmla="*/ 12398 h 1236744"/>
                  <a:gd name="connsiteX3" fmla="*/ 1413964 w 2803406"/>
                  <a:gd name="connsiteY3" fmla="*/ 1076715 h 1236744"/>
                  <a:gd name="connsiteX4" fmla="*/ 1906936 w 2803406"/>
                  <a:gd name="connsiteY4" fmla="*/ 0 h 1236744"/>
                  <a:gd name="connsiteX5" fmla="*/ 2440077 w 2803406"/>
                  <a:gd name="connsiteY5" fmla="*/ 244875 h 1236744"/>
                  <a:gd name="connsiteX6" fmla="*/ 2765467 w 2803406"/>
                  <a:gd name="connsiteY6" fmla="*/ 1032296 h 1236744"/>
                  <a:gd name="connsiteX7" fmla="*/ 1395990 w 2803406"/>
                  <a:gd name="connsiteY7" fmla="*/ 1236730 h 1236744"/>
                  <a:gd name="connsiteX8" fmla="*/ 23490 w 2803406"/>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16055 w 2805497"/>
                  <a:gd name="connsiteY3" fmla="*/ 1076715 h 1236744"/>
                  <a:gd name="connsiteX4" fmla="*/ 1909027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16055 w 2805497"/>
                  <a:gd name="connsiteY3" fmla="*/ 1076715 h 1236744"/>
                  <a:gd name="connsiteX4" fmla="*/ 1886449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16055 w 2805497"/>
                  <a:gd name="connsiteY3" fmla="*/ 1076715 h 1236744"/>
                  <a:gd name="connsiteX4" fmla="*/ 1886449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16055 w 2805497"/>
                  <a:gd name="connsiteY3" fmla="*/ 1076715 h 1236744"/>
                  <a:gd name="connsiteX4" fmla="*/ 1886449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16055 w 2805497"/>
                  <a:gd name="connsiteY3" fmla="*/ 1076715 h 1236744"/>
                  <a:gd name="connsiteX4" fmla="*/ 1886449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16055 w 2805497"/>
                  <a:gd name="connsiteY3" fmla="*/ 1076715 h 1236744"/>
                  <a:gd name="connsiteX4" fmla="*/ 1886449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57614 w 2805497"/>
                  <a:gd name="connsiteY3" fmla="*/ 494854 h 1236744"/>
                  <a:gd name="connsiteX4" fmla="*/ 1886449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57614 w 2805497"/>
                  <a:gd name="connsiteY3" fmla="*/ 494854 h 1236744"/>
                  <a:gd name="connsiteX4" fmla="*/ 1886449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5497" h="1236744">
                    <a:moveTo>
                      <a:pt x="25581" y="1037488"/>
                    </a:moveTo>
                    <a:cubicBezTo>
                      <a:pt x="-80126" y="786039"/>
                      <a:pt x="161429" y="403966"/>
                      <a:pt x="390192" y="251073"/>
                    </a:cubicBezTo>
                    <a:cubicBezTo>
                      <a:pt x="648835" y="116737"/>
                      <a:pt x="777567" y="102763"/>
                      <a:pt x="923334" y="12398"/>
                    </a:cubicBezTo>
                    <a:cubicBezTo>
                      <a:pt x="1024970" y="405207"/>
                      <a:pt x="982805" y="470379"/>
                      <a:pt x="1457614" y="494854"/>
                    </a:cubicBezTo>
                    <a:cubicBezTo>
                      <a:pt x="1932423" y="519329"/>
                      <a:pt x="1828663" y="320698"/>
                      <a:pt x="1886449" y="0"/>
                    </a:cubicBezTo>
                    <a:cubicBezTo>
                      <a:pt x="2010352" y="85200"/>
                      <a:pt x="2287197" y="137403"/>
                      <a:pt x="2442168" y="244875"/>
                    </a:cubicBezTo>
                    <a:cubicBezTo>
                      <a:pt x="2665331" y="374046"/>
                      <a:pt x="2898694" y="876286"/>
                      <a:pt x="2767558" y="1032296"/>
                    </a:cubicBezTo>
                    <a:cubicBezTo>
                      <a:pt x="2636422" y="1188306"/>
                      <a:pt x="1855077" y="1235865"/>
                      <a:pt x="1398081" y="1236730"/>
                    </a:cubicBezTo>
                    <a:cubicBezTo>
                      <a:pt x="941085" y="1237595"/>
                      <a:pt x="386468" y="1200839"/>
                      <a:pt x="25581" y="1037488"/>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8" name="Oval 127">
                <a:extLst>
                  <a:ext uri="{FF2B5EF4-FFF2-40B4-BE49-F238E27FC236}">
                    <a16:creationId xmlns:a16="http://schemas.microsoft.com/office/drawing/2014/main" id="{48B56220-7F63-4F03-881D-8B802EA5ED66}"/>
                  </a:ext>
                </a:extLst>
              </p:cNvPr>
              <p:cNvSpPr/>
              <p:nvPr/>
            </p:nvSpPr>
            <p:spPr>
              <a:xfrm>
                <a:off x="213255" y="1835886"/>
                <a:ext cx="115498" cy="11756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0" name="Group 99">
              <a:extLst>
                <a:ext uri="{FF2B5EF4-FFF2-40B4-BE49-F238E27FC236}">
                  <a16:creationId xmlns:a16="http://schemas.microsoft.com/office/drawing/2014/main" id="{38A3CF97-9FEB-43F0-93B2-2EB9856F546A}"/>
                </a:ext>
              </a:extLst>
            </p:cNvPr>
            <p:cNvGrpSpPr/>
            <p:nvPr/>
          </p:nvGrpSpPr>
          <p:grpSpPr>
            <a:xfrm>
              <a:off x="4019391" y="1325161"/>
              <a:ext cx="301817" cy="346085"/>
              <a:chOff x="4276867" y="1469488"/>
              <a:chExt cx="301817" cy="346085"/>
            </a:xfrm>
          </p:grpSpPr>
          <p:grpSp>
            <p:nvGrpSpPr>
              <p:cNvPr id="101" name="Group 100">
                <a:extLst>
                  <a:ext uri="{FF2B5EF4-FFF2-40B4-BE49-F238E27FC236}">
                    <a16:creationId xmlns:a16="http://schemas.microsoft.com/office/drawing/2014/main" id="{5F5EBF0B-E330-480E-AB94-74F716E030A6}"/>
                  </a:ext>
                </a:extLst>
              </p:cNvPr>
              <p:cNvGrpSpPr/>
              <p:nvPr/>
            </p:nvGrpSpPr>
            <p:grpSpPr>
              <a:xfrm>
                <a:off x="4327780" y="1507402"/>
                <a:ext cx="233098" cy="308171"/>
                <a:chOff x="4316706" y="1433073"/>
                <a:chExt cx="274722" cy="363201"/>
              </a:xfrm>
            </p:grpSpPr>
            <p:sp>
              <p:nvSpPr>
                <p:cNvPr id="104" name="Freeform: Shape 103">
                  <a:extLst>
                    <a:ext uri="{FF2B5EF4-FFF2-40B4-BE49-F238E27FC236}">
                      <a16:creationId xmlns:a16="http://schemas.microsoft.com/office/drawing/2014/main" id="{94F878C9-6065-4D55-BD84-64185561402C}"/>
                    </a:ext>
                  </a:extLst>
                </p:cNvPr>
                <p:cNvSpPr/>
                <p:nvPr/>
              </p:nvSpPr>
              <p:spPr>
                <a:xfrm>
                  <a:off x="4316706" y="1433073"/>
                  <a:ext cx="274722" cy="363201"/>
                </a:xfrm>
                <a:custGeom>
                  <a:avLst/>
                  <a:gdLst>
                    <a:gd name="connsiteX0" fmla="*/ 603050 w 1460635"/>
                    <a:gd name="connsiteY0" fmla="*/ 0 h 1931059"/>
                    <a:gd name="connsiteX1" fmla="*/ 855015 w 1460635"/>
                    <a:gd name="connsiteY1" fmla="*/ 0 h 1931059"/>
                    <a:gd name="connsiteX2" fmla="*/ 1378827 w 1460635"/>
                    <a:gd name="connsiteY2" fmla="*/ 523812 h 1931059"/>
                    <a:gd name="connsiteX3" fmla="*/ 1378827 w 1460635"/>
                    <a:gd name="connsiteY3" fmla="*/ 863539 h 1931059"/>
                    <a:gd name="connsiteX4" fmla="*/ 1397780 w 1460635"/>
                    <a:gd name="connsiteY4" fmla="*/ 861872 h 1931059"/>
                    <a:gd name="connsiteX5" fmla="*/ 1259675 w 1460635"/>
                    <a:gd name="connsiteY5" fmla="*/ 1421036 h 1931059"/>
                    <a:gd name="connsiteX6" fmla="*/ 728741 w 1460635"/>
                    <a:gd name="connsiteY6" fmla="*/ 1931059 h 1931059"/>
                    <a:gd name="connsiteX7" fmla="*/ 183733 w 1460635"/>
                    <a:gd name="connsiteY7" fmla="*/ 1428441 h 1931059"/>
                    <a:gd name="connsiteX8" fmla="*/ 67243 w 1460635"/>
                    <a:gd name="connsiteY8" fmla="*/ 857644 h 1931059"/>
                    <a:gd name="connsiteX9" fmla="*/ 79238 w 1460635"/>
                    <a:gd name="connsiteY9" fmla="*/ 857733 h 1931059"/>
                    <a:gd name="connsiteX10" fmla="*/ 79238 w 1460635"/>
                    <a:gd name="connsiteY10" fmla="*/ 523812 h 1931059"/>
                    <a:gd name="connsiteX11" fmla="*/ 603050 w 1460635"/>
                    <a:gd name="connsiteY11" fmla="*/ 0 h 193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0635" h="1931059">
                      <a:moveTo>
                        <a:pt x="603050" y="0"/>
                      </a:moveTo>
                      <a:lnTo>
                        <a:pt x="855015" y="0"/>
                      </a:lnTo>
                      <a:cubicBezTo>
                        <a:pt x="1144308" y="0"/>
                        <a:pt x="1378827" y="234519"/>
                        <a:pt x="1378827" y="523812"/>
                      </a:cubicBezTo>
                      <a:lnTo>
                        <a:pt x="1378827" y="863539"/>
                      </a:lnTo>
                      <a:lnTo>
                        <a:pt x="1397780" y="861872"/>
                      </a:lnTo>
                      <a:cubicBezTo>
                        <a:pt x="1546782" y="944307"/>
                        <a:pt x="1402403" y="1318211"/>
                        <a:pt x="1259675" y="1421036"/>
                      </a:cubicBezTo>
                      <a:cubicBezTo>
                        <a:pt x="1259675" y="1655147"/>
                        <a:pt x="962852" y="1931059"/>
                        <a:pt x="728741" y="1931059"/>
                      </a:cubicBezTo>
                      <a:cubicBezTo>
                        <a:pt x="494630" y="1931059"/>
                        <a:pt x="271566" y="1675099"/>
                        <a:pt x="183733" y="1428441"/>
                      </a:cubicBezTo>
                      <a:cubicBezTo>
                        <a:pt x="61776" y="1286797"/>
                        <a:pt x="-89982" y="928708"/>
                        <a:pt x="67243" y="857644"/>
                      </a:cubicBezTo>
                      <a:lnTo>
                        <a:pt x="79238" y="857733"/>
                      </a:lnTo>
                      <a:lnTo>
                        <a:pt x="79238" y="523812"/>
                      </a:lnTo>
                      <a:cubicBezTo>
                        <a:pt x="79238" y="234519"/>
                        <a:pt x="313757" y="0"/>
                        <a:pt x="603050" y="0"/>
                      </a:cubicBezTo>
                      <a:close/>
                    </a:path>
                  </a:pathLst>
                </a:custGeom>
                <a:solidFill>
                  <a:schemeClr val="bg2">
                    <a:lumMod val="60000"/>
                    <a:lumOff val="40000"/>
                  </a:schemeClr>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a:ea typeface="+mn-ea"/>
                    <a:cs typeface="+mn-cs"/>
                  </a:endParaRPr>
                </a:p>
              </p:txBody>
            </p:sp>
            <p:grpSp>
              <p:nvGrpSpPr>
                <p:cNvPr id="105" name="Group 104">
                  <a:extLst>
                    <a:ext uri="{FF2B5EF4-FFF2-40B4-BE49-F238E27FC236}">
                      <a16:creationId xmlns:a16="http://schemas.microsoft.com/office/drawing/2014/main" id="{0BF0EAB4-EE64-4C63-9C6C-909C09E99B5A}"/>
                    </a:ext>
                  </a:extLst>
                </p:cNvPr>
                <p:cNvGrpSpPr/>
                <p:nvPr/>
              </p:nvGrpSpPr>
              <p:grpSpPr>
                <a:xfrm>
                  <a:off x="4353438" y="1575436"/>
                  <a:ext cx="200600" cy="81125"/>
                  <a:chOff x="4468482" y="2997679"/>
                  <a:chExt cx="1066539" cy="431321"/>
                </a:xfrm>
              </p:grpSpPr>
              <p:grpSp>
                <p:nvGrpSpPr>
                  <p:cNvPr id="106" name="Group 105">
                    <a:extLst>
                      <a:ext uri="{FF2B5EF4-FFF2-40B4-BE49-F238E27FC236}">
                        <a16:creationId xmlns:a16="http://schemas.microsoft.com/office/drawing/2014/main" id="{4F41CCB9-9DE9-4A15-978B-FD37F7A1B508}"/>
                      </a:ext>
                    </a:extLst>
                  </p:cNvPr>
                  <p:cNvGrpSpPr/>
                  <p:nvPr/>
                </p:nvGrpSpPr>
                <p:grpSpPr>
                  <a:xfrm>
                    <a:off x="4468482" y="2997679"/>
                    <a:ext cx="431321" cy="431321"/>
                    <a:chOff x="4468482" y="2997679"/>
                    <a:chExt cx="431321" cy="431321"/>
                  </a:xfrm>
                </p:grpSpPr>
                <p:sp>
                  <p:nvSpPr>
                    <p:cNvPr id="111" name="Oval 110">
                      <a:extLst>
                        <a:ext uri="{FF2B5EF4-FFF2-40B4-BE49-F238E27FC236}">
                          <a16:creationId xmlns:a16="http://schemas.microsoft.com/office/drawing/2014/main" id="{88AEEE73-6BFB-4E67-BE1E-FBDF72AFB31B}"/>
                        </a:ext>
                      </a:extLst>
                    </p:cNvPr>
                    <p:cNvSpPr/>
                    <p:nvPr/>
                  </p:nvSpPr>
                  <p:spPr>
                    <a:xfrm>
                      <a:off x="4483382" y="3012579"/>
                      <a:ext cx="401520" cy="401520"/>
                    </a:xfrm>
                    <a:prstGeom prst="ellipse">
                      <a:avLst/>
                    </a:prstGeom>
                    <a:solidFill>
                      <a:schemeClr val="bg1"/>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Calibri"/>
                        <a:ea typeface="+mn-ea"/>
                        <a:cs typeface="+mn-cs"/>
                      </a:endParaRPr>
                    </a:p>
                  </p:txBody>
                </p:sp>
                <p:sp>
                  <p:nvSpPr>
                    <p:cNvPr id="125" name="Circle: Hollow 124">
                      <a:extLst>
                        <a:ext uri="{FF2B5EF4-FFF2-40B4-BE49-F238E27FC236}">
                          <a16:creationId xmlns:a16="http://schemas.microsoft.com/office/drawing/2014/main" id="{250B030F-5C48-43A7-9635-9687DFE402DB}"/>
                        </a:ext>
                      </a:extLst>
                    </p:cNvPr>
                    <p:cNvSpPr/>
                    <p:nvPr/>
                  </p:nvSpPr>
                  <p:spPr>
                    <a:xfrm>
                      <a:off x="4468482" y="2997679"/>
                      <a:ext cx="431321" cy="431321"/>
                    </a:xfrm>
                    <a:prstGeom prst="donut">
                      <a:avLst>
                        <a:gd name="adj" fmla="val 11552"/>
                      </a:avLst>
                    </a:prstGeom>
                    <a:solidFill>
                      <a:schemeClr val="bg1"/>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Calibri"/>
                        <a:ea typeface="+mn-ea"/>
                        <a:cs typeface="+mn-cs"/>
                      </a:endParaRPr>
                    </a:p>
                  </p:txBody>
                </p:sp>
              </p:grpSp>
              <p:grpSp>
                <p:nvGrpSpPr>
                  <p:cNvPr id="107" name="Group 106">
                    <a:extLst>
                      <a:ext uri="{FF2B5EF4-FFF2-40B4-BE49-F238E27FC236}">
                        <a16:creationId xmlns:a16="http://schemas.microsoft.com/office/drawing/2014/main" id="{B53B63C4-1936-4581-8E3E-05E82B85DC6C}"/>
                      </a:ext>
                    </a:extLst>
                  </p:cNvPr>
                  <p:cNvGrpSpPr/>
                  <p:nvPr/>
                </p:nvGrpSpPr>
                <p:grpSpPr>
                  <a:xfrm>
                    <a:off x="5103700" y="2997679"/>
                    <a:ext cx="431321" cy="431321"/>
                    <a:chOff x="4468482" y="2997679"/>
                    <a:chExt cx="431321" cy="431321"/>
                  </a:xfrm>
                </p:grpSpPr>
                <p:sp>
                  <p:nvSpPr>
                    <p:cNvPr id="109" name="Oval 108">
                      <a:extLst>
                        <a:ext uri="{FF2B5EF4-FFF2-40B4-BE49-F238E27FC236}">
                          <a16:creationId xmlns:a16="http://schemas.microsoft.com/office/drawing/2014/main" id="{E76D946A-E2B1-47F1-A38E-74AF65D2BCA1}"/>
                        </a:ext>
                      </a:extLst>
                    </p:cNvPr>
                    <p:cNvSpPr/>
                    <p:nvPr/>
                  </p:nvSpPr>
                  <p:spPr>
                    <a:xfrm>
                      <a:off x="4483382" y="3012579"/>
                      <a:ext cx="401520" cy="401520"/>
                    </a:xfrm>
                    <a:prstGeom prst="ellipse">
                      <a:avLst/>
                    </a:prstGeom>
                    <a:solidFill>
                      <a:schemeClr val="bg1"/>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Calibri"/>
                        <a:ea typeface="+mn-ea"/>
                        <a:cs typeface="+mn-cs"/>
                      </a:endParaRPr>
                    </a:p>
                  </p:txBody>
                </p:sp>
                <p:sp>
                  <p:nvSpPr>
                    <p:cNvPr id="110" name="Circle: Hollow 109">
                      <a:extLst>
                        <a:ext uri="{FF2B5EF4-FFF2-40B4-BE49-F238E27FC236}">
                          <a16:creationId xmlns:a16="http://schemas.microsoft.com/office/drawing/2014/main" id="{01536453-42D2-48A9-BA63-2242B35132B3}"/>
                        </a:ext>
                      </a:extLst>
                    </p:cNvPr>
                    <p:cNvSpPr/>
                    <p:nvPr/>
                  </p:nvSpPr>
                  <p:spPr>
                    <a:xfrm>
                      <a:off x="4468482" y="2997679"/>
                      <a:ext cx="431321" cy="431321"/>
                    </a:xfrm>
                    <a:prstGeom prst="donut">
                      <a:avLst>
                        <a:gd name="adj" fmla="val 11552"/>
                      </a:avLst>
                    </a:prstGeom>
                    <a:solidFill>
                      <a:schemeClr val="bg1"/>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Calibri"/>
                        <a:ea typeface="+mn-ea"/>
                        <a:cs typeface="+mn-cs"/>
                      </a:endParaRPr>
                    </a:p>
                  </p:txBody>
                </p:sp>
              </p:grpSp>
              <p:sp>
                <p:nvSpPr>
                  <p:cNvPr id="108" name="Rectangle 107">
                    <a:extLst>
                      <a:ext uri="{FF2B5EF4-FFF2-40B4-BE49-F238E27FC236}">
                        <a16:creationId xmlns:a16="http://schemas.microsoft.com/office/drawing/2014/main" id="{642DAAED-4A64-4F17-BC4B-7A6C1C6451F3}"/>
                      </a:ext>
                    </a:extLst>
                  </p:cNvPr>
                  <p:cNvSpPr/>
                  <p:nvPr/>
                </p:nvSpPr>
                <p:spPr>
                  <a:xfrm>
                    <a:off x="4854319" y="3096099"/>
                    <a:ext cx="280751" cy="64306"/>
                  </a:xfrm>
                  <a:prstGeom prst="rect">
                    <a:avLst/>
                  </a:prstGeom>
                  <a:solidFill>
                    <a:schemeClr val="bg1"/>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a:ea typeface="+mn-ea"/>
                      <a:cs typeface="+mn-cs"/>
                    </a:endParaRPr>
                  </a:p>
                </p:txBody>
              </p:sp>
            </p:grpSp>
          </p:grpSp>
          <p:sp>
            <p:nvSpPr>
              <p:cNvPr id="103" name="Freeform: Shape 102">
                <a:extLst>
                  <a:ext uri="{FF2B5EF4-FFF2-40B4-BE49-F238E27FC236}">
                    <a16:creationId xmlns:a16="http://schemas.microsoft.com/office/drawing/2014/main" id="{367A946B-6784-4D19-9100-3BD42BF462BE}"/>
                  </a:ext>
                </a:extLst>
              </p:cNvPr>
              <p:cNvSpPr/>
              <p:nvPr/>
            </p:nvSpPr>
            <p:spPr>
              <a:xfrm flipH="1">
                <a:off x="4276867" y="1469488"/>
                <a:ext cx="301817" cy="195094"/>
              </a:xfrm>
              <a:custGeom>
                <a:avLst/>
                <a:gdLst>
                  <a:gd name="connsiteX0" fmla="*/ 569027 w 676275"/>
                  <a:gd name="connsiteY0" fmla="*/ 288800 h 419100"/>
                  <a:gd name="connsiteX1" fmla="*/ 675707 w 676275"/>
                  <a:gd name="connsiteY1" fmla="*/ 157355 h 419100"/>
                  <a:gd name="connsiteX2" fmla="*/ 541405 w 676275"/>
                  <a:gd name="connsiteY2" fmla="*/ 23053 h 419100"/>
                  <a:gd name="connsiteX3" fmla="*/ 448060 w 676275"/>
                  <a:gd name="connsiteY3" fmla="*/ 60200 h 419100"/>
                  <a:gd name="connsiteX4" fmla="*/ 335665 w 676275"/>
                  <a:gd name="connsiteY4" fmla="*/ 16385 h 419100"/>
                  <a:gd name="connsiteX5" fmla="*/ 12767 w 676275"/>
                  <a:gd name="connsiteY5" fmla="*/ 270703 h 419100"/>
                  <a:gd name="connsiteX6" fmla="*/ 191837 w 676275"/>
                  <a:gd name="connsiteY6" fmla="*/ 173548 h 419100"/>
                  <a:gd name="connsiteX7" fmla="*/ 298517 w 676275"/>
                  <a:gd name="connsiteY7" fmla="*/ 308803 h 419100"/>
                  <a:gd name="connsiteX8" fmla="*/ 257560 w 676275"/>
                  <a:gd name="connsiteY8" fmla="*/ 324043 h 419100"/>
                  <a:gd name="connsiteX9" fmla="*/ 254702 w 676275"/>
                  <a:gd name="connsiteY9" fmla="*/ 337378 h 419100"/>
                  <a:gd name="connsiteX10" fmla="*/ 268037 w 676275"/>
                  <a:gd name="connsiteY10" fmla="*/ 340235 h 419100"/>
                  <a:gd name="connsiteX11" fmla="*/ 355667 w 676275"/>
                  <a:gd name="connsiteY11" fmla="*/ 351665 h 419100"/>
                  <a:gd name="connsiteX12" fmla="*/ 363287 w 676275"/>
                  <a:gd name="connsiteY12" fmla="*/ 355475 h 419100"/>
                  <a:gd name="connsiteX13" fmla="*/ 369955 w 676275"/>
                  <a:gd name="connsiteY13" fmla="*/ 353570 h 419100"/>
                  <a:gd name="connsiteX14" fmla="*/ 372812 w 676275"/>
                  <a:gd name="connsiteY14" fmla="*/ 349760 h 419100"/>
                  <a:gd name="connsiteX15" fmla="*/ 431867 w 676275"/>
                  <a:gd name="connsiteY15" fmla="*/ 368810 h 419100"/>
                  <a:gd name="connsiteX16" fmla="*/ 489970 w 676275"/>
                  <a:gd name="connsiteY16" fmla="*/ 327853 h 419100"/>
                  <a:gd name="connsiteX17" fmla="*/ 530927 w 676275"/>
                  <a:gd name="connsiteY17" fmla="*/ 382145 h 419100"/>
                  <a:gd name="connsiteX18" fmla="*/ 543310 w 676275"/>
                  <a:gd name="connsiteY18" fmla="*/ 383098 h 419100"/>
                  <a:gd name="connsiteX19" fmla="*/ 549977 w 676275"/>
                  <a:gd name="connsiteY19" fmla="*/ 357380 h 419100"/>
                  <a:gd name="connsiteX20" fmla="*/ 644275 w 676275"/>
                  <a:gd name="connsiteY20" fmla="*/ 417388 h 419100"/>
                  <a:gd name="connsiteX21" fmla="*/ 569027 w 676275"/>
                  <a:gd name="connsiteY21" fmla="*/ 288800 h 419100"/>
                  <a:gd name="connsiteX0" fmla="*/ 561884 w 668564"/>
                  <a:gd name="connsiteY0" fmla="*/ 281657 h 411420"/>
                  <a:gd name="connsiteX1" fmla="*/ 668564 w 668564"/>
                  <a:gd name="connsiteY1" fmla="*/ 150212 h 411420"/>
                  <a:gd name="connsiteX2" fmla="*/ 534262 w 668564"/>
                  <a:gd name="connsiteY2" fmla="*/ 15910 h 411420"/>
                  <a:gd name="connsiteX3" fmla="*/ 440917 w 668564"/>
                  <a:gd name="connsiteY3" fmla="*/ 53057 h 411420"/>
                  <a:gd name="connsiteX4" fmla="*/ 328522 w 668564"/>
                  <a:gd name="connsiteY4" fmla="*/ 9242 h 411420"/>
                  <a:gd name="connsiteX5" fmla="*/ 5624 w 668564"/>
                  <a:gd name="connsiteY5" fmla="*/ 263560 h 411420"/>
                  <a:gd name="connsiteX6" fmla="*/ 184694 w 668564"/>
                  <a:gd name="connsiteY6" fmla="*/ 166405 h 411420"/>
                  <a:gd name="connsiteX7" fmla="*/ 291374 w 668564"/>
                  <a:gd name="connsiteY7" fmla="*/ 301660 h 411420"/>
                  <a:gd name="connsiteX8" fmla="*/ 250417 w 668564"/>
                  <a:gd name="connsiteY8" fmla="*/ 316900 h 411420"/>
                  <a:gd name="connsiteX9" fmla="*/ 260894 w 668564"/>
                  <a:gd name="connsiteY9" fmla="*/ 333092 h 411420"/>
                  <a:gd name="connsiteX10" fmla="*/ 348524 w 668564"/>
                  <a:gd name="connsiteY10" fmla="*/ 344522 h 411420"/>
                  <a:gd name="connsiteX11" fmla="*/ 356144 w 668564"/>
                  <a:gd name="connsiteY11" fmla="*/ 348332 h 411420"/>
                  <a:gd name="connsiteX12" fmla="*/ 362812 w 668564"/>
                  <a:gd name="connsiteY12" fmla="*/ 346427 h 411420"/>
                  <a:gd name="connsiteX13" fmla="*/ 365669 w 668564"/>
                  <a:gd name="connsiteY13" fmla="*/ 342617 h 411420"/>
                  <a:gd name="connsiteX14" fmla="*/ 424724 w 668564"/>
                  <a:gd name="connsiteY14" fmla="*/ 361667 h 411420"/>
                  <a:gd name="connsiteX15" fmla="*/ 482827 w 668564"/>
                  <a:gd name="connsiteY15" fmla="*/ 320710 h 411420"/>
                  <a:gd name="connsiteX16" fmla="*/ 523784 w 668564"/>
                  <a:gd name="connsiteY16" fmla="*/ 375002 h 411420"/>
                  <a:gd name="connsiteX17" fmla="*/ 536167 w 668564"/>
                  <a:gd name="connsiteY17" fmla="*/ 375955 h 411420"/>
                  <a:gd name="connsiteX18" fmla="*/ 542834 w 668564"/>
                  <a:gd name="connsiteY18" fmla="*/ 350237 h 411420"/>
                  <a:gd name="connsiteX19" fmla="*/ 637132 w 668564"/>
                  <a:gd name="connsiteY19" fmla="*/ 410245 h 411420"/>
                  <a:gd name="connsiteX20" fmla="*/ 561884 w 668564"/>
                  <a:gd name="connsiteY20" fmla="*/ 281657 h 411420"/>
                  <a:gd name="connsiteX0" fmla="*/ 561884 w 668564"/>
                  <a:gd name="connsiteY0" fmla="*/ 281657 h 411421"/>
                  <a:gd name="connsiteX1" fmla="*/ 668564 w 668564"/>
                  <a:gd name="connsiteY1" fmla="*/ 150212 h 411421"/>
                  <a:gd name="connsiteX2" fmla="*/ 534262 w 668564"/>
                  <a:gd name="connsiteY2" fmla="*/ 15910 h 411421"/>
                  <a:gd name="connsiteX3" fmla="*/ 440917 w 668564"/>
                  <a:gd name="connsiteY3" fmla="*/ 53057 h 411421"/>
                  <a:gd name="connsiteX4" fmla="*/ 328522 w 668564"/>
                  <a:gd name="connsiteY4" fmla="*/ 9242 h 411421"/>
                  <a:gd name="connsiteX5" fmla="*/ 5624 w 668564"/>
                  <a:gd name="connsiteY5" fmla="*/ 263560 h 411421"/>
                  <a:gd name="connsiteX6" fmla="*/ 184694 w 668564"/>
                  <a:gd name="connsiteY6" fmla="*/ 166405 h 411421"/>
                  <a:gd name="connsiteX7" fmla="*/ 291374 w 668564"/>
                  <a:gd name="connsiteY7" fmla="*/ 301660 h 411421"/>
                  <a:gd name="connsiteX8" fmla="*/ 260894 w 668564"/>
                  <a:gd name="connsiteY8" fmla="*/ 333092 h 411421"/>
                  <a:gd name="connsiteX9" fmla="*/ 348524 w 668564"/>
                  <a:gd name="connsiteY9" fmla="*/ 344522 h 411421"/>
                  <a:gd name="connsiteX10" fmla="*/ 356144 w 668564"/>
                  <a:gd name="connsiteY10" fmla="*/ 348332 h 411421"/>
                  <a:gd name="connsiteX11" fmla="*/ 362812 w 668564"/>
                  <a:gd name="connsiteY11" fmla="*/ 346427 h 411421"/>
                  <a:gd name="connsiteX12" fmla="*/ 365669 w 668564"/>
                  <a:gd name="connsiteY12" fmla="*/ 342617 h 411421"/>
                  <a:gd name="connsiteX13" fmla="*/ 424724 w 668564"/>
                  <a:gd name="connsiteY13" fmla="*/ 361667 h 411421"/>
                  <a:gd name="connsiteX14" fmla="*/ 482827 w 668564"/>
                  <a:gd name="connsiteY14" fmla="*/ 320710 h 411421"/>
                  <a:gd name="connsiteX15" fmla="*/ 523784 w 668564"/>
                  <a:gd name="connsiteY15" fmla="*/ 375002 h 411421"/>
                  <a:gd name="connsiteX16" fmla="*/ 536167 w 668564"/>
                  <a:gd name="connsiteY16" fmla="*/ 375955 h 411421"/>
                  <a:gd name="connsiteX17" fmla="*/ 542834 w 668564"/>
                  <a:gd name="connsiteY17" fmla="*/ 350237 h 411421"/>
                  <a:gd name="connsiteX18" fmla="*/ 637132 w 668564"/>
                  <a:gd name="connsiteY18" fmla="*/ 410245 h 411421"/>
                  <a:gd name="connsiteX19" fmla="*/ 561884 w 668564"/>
                  <a:gd name="connsiteY19" fmla="*/ 281657 h 411421"/>
                  <a:gd name="connsiteX0" fmla="*/ 561884 w 668564"/>
                  <a:gd name="connsiteY0" fmla="*/ 281657 h 411421"/>
                  <a:gd name="connsiteX1" fmla="*/ 668564 w 668564"/>
                  <a:gd name="connsiteY1" fmla="*/ 150212 h 411421"/>
                  <a:gd name="connsiteX2" fmla="*/ 534262 w 668564"/>
                  <a:gd name="connsiteY2" fmla="*/ 15910 h 411421"/>
                  <a:gd name="connsiteX3" fmla="*/ 440917 w 668564"/>
                  <a:gd name="connsiteY3" fmla="*/ 53057 h 411421"/>
                  <a:gd name="connsiteX4" fmla="*/ 328522 w 668564"/>
                  <a:gd name="connsiteY4" fmla="*/ 9242 h 411421"/>
                  <a:gd name="connsiteX5" fmla="*/ 5624 w 668564"/>
                  <a:gd name="connsiteY5" fmla="*/ 263560 h 411421"/>
                  <a:gd name="connsiteX6" fmla="*/ 184694 w 668564"/>
                  <a:gd name="connsiteY6" fmla="*/ 166405 h 411421"/>
                  <a:gd name="connsiteX7" fmla="*/ 291374 w 668564"/>
                  <a:gd name="connsiteY7" fmla="*/ 301660 h 411421"/>
                  <a:gd name="connsiteX8" fmla="*/ 348524 w 668564"/>
                  <a:gd name="connsiteY8" fmla="*/ 344522 h 411421"/>
                  <a:gd name="connsiteX9" fmla="*/ 356144 w 668564"/>
                  <a:gd name="connsiteY9" fmla="*/ 348332 h 411421"/>
                  <a:gd name="connsiteX10" fmla="*/ 362812 w 668564"/>
                  <a:gd name="connsiteY10" fmla="*/ 346427 h 411421"/>
                  <a:gd name="connsiteX11" fmla="*/ 365669 w 668564"/>
                  <a:gd name="connsiteY11" fmla="*/ 342617 h 411421"/>
                  <a:gd name="connsiteX12" fmla="*/ 424724 w 668564"/>
                  <a:gd name="connsiteY12" fmla="*/ 361667 h 411421"/>
                  <a:gd name="connsiteX13" fmla="*/ 482827 w 668564"/>
                  <a:gd name="connsiteY13" fmla="*/ 320710 h 411421"/>
                  <a:gd name="connsiteX14" fmla="*/ 523784 w 668564"/>
                  <a:gd name="connsiteY14" fmla="*/ 375002 h 411421"/>
                  <a:gd name="connsiteX15" fmla="*/ 536167 w 668564"/>
                  <a:gd name="connsiteY15" fmla="*/ 375955 h 411421"/>
                  <a:gd name="connsiteX16" fmla="*/ 542834 w 668564"/>
                  <a:gd name="connsiteY16" fmla="*/ 350237 h 411421"/>
                  <a:gd name="connsiteX17" fmla="*/ 637132 w 668564"/>
                  <a:gd name="connsiteY17" fmla="*/ 410245 h 411421"/>
                  <a:gd name="connsiteX18" fmla="*/ 561884 w 668564"/>
                  <a:gd name="connsiteY18" fmla="*/ 281657 h 411421"/>
                  <a:gd name="connsiteX0" fmla="*/ 561884 w 668564"/>
                  <a:gd name="connsiteY0" fmla="*/ 281657 h 411421"/>
                  <a:gd name="connsiteX1" fmla="*/ 668564 w 668564"/>
                  <a:gd name="connsiteY1" fmla="*/ 150212 h 411421"/>
                  <a:gd name="connsiteX2" fmla="*/ 534262 w 668564"/>
                  <a:gd name="connsiteY2" fmla="*/ 15910 h 411421"/>
                  <a:gd name="connsiteX3" fmla="*/ 440917 w 668564"/>
                  <a:gd name="connsiteY3" fmla="*/ 53057 h 411421"/>
                  <a:gd name="connsiteX4" fmla="*/ 328522 w 668564"/>
                  <a:gd name="connsiteY4" fmla="*/ 9242 h 411421"/>
                  <a:gd name="connsiteX5" fmla="*/ 5624 w 668564"/>
                  <a:gd name="connsiteY5" fmla="*/ 263560 h 411421"/>
                  <a:gd name="connsiteX6" fmla="*/ 184694 w 668564"/>
                  <a:gd name="connsiteY6" fmla="*/ 166405 h 411421"/>
                  <a:gd name="connsiteX7" fmla="*/ 291374 w 668564"/>
                  <a:gd name="connsiteY7" fmla="*/ 301660 h 411421"/>
                  <a:gd name="connsiteX8" fmla="*/ 348524 w 668564"/>
                  <a:gd name="connsiteY8" fmla="*/ 344522 h 411421"/>
                  <a:gd name="connsiteX9" fmla="*/ 356144 w 668564"/>
                  <a:gd name="connsiteY9" fmla="*/ 348332 h 411421"/>
                  <a:gd name="connsiteX10" fmla="*/ 362812 w 668564"/>
                  <a:gd name="connsiteY10" fmla="*/ 346427 h 411421"/>
                  <a:gd name="connsiteX11" fmla="*/ 365669 w 668564"/>
                  <a:gd name="connsiteY11" fmla="*/ 342617 h 411421"/>
                  <a:gd name="connsiteX12" fmla="*/ 424724 w 668564"/>
                  <a:gd name="connsiteY12" fmla="*/ 361667 h 411421"/>
                  <a:gd name="connsiteX13" fmla="*/ 523784 w 668564"/>
                  <a:gd name="connsiteY13" fmla="*/ 375002 h 411421"/>
                  <a:gd name="connsiteX14" fmla="*/ 536167 w 668564"/>
                  <a:gd name="connsiteY14" fmla="*/ 375955 h 411421"/>
                  <a:gd name="connsiteX15" fmla="*/ 542834 w 668564"/>
                  <a:gd name="connsiteY15" fmla="*/ 350237 h 411421"/>
                  <a:gd name="connsiteX16" fmla="*/ 637132 w 668564"/>
                  <a:gd name="connsiteY16" fmla="*/ 410245 h 411421"/>
                  <a:gd name="connsiteX17" fmla="*/ 561884 w 668564"/>
                  <a:gd name="connsiteY17" fmla="*/ 281657 h 411421"/>
                  <a:gd name="connsiteX0" fmla="*/ 523784 w 668564"/>
                  <a:gd name="connsiteY0" fmla="*/ 375002 h 432158"/>
                  <a:gd name="connsiteX1" fmla="*/ 536167 w 668564"/>
                  <a:gd name="connsiteY1" fmla="*/ 375955 h 432158"/>
                  <a:gd name="connsiteX2" fmla="*/ 542834 w 668564"/>
                  <a:gd name="connsiteY2" fmla="*/ 350237 h 432158"/>
                  <a:gd name="connsiteX3" fmla="*/ 637132 w 668564"/>
                  <a:gd name="connsiteY3" fmla="*/ 410245 h 432158"/>
                  <a:gd name="connsiteX4" fmla="*/ 561884 w 668564"/>
                  <a:gd name="connsiteY4" fmla="*/ 281657 h 432158"/>
                  <a:gd name="connsiteX5" fmla="*/ 668564 w 668564"/>
                  <a:gd name="connsiteY5" fmla="*/ 150212 h 432158"/>
                  <a:gd name="connsiteX6" fmla="*/ 534262 w 668564"/>
                  <a:gd name="connsiteY6" fmla="*/ 15910 h 432158"/>
                  <a:gd name="connsiteX7" fmla="*/ 440917 w 668564"/>
                  <a:gd name="connsiteY7" fmla="*/ 53057 h 432158"/>
                  <a:gd name="connsiteX8" fmla="*/ 328522 w 668564"/>
                  <a:gd name="connsiteY8" fmla="*/ 9242 h 432158"/>
                  <a:gd name="connsiteX9" fmla="*/ 5624 w 668564"/>
                  <a:gd name="connsiteY9" fmla="*/ 263560 h 432158"/>
                  <a:gd name="connsiteX10" fmla="*/ 184694 w 668564"/>
                  <a:gd name="connsiteY10" fmla="*/ 166405 h 432158"/>
                  <a:gd name="connsiteX11" fmla="*/ 291374 w 668564"/>
                  <a:gd name="connsiteY11" fmla="*/ 301660 h 432158"/>
                  <a:gd name="connsiteX12" fmla="*/ 348524 w 668564"/>
                  <a:gd name="connsiteY12" fmla="*/ 344522 h 432158"/>
                  <a:gd name="connsiteX13" fmla="*/ 356144 w 668564"/>
                  <a:gd name="connsiteY13" fmla="*/ 348332 h 432158"/>
                  <a:gd name="connsiteX14" fmla="*/ 362812 w 668564"/>
                  <a:gd name="connsiteY14" fmla="*/ 346427 h 432158"/>
                  <a:gd name="connsiteX15" fmla="*/ 365669 w 668564"/>
                  <a:gd name="connsiteY15" fmla="*/ 342617 h 432158"/>
                  <a:gd name="connsiteX16" fmla="*/ 424724 w 668564"/>
                  <a:gd name="connsiteY16" fmla="*/ 361667 h 432158"/>
                  <a:gd name="connsiteX17" fmla="*/ 580940 w 668564"/>
                  <a:gd name="connsiteY17" fmla="*/ 432158 h 432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8564" h="432158">
                    <a:moveTo>
                      <a:pt x="523784" y="375002"/>
                    </a:moveTo>
                    <a:cubicBezTo>
                      <a:pt x="527594" y="375002"/>
                      <a:pt x="532357" y="375002"/>
                      <a:pt x="536167" y="375955"/>
                    </a:cubicBezTo>
                    <a:cubicBezTo>
                      <a:pt x="538072" y="368335"/>
                      <a:pt x="540929" y="358810"/>
                      <a:pt x="542834" y="350237"/>
                    </a:cubicBezTo>
                    <a:cubicBezTo>
                      <a:pt x="552359" y="387385"/>
                      <a:pt x="586649" y="417865"/>
                      <a:pt x="637132" y="410245"/>
                    </a:cubicBezTo>
                    <a:cubicBezTo>
                      <a:pt x="563789" y="389290"/>
                      <a:pt x="561884" y="310232"/>
                      <a:pt x="561884" y="281657"/>
                    </a:cubicBezTo>
                    <a:cubicBezTo>
                      <a:pt x="622844" y="268322"/>
                      <a:pt x="668564" y="214982"/>
                      <a:pt x="668564" y="150212"/>
                    </a:cubicBezTo>
                    <a:cubicBezTo>
                      <a:pt x="668564" y="75917"/>
                      <a:pt x="608557" y="15910"/>
                      <a:pt x="534262" y="15910"/>
                    </a:cubicBezTo>
                    <a:cubicBezTo>
                      <a:pt x="498067" y="15910"/>
                      <a:pt x="465682" y="30197"/>
                      <a:pt x="440917" y="53057"/>
                    </a:cubicBezTo>
                    <a:cubicBezTo>
                      <a:pt x="411389" y="34960"/>
                      <a:pt x="374242" y="20672"/>
                      <a:pt x="328522" y="9242"/>
                    </a:cubicBezTo>
                    <a:cubicBezTo>
                      <a:pt x="66584" y="-52670"/>
                      <a:pt x="-24856" y="214982"/>
                      <a:pt x="5624" y="263560"/>
                    </a:cubicBezTo>
                    <a:cubicBezTo>
                      <a:pt x="103732" y="229270"/>
                      <a:pt x="184694" y="166405"/>
                      <a:pt x="184694" y="166405"/>
                    </a:cubicBezTo>
                    <a:cubicBezTo>
                      <a:pt x="184694" y="166405"/>
                      <a:pt x="207554" y="241652"/>
                      <a:pt x="291374" y="301660"/>
                    </a:cubicBezTo>
                    <a:cubicBezTo>
                      <a:pt x="318679" y="331346"/>
                      <a:pt x="337729" y="336743"/>
                      <a:pt x="348524" y="344522"/>
                    </a:cubicBezTo>
                    <a:cubicBezTo>
                      <a:pt x="350429" y="347380"/>
                      <a:pt x="353287" y="348332"/>
                      <a:pt x="356144" y="348332"/>
                    </a:cubicBezTo>
                    <a:cubicBezTo>
                      <a:pt x="358049" y="348332"/>
                      <a:pt x="360907" y="347380"/>
                      <a:pt x="362812" y="346427"/>
                    </a:cubicBezTo>
                    <a:cubicBezTo>
                      <a:pt x="363764" y="345475"/>
                      <a:pt x="364717" y="343570"/>
                      <a:pt x="365669" y="342617"/>
                    </a:cubicBezTo>
                    <a:cubicBezTo>
                      <a:pt x="383767" y="350237"/>
                      <a:pt x="402817" y="355952"/>
                      <a:pt x="424724" y="361667"/>
                    </a:cubicBezTo>
                    <a:cubicBezTo>
                      <a:pt x="451077" y="367065"/>
                      <a:pt x="505210" y="372621"/>
                      <a:pt x="580940" y="432158"/>
                    </a:cubicBezTo>
                  </a:path>
                </a:pathLst>
              </a:custGeom>
              <a:solidFill>
                <a:schemeClr val="bg2">
                  <a:lumMod val="60000"/>
                  <a:lumOff val="4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29" name="Rectangle 128">
            <a:extLst>
              <a:ext uri="{FF2B5EF4-FFF2-40B4-BE49-F238E27FC236}">
                <a16:creationId xmlns:a16="http://schemas.microsoft.com/office/drawing/2014/main" id="{BE5F4BF6-6D0E-44AC-8DF1-B70B4CEFB5E6}"/>
              </a:ext>
            </a:extLst>
          </p:cNvPr>
          <p:cNvSpPr/>
          <p:nvPr/>
        </p:nvSpPr>
        <p:spPr bwMode="auto">
          <a:xfrm>
            <a:off x="3752034" y="2175931"/>
            <a:ext cx="4525273" cy="3929192"/>
          </a:xfrm>
          <a:prstGeom prst="rect">
            <a:avLst/>
          </a:prstGeom>
          <a:solidFill>
            <a:schemeClr val="bg1"/>
          </a:solidFill>
          <a:ln w="3175">
            <a:solidFill>
              <a:schemeClr val="accent2">
                <a:alpha val="67000"/>
              </a:schemeClr>
            </a:solidFill>
            <a:headEnd type="none" w="med" len="med"/>
            <a:tailEnd type="none" w="med" len="med"/>
          </a:ln>
          <a:effectLst>
            <a:outerShdw blurRad="419100" sx="102000" sy="102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130" name="Table 5">
            <a:extLst>
              <a:ext uri="{FF2B5EF4-FFF2-40B4-BE49-F238E27FC236}">
                <a16:creationId xmlns:a16="http://schemas.microsoft.com/office/drawing/2014/main" id="{744E652A-E30A-443B-9DB0-B2BA09699583}"/>
              </a:ext>
            </a:extLst>
          </p:cNvPr>
          <p:cNvGraphicFramePr>
            <a:graphicFrameLocks noGrp="1"/>
          </p:cNvGraphicFramePr>
          <p:nvPr/>
        </p:nvGraphicFramePr>
        <p:xfrm>
          <a:off x="3987872" y="2247290"/>
          <a:ext cx="4127050" cy="3759274"/>
        </p:xfrm>
        <a:graphic>
          <a:graphicData uri="http://schemas.openxmlformats.org/drawingml/2006/table">
            <a:tbl>
              <a:tblPr>
                <a:tableStyleId>{5C22544A-7EE6-4342-B048-85BDC9FD1C3A}</a:tableStyleId>
              </a:tblPr>
              <a:tblGrid>
                <a:gridCol w="4127050">
                  <a:extLst>
                    <a:ext uri="{9D8B030D-6E8A-4147-A177-3AD203B41FA5}">
                      <a16:colId xmlns:a16="http://schemas.microsoft.com/office/drawing/2014/main" val="1243487574"/>
                    </a:ext>
                  </a:extLst>
                </a:gridCol>
              </a:tblGrid>
              <a:tr h="625930">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0" normalizeH="0" baseline="0" noProof="0">
                          <a:ln w="3175">
                            <a:noFill/>
                          </a:ln>
                          <a:solidFill>
                            <a:schemeClr val="accent1"/>
                          </a:solidFill>
                          <a:effectLst/>
                          <a:uLnTx/>
                          <a:uFillTx/>
                          <a:latin typeface="+mn-lt"/>
                          <a:ea typeface="+mn-ea"/>
                          <a:cs typeface="Segoe UI Semilight" panose="020B0402040204020203" pitchFamily="34" charset="0"/>
                        </a:rPr>
                        <a:t>SERVING LAY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30000"/>
                      </a:schemeClr>
                    </a:solidFill>
                  </a:tcPr>
                </a:tc>
                <a:extLst>
                  <a:ext uri="{0D108BD9-81ED-4DB2-BD59-A6C34878D82A}">
                    <a16:rowId xmlns:a16="http://schemas.microsoft.com/office/drawing/2014/main" val="1613448493"/>
                  </a:ext>
                </a:extLst>
              </a:tr>
              <a:tr h="895241">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0" normalizeH="0" baseline="0" noProof="0">
                          <a:ln w="3175">
                            <a:noFill/>
                          </a:ln>
                          <a:solidFill>
                            <a:schemeClr val="accent1"/>
                          </a:solidFill>
                          <a:effectLst/>
                          <a:uLnTx/>
                          <a:uFillTx/>
                          <a:latin typeface="+mn-lt"/>
                          <a:ea typeface="+mn-ea"/>
                          <a:cs typeface="Segoe UI Semilight" panose="020B0402040204020203" pitchFamily="34" charset="0"/>
                        </a:rPr>
                        <a:t>USER INTERFAC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alpha val="30000"/>
                      </a:schemeClr>
                    </a:solidFill>
                  </a:tcPr>
                </a:tc>
                <a:extLst>
                  <a:ext uri="{0D108BD9-81ED-4DB2-BD59-A6C34878D82A}">
                    <a16:rowId xmlns:a16="http://schemas.microsoft.com/office/drawing/2014/main" val="838255702"/>
                  </a:ext>
                </a:extLst>
              </a:tr>
              <a:tr h="179048">
                <a:tc>
                  <a:txBody>
                    <a:bodyPr/>
                    <a:lstStyle/>
                    <a:p>
                      <a:endParaRPr lang="en-US" sz="10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7651679"/>
                  </a:ext>
                </a:extLst>
              </a:tr>
              <a:tr h="895241">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0" normalizeH="0" baseline="0" noProof="0">
                          <a:ln w="3175">
                            <a:noFill/>
                          </a:ln>
                          <a:solidFill>
                            <a:schemeClr val="accent1"/>
                          </a:solidFill>
                          <a:effectLst/>
                          <a:uLnTx/>
                          <a:uFillTx/>
                          <a:latin typeface="+mn-lt"/>
                          <a:ea typeface="+mn-ea"/>
                          <a:cs typeface="Segoe UI Semilight" panose="020B0402040204020203" pitchFamily="34" charset="0"/>
                        </a:rPr>
                        <a:t>BUSINESS LOGIC</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alpha val="27000"/>
                      </a:schemeClr>
                    </a:solidFill>
                  </a:tcPr>
                </a:tc>
                <a:extLst>
                  <a:ext uri="{0D108BD9-81ED-4DB2-BD59-A6C34878D82A}">
                    <a16:rowId xmlns:a16="http://schemas.microsoft.com/office/drawing/2014/main" val="1006610825"/>
                  </a:ext>
                </a:extLst>
              </a:tr>
              <a:tr h="179048">
                <a:tc>
                  <a:txBody>
                    <a:bodyPr/>
                    <a:lstStyle/>
                    <a:p>
                      <a:endParaRPr lang="en-US" sz="100"/>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86962351"/>
                  </a:ext>
                </a:extLst>
              </a:tr>
              <a:tr h="984766">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0" normalizeH="0" baseline="0" noProof="0">
                          <a:ln w="3175">
                            <a:noFill/>
                          </a:ln>
                          <a:solidFill>
                            <a:schemeClr val="accent1"/>
                          </a:solidFill>
                          <a:effectLst/>
                          <a:uLnTx/>
                          <a:uFillTx/>
                          <a:latin typeface="+mn-lt"/>
                          <a:ea typeface="+mn-ea"/>
                          <a:cs typeface="Segoe UI Semilight" panose="020B0402040204020203" pitchFamily="34" charset="0"/>
                        </a:rPr>
                        <a:t>DATA </a:t>
                      </a:r>
                      <a:r>
                        <a:rPr kumimoji="0" lang="en-US" sz="1100" b="0" i="0" u="none" strike="noStrike" kern="1200" cap="none" spc="300" normalizeH="0" baseline="0">
                          <a:ln w="3175">
                            <a:noFill/>
                          </a:ln>
                          <a:solidFill>
                            <a:schemeClr val="accent1"/>
                          </a:solidFill>
                          <a:effectLst/>
                          <a:uLnTx/>
                          <a:uFillTx/>
                          <a:latin typeface="+mn-lt"/>
                          <a:ea typeface="+mn-ea"/>
                          <a:cs typeface="Segoe UI Semilight" panose="020B0402040204020203" pitchFamily="34" charset="0"/>
                        </a:rPr>
                        <a:t>&amp; </a:t>
                      </a:r>
                      <a:r>
                        <a:rPr kumimoji="0" lang="en-US" sz="1100" b="0" i="0" u="none" strike="noStrike" kern="1200" cap="none" spc="300" normalizeH="0" baseline="0" noProof="0">
                          <a:ln w="3175">
                            <a:noFill/>
                          </a:ln>
                          <a:solidFill>
                            <a:schemeClr val="accent1"/>
                          </a:solidFill>
                          <a:effectLst/>
                          <a:uLnTx/>
                          <a:uFillTx/>
                          <a:latin typeface="+mn-lt"/>
                          <a:ea typeface="+mn-ea"/>
                          <a:cs typeface="Segoe UI Semilight" panose="020B0402040204020203" pitchFamily="34" charset="0"/>
                        </a:rPr>
                        <a:t>SYSTEMS OF RECOR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alpha val="21000"/>
                      </a:schemeClr>
                    </a:solidFill>
                  </a:tcPr>
                </a:tc>
                <a:extLst>
                  <a:ext uri="{0D108BD9-81ED-4DB2-BD59-A6C34878D82A}">
                    <a16:rowId xmlns:a16="http://schemas.microsoft.com/office/drawing/2014/main" val="475465252"/>
                  </a:ext>
                </a:extLst>
              </a:tr>
            </a:tbl>
          </a:graphicData>
        </a:graphic>
      </p:graphicFrame>
      <p:grpSp>
        <p:nvGrpSpPr>
          <p:cNvPr id="131" name="Group 130">
            <a:extLst>
              <a:ext uri="{FF2B5EF4-FFF2-40B4-BE49-F238E27FC236}">
                <a16:creationId xmlns:a16="http://schemas.microsoft.com/office/drawing/2014/main" id="{AA03D2E4-C5D7-4197-A5B7-B9CBA31846BD}"/>
              </a:ext>
            </a:extLst>
          </p:cNvPr>
          <p:cNvGrpSpPr/>
          <p:nvPr/>
        </p:nvGrpSpPr>
        <p:grpSpPr>
          <a:xfrm>
            <a:off x="4120483" y="3041798"/>
            <a:ext cx="760777" cy="641841"/>
            <a:chOff x="6615499" y="2245666"/>
            <a:chExt cx="760777" cy="641841"/>
          </a:xfrm>
        </p:grpSpPr>
        <p:grpSp>
          <p:nvGrpSpPr>
            <p:cNvPr id="132" name="Group 131">
              <a:extLst>
                <a:ext uri="{FF2B5EF4-FFF2-40B4-BE49-F238E27FC236}">
                  <a16:creationId xmlns:a16="http://schemas.microsoft.com/office/drawing/2014/main" id="{E93C5D98-0C45-4CA4-96B5-D5CF2791A22A}"/>
                </a:ext>
              </a:extLst>
            </p:cNvPr>
            <p:cNvGrpSpPr/>
            <p:nvPr/>
          </p:nvGrpSpPr>
          <p:grpSpPr>
            <a:xfrm>
              <a:off x="6615499" y="2245666"/>
              <a:ext cx="664098" cy="641841"/>
              <a:chOff x="6497808" y="2230915"/>
              <a:chExt cx="664098" cy="641841"/>
            </a:xfrm>
          </p:grpSpPr>
          <p:pic>
            <p:nvPicPr>
              <p:cNvPr id="148" name="Graphic 147">
                <a:extLst>
                  <a:ext uri="{FF2B5EF4-FFF2-40B4-BE49-F238E27FC236}">
                    <a16:creationId xmlns:a16="http://schemas.microsoft.com/office/drawing/2014/main" id="{D97DB8B8-6562-4F7F-8FBE-ECADCD51A185}"/>
                  </a:ext>
                </a:extLst>
              </p:cNvPr>
              <p:cNvPicPr>
                <a:picLocks noChangeAspect="1"/>
              </p:cNvPicPr>
              <p:nvPr/>
            </p:nvPicPr>
            <p:blipFill rotWithShape="1">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t="67639"/>
              <a:stretch/>
            </p:blipFill>
            <p:spPr>
              <a:xfrm>
                <a:off x="6497808" y="2662363"/>
                <a:ext cx="664098" cy="210393"/>
              </a:xfrm>
              <a:prstGeom prst="rect">
                <a:avLst/>
              </a:prstGeom>
            </p:spPr>
          </p:pic>
          <p:sp>
            <p:nvSpPr>
              <p:cNvPr id="149" name="Rectangle: Rounded Corners 148">
                <a:extLst>
                  <a:ext uri="{FF2B5EF4-FFF2-40B4-BE49-F238E27FC236}">
                    <a16:creationId xmlns:a16="http://schemas.microsoft.com/office/drawing/2014/main" id="{C09787F6-A570-4076-8A31-C2AB7897F7DB}"/>
                  </a:ext>
                </a:extLst>
              </p:cNvPr>
              <p:cNvSpPr/>
              <p:nvPr/>
            </p:nvSpPr>
            <p:spPr>
              <a:xfrm>
                <a:off x="6500848" y="2230915"/>
                <a:ext cx="658018" cy="431448"/>
              </a:xfrm>
              <a:prstGeom prst="roundRect">
                <a:avLst>
                  <a:gd name="adj" fmla="val 4559"/>
                </a:avLst>
              </a:prstGeom>
              <a:gradFill flip="none" rotWithShape="1">
                <a:gsLst>
                  <a:gs pos="1250">
                    <a:srgbClr val="047AD5"/>
                  </a:gs>
                  <a:gs pos="100000">
                    <a:srgbClr val="5EA0EF"/>
                  </a:gs>
                </a:gsLst>
                <a:lin ang="16200000" scaled="1"/>
                <a:tileRect/>
              </a:gradFill>
              <a:ln>
                <a:noFill/>
              </a:ln>
              <a:effectLst>
                <a:outerShdw blurRad="63500" dir="5400000" algn="t"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3" name="Group 132">
              <a:extLst>
                <a:ext uri="{FF2B5EF4-FFF2-40B4-BE49-F238E27FC236}">
                  <a16:creationId xmlns:a16="http://schemas.microsoft.com/office/drawing/2014/main" id="{4F60049D-8A1F-4466-8E65-D506B90BA530}"/>
                </a:ext>
              </a:extLst>
            </p:cNvPr>
            <p:cNvGrpSpPr/>
            <p:nvPr/>
          </p:nvGrpSpPr>
          <p:grpSpPr>
            <a:xfrm>
              <a:off x="7152171" y="2412635"/>
              <a:ext cx="224105" cy="431448"/>
              <a:chOff x="7281244" y="2203865"/>
              <a:chExt cx="375821" cy="723531"/>
            </a:xfrm>
          </p:grpSpPr>
          <p:sp>
            <p:nvSpPr>
              <p:cNvPr id="134" name="Rectangle: Rounded Corners 133">
                <a:extLst>
                  <a:ext uri="{FF2B5EF4-FFF2-40B4-BE49-F238E27FC236}">
                    <a16:creationId xmlns:a16="http://schemas.microsoft.com/office/drawing/2014/main" id="{978B74D3-D2F7-4A3B-910B-17F4E634E340}"/>
                  </a:ext>
                </a:extLst>
              </p:cNvPr>
              <p:cNvSpPr/>
              <p:nvPr/>
            </p:nvSpPr>
            <p:spPr bwMode="auto">
              <a:xfrm>
                <a:off x="7281244" y="2203865"/>
                <a:ext cx="375821" cy="723531"/>
              </a:xfrm>
              <a:prstGeom prst="roundRect">
                <a:avLst>
                  <a:gd name="adj" fmla="val 13911"/>
                </a:avLst>
              </a:prstGeom>
              <a:ln w="36513"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35" name="Rectangle 134">
                <a:extLst>
                  <a:ext uri="{FF2B5EF4-FFF2-40B4-BE49-F238E27FC236}">
                    <a16:creationId xmlns:a16="http://schemas.microsoft.com/office/drawing/2014/main" id="{B436A529-36BE-4B83-8BA9-D97F29B7B7A9}"/>
                  </a:ext>
                </a:extLst>
              </p:cNvPr>
              <p:cNvSpPr/>
              <p:nvPr/>
            </p:nvSpPr>
            <p:spPr bwMode="auto">
              <a:xfrm>
                <a:off x="7314913" y="2309674"/>
                <a:ext cx="308483" cy="542491"/>
              </a:xfrm>
              <a:prstGeom prst="rect">
                <a:avLst/>
              </a:prstGeom>
              <a:gradFill flip="none" rotWithShape="1">
                <a:gsLst>
                  <a:gs pos="1250">
                    <a:srgbClr val="047AD5"/>
                  </a:gs>
                  <a:gs pos="100000">
                    <a:srgbClr val="5EA0EF"/>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37" name="Rectangle: Rounded Corners 136">
                <a:extLst>
                  <a:ext uri="{FF2B5EF4-FFF2-40B4-BE49-F238E27FC236}">
                    <a16:creationId xmlns:a16="http://schemas.microsoft.com/office/drawing/2014/main" id="{44D481A3-4F0F-4985-BFF5-4D00292FDB4B}"/>
                  </a:ext>
                </a:extLst>
              </p:cNvPr>
              <p:cNvSpPr/>
              <p:nvPr/>
            </p:nvSpPr>
            <p:spPr bwMode="auto">
              <a:xfrm>
                <a:off x="7386892" y="2234851"/>
                <a:ext cx="164524" cy="18288"/>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47" name="Rectangle: Rounded Corners 146">
                <a:extLst>
                  <a:ext uri="{FF2B5EF4-FFF2-40B4-BE49-F238E27FC236}">
                    <a16:creationId xmlns:a16="http://schemas.microsoft.com/office/drawing/2014/main" id="{C7FEDD1A-49E1-4418-A092-961DB0AB37D8}"/>
                  </a:ext>
                </a:extLst>
              </p:cNvPr>
              <p:cNvSpPr/>
              <p:nvPr/>
            </p:nvSpPr>
            <p:spPr bwMode="auto">
              <a:xfrm>
                <a:off x="7443819" y="2856971"/>
                <a:ext cx="50671" cy="50671"/>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A02E0363-EFD1-4A27-BF07-FEFEBBFE5AAB}"/>
              </a:ext>
            </a:extLst>
          </p:cNvPr>
          <p:cNvGrpSpPr/>
          <p:nvPr/>
        </p:nvGrpSpPr>
        <p:grpSpPr>
          <a:xfrm>
            <a:off x="7159616" y="4142909"/>
            <a:ext cx="664098" cy="641841"/>
            <a:chOff x="6615499" y="3470561"/>
            <a:chExt cx="664098" cy="641841"/>
          </a:xfrm>
        </p:grpSpPr>
        <p:grpSp>
          <p:nvGrpSpPr>
            <p:cNvPr id="151" name="Group 150">
              <a:extLst>
                <a:ext uri="{FF2B5EF4-FFF2-40B4-BE49-F238E27FC236}">
                  <a16:creationId xmlns:a16="http://schemas.microsoft.com/office/drawing/2014/main" id="{7DCFA2FB-0845-40F5-BD7F-7058B8F4BDDE}"/>
                </a:ext>
              </a:extLst>
            </p:cNvPr>
            <p:cNvGrpSpPr/>
            <p:nvPr/>
          </p:nvGrpSpPr>
          <p:grpSpPr>
            <a:xfrm>
              <a:off x="6615499" y="3470561"/>
              <a:ext cx="664098" cy="641841"/>
              <a:chOff x="6497808" y="2230915"/>
              <a:chExt cx="664098" cy="641841"/>
            </a:xfrm>
          </p:grpSpPr>
          <p:pic>
            <p:nvPicPr>
              <p:cNvPr id="156" name="Graphic 155">
                <a:extLst>
                  <a:ext uri="{FF2B5EF4-FFF2-40B4-BE49-F238E27FC236}">
                    <a16:creationId xmlns:a16="http://schemas.microsoft.com/office/drawing/2014/main" id="{EED13FBE-1853-4AB0-8D69-4A85EA7A378E}"/>
                  </a:ext>
                </a:extLst>
              </p:cNvPr>
              <p:cNvPicPr>
                <a:picLocks noChangeAspect="1"/>
              </p:cNvPicPr>
              <p:nvPr/>
            </p:nvPicPr>
            <p:blipFill rotWithShape="1">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t="67639"/>
              <a:stretch/>
            </p:blipFill>
            <p:spPr>
              <a:xfrm>
                <a:off x="6497808" y="2662363"/>
                <a:ext cx="664098" cy="210393"/>
              </a:xfrm>
              <a:prstGeom prst="rect">
                <a:avLst/>
              </a:prstGeom>
            </p:spPr>
          </p:pic>
          <p:sp>
            <p:nvSpPr>
              <p:cNvPr id="157" name="Rectangle: Rounded Corners 156">
                <a:extLst>
                  <a:ext uri="{FF2B5EF4-FFF2-40B4-BE49-F238E27FC236}">
                    <a16:creationId xmlns:a16="http://schemas.microsoft.com/office/drawing/2014/main" id="{EC2C53BE-FE1E-42AC-AB77-86651A73AE68}"/>
                  </a:ext>
                </a:extLst>
              </p:cNvPr>
              <p:cNvSpPr/>
              <p:nvPr/>
            </p:nvSpPr>
            <p:spPr>
              <a:xfrm>
                <a:off x="6500848" y="2230915"/>
                <a:ext cx="658018" cy="431448"/>
              </a:xfrm>
              <a:prstGeom prst="roundRect">
                <a:avLst>
                  <a:gd name="adj" fmla="val 4559"/>
                </a:avLst>
              </a:prstGeom>
              <a:gradFill flip="none" rotWithShape="1">
                <a:gsLst>
                  <a:gs pos="1250">
                    <a:srgbClr val="047AD5"/>
                  </a:gs>
                  <a:gs pos="100000">
                    <a:srgbClr val="5EA0EF"/>
                  </a:gs>
                </a:gsLst>
                <a:lin ang="16200000" scaled="1"/>
                <a:tileRect/>
              </a:gradFill>
              <a:ln>
                <a:noFill/>
              </a:ln>
              <a:effectLst>
                <a:outerShdw blurRad="63500" dir="5400000" algn="t"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52" name="Graphic 151" descr="Checkmark">
              <a:extLst>
                <a:ext uri="{FF2B5EF4-FFF2-40B4-BE49-F238E27FC236}">
                  <a16:creationId xmlns:a16="http://schemas.microsoft.com/office/drawing/2014/main" id="{897505F4-7C91-41FC-AEA7-774D40B538BD}"/>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7059076" y="3607219"/>
              <a:ext cx="201213" cy="201213"/>
            </a:xfrm>
            <a:prstGeom prst="rect">
              <a:avLst/>
            </a:prstGeom>
          </p:spPr>
        </p:pic>
        <p:grpSp>
          <p:nvGrpSpPr>
            <p:cNvPr id="153" name="Graphic 249" descr="working parts">
              <a:extLst>
                <a:ext uri="{FF2B5EF4-FFF2-40B4-BE49-F238E27FC236}">
                  <a16:creationId xmlns:a16="http://schemas.microsoft.com/office/drawing/2014/main" id="{9FFABD83-AA8A-4810-9DAC-5EB17FA56B3A}"/>
                </a:ext>
              </a:extLst>
            </p:cNvPr>
            <p:cNvGrpSpPr/>
            <p:nvPr/>
          </p:nvGrpSpPr>
          <p:grpSpPr>
            <a:xfrm>
              <a:off x="6744189" y="3506248"/>
              <a:ext cx="363123" cy="362806"/>
              <a:chOff x="1602692" y="5719386"/>
              <a:chExt cx="487846" cy="487420"/>
            </a:xfrm>
            <a:solidFill>
              <a:schemeClr val="tx1"/>
            </a:solidFill>
          </p:grpSpPr>
          <p:sp>
            <p:nvSpPr>
              <p:cNvPr id="154" name="Freeform: Shape 153">
                <a:extLst>
                  <a:ext uri="{FF2B5EF4-FFF2-40B4-BE49-F238E27FC236}">
                    <a16:creationId xmlns:a16="http://schemas.microsoft.com/office/drawing/2014/main" id="{1BDADB8D-C05E-4F37-8986-1AC6626234B4}"/>
                  </a:ext>
                </a:extLst>
              </p:cNvPr>
              <p:cNvSpPr/>
              <p:nvPr/>
            </p:nvSpPr>
            <p:spPr>
              <a:xfrm>
                <a:off x="1602692" y="5871964"/>
                <a:ext cx="334842" cy="334842"/>
              </a:xfrm>
              <a:custGeom>
                <a:avLst/>
                <a:gdLst>
                  <a:gd name="connsiteX0" fmla="*/ 336522 w 334841"/>
                  <a:gd name="connsiteY0" fmla="*/ 186368 h 334841"/>
                  <a:gd name="connsiteX1" fmla="*/ 336522 w 334841"/>
                  <a:gd name="connsiteY1" fmla="*/ 151250 h 334841"/>
                  <a:gd name="connsiteX2" fmla="*/ 300122 w 334841"/>
                  <a:gd name="connsiteY2" fmla="*/ 151250 h 334841"/>
                  <a:gd name="connsiteX3" fmla="*/ 274232 w 334841"/>
                  <a:gd name="connsiteY3" fmla="*/ 88942 h 334841"/>
                  <a:gd name="connsiteX4" fmla="*/ 299951 w 334841"/>
                  <a:gd name="connsiteY4" fmla="*/ 63286 h 334841"/>
                  <a:gd name="connsiteX5" fmla="*/ 275086 w 334841"/>
                  <a:gd name="connsiteY5" fmla="*/ 38482 h 334841"/>
                  <a:gd name="connsiteX6" fmla="*/ 249367 w 334841"/>
                  <a:gd name="connsiteY6" fmla="*/ 64053 h 334841"/>
                  <a:gd name="connsiteX7" fmla="*/ 186906 w 334841"/>
                  <a:gd name="connsiteY7" fmla="*/ 38226 h 334841"/>
                  <a:gd name="connsiteX8" fmla="*/ 186906 w 334841"/>
                  <a:gd name="connsiteY8" fmla="*/ 2001 h 334841"/>
                  <a:gd name="connsiteX9" fmla="*/ 151702 w 334841"/>
                  <a:gd name="connsiteY9" fmla="*/ 2001 h 334841"/>
                  <a:gd name="connsiteX10" fmla="*/ 151702 w 334841"/>
                  <a:gd name="connsiteY10" fmla="*/ 38311 h 334841"/>
                  <a:gd name="connsiteX11" fmla="*/ 89241 w 334841"/>
                  <a:gd name="connsiteY11" fmla="*/ 64138 h 334841"/>
                  <a:gd name="connsiteX12" fmla="*/ 63522 w 334841"/>
                  <a:gd name="connsiteY12" fmla="*/ 38482 h 334841"/>
                  <a:gd name="connsiteX13" fmla="*/ 38657 w 334841"/>
                  <a:gd name="connsiteY13" fmla="*/ 63286 h 334841"/>
                  <a:gd name="connsiteX14" fmla="*/ 64291 w 334841"/>
                  <a:gd name="connsiteY14" fmla="*/ 88942 h 334841"/>
                  <a:gd name="connsiteX15" fmla="*/ 38401 w 334841"/>
                  <a:gd name="connsiteY15" fmla="*/ 151250 h 334841"/>
                  <a:gd name="connsiteX16" fmla="*/ 2001 w 334841"/>
                  <a:gd name="connsiteY16" fmla="*/ 151250 h 334841"/>
                  <a:gd name="connsiteX17" fmla="*/ 2001 w 334841"/>
                  <a:gd name="connsiteY17" fmla="*/ 186368 h 334841"/>
                  <a:gd name="connsiteX18" fmla="*/ 38401 w 334841"/>
                  <a:gd name="connsiteY18" fmla="*/ 186368 h 334841"/>
                  <a:gd name="connsiteX19" fmla="*/ 64291 w 334841"/>
                  <a:gd name="connsiteY19" fmla="*/ 248676 h 334841"/>
                  <a:gd name="connsiteX20" fmla="*/ 38572 w 334841"/>
                  <a:gd name="connsiteY20" fmla="*/ 274332 h 334841"/>
                  <a:gd name="connsiteX21" fmla="*/ 63436 w 334841"/>
                  <a:gd name="connsiteY21" fmla="*/ 299136 h 334841"/>
                  <a:gd name="connsiteX22" fmla="*/ 89156 w 334841"/>
                  <a:gd name="connsiteY22" fmla="*/ 273480 h 334841"/>
                  <a:gd name="connsiteX23" fmla="*/ 151617 w 334841"/>
                  <a:gd name="connsiteY23" fmla="*/ 299306 h 334841"/>
                  <a:gd name="connsiteX24" fmla="*/ 151617 w 334841"/>
                  <a:gd name="connsiteY24" fmla="*/ 335617 h 334841"/>
                  <a:gd name="connsiteX25" fmla="*/ 186820 w 334841"/>
                  <a:gd name="connsiteY25" fmla="*/ 335617 h 334841"/>
                  <a:gd name="connsiteX26" fmla="*/ 186820 w 334841"/>
                  <a:gd name="connsiteY26" fmla="*/ 299306 h 334841"/>
                  <a:gd name="connsiteX27" fmla="*/ 249281 w 334841"/>
                  <a:gd name="connsiteY27" fmla="*/ 273480 h 334841"/>
                  <a:gd name="connsiteX28" fmla="*/ 275001 w 334841"/>
                  <a:gd name="connsiteY28" fmla="*/ 299136 h 334841"/>
                  <a:gd name="connsiteX29" fmla="*/ 299865 w 334841"/>
                  <a:gd name="connsiteY29" fmla="*/ 274332 h 334841"/>
                  <a:gd name="connsiteX30" fmla="*/ 274147 w 334841"/>
                  <a:gd name="connsiteY30" fmla="*/ 248676 h 334841"/>
                  <a:gd name="connsiteX31" fmla="*/ 300036 w 334841"/>
                  <a:gd name="connsiteY31" fmla="*/ 186368 h 334841"/>
                  <a:gd name="connsiteX32" fmla="*/ 336522 w 334841"/>
                  <a:gd name="connsiteY32" fmla="*/ 186368 h 334841"/>
                  <a:gd name="connsiteX33" fmla="*/ 169219 w 334841"/>
                  <a:gd name="connsiteY33" fmla="*/ 249443 h 334841"/>
                  <a:gd name="connsiteX34" fmla="*/ 88472 w 334841"/>
                  <a:gd name="connsiteY34" fmla="*/ 168894 h 334841"/>
                  <a:gd name="connsiteX35" fmla="*/ 169219 w 334841"/>
                  <a:gd name="connsiteY35" fmla="*/ 88345 h 334841"/>
                  <a:gd name="connsiteX36" fmla="*/ 249965 w 334841"/>
                  <a:gd name="connsiteY36" fmla="*/ 168894 h 334841"/>
                  <a:gd name="connsiteX37" fmla="*/ 169219 w 334841"/>
                  <a:gd name="connsiteY37" fmla="*/ 249443 h 3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4841" h="334841">
                    <a:moveTo>
                      <a:pt x="336522" y="186368"/>
                    </a:moveTo>
                    <a:lnTo>
                      <a:pt x="336522" y="151250"/>
                    </a:lnTo>
                    <a:lnTo>
                      <a:pt x="300122" y="151250"/>
                    </a:lnTo>
                    <a:cubicBezTo>
                      <a:pt x="297046" y="127980"/>
                      <a:pt x="287818" y="106671"/>
                      <a:pt x="274232" y="88942"/>
                    </a:cubicBezTo>
                    <a:lnTo>
                      <a:pt x="299951" y="63286"/>
                    </a:lnTo>
                    <a:lnTo>
                      <a:pt x="275086" y="38482"/>
                    </a:lnTo>
                    <a:lnTo>
                      <a:pt x="249367" y="64053"/>
                    </a:lnTo>
                    <a:cubicBezTo>
                      <a:pt x="231594" y="50500"/>
                      <a:pt x="210147" y="41295"/>
                      <a:pt x="186906" y="38226"/>
                    </a:cubicBezTo>
                    <a:lnTo>
                      <a:pt x="186906" y="2001"/>
                    </a:lnTo>
                    <a:lnTo>
                      <a:pt x="151702" y="2001"/>
                    </a:lnTo>
                    <a:lnTo>
                      <a:pt x="151702" y="38311"/>
                    </a:lnTo>
                    <a:cubicBezTo>
                      <a:pt x="128375" y="41380"/>
                      <a:pt x="107014" y="50586"/>
                      <a:pt x="89241" y="64138"/>
                    </a:cubicBezTo>
                    <a:lnTo>
                      <a:pt x="63522" y="38482"/>
                    </a:lnTo>
                    <a:lnTo>
                      <a:pt x="38657" y="63286"/>
                    </a:lnTo>
                    <a:lnTo>
                      <a:pt x="64291" y="88942"/>
                    </a:lnTo>
                    <a:cubicBezTo>
                      <a:pt x="50705" y="106671"/>
                      <a:pt x="41477" y="128065"/>
                      <a:pt x="38401" y="151250"/>
                    </a:cubicBezTo>
                    <a:lnTo>
                      <a:pt x="2001" y="151250"/>
                    </a:lnTo>
                    <a:lnTo>
                      <a:pt x="2001" y="186368"/>
                    </a:lnTo>
                    <a:lnTo>
                      <a:pt x="38401" y="186368"/>
                    </a:lnTo>
                    <a:cubicBezTo>
                      <a:pt x="41477" y="209637"/>
                      <a:pt x="50705" y="230946"/>
                      <a:pt x="64291" y="248676"/>
                    </a:cubicBezTo>
                    <a:lnTo>
                      <a:pt x="38572" y="274332"/>
                    </a:lnTo>
                    <a:lnTo>
                      <a:pt x="63436" y="299136"/>
                    </a:lnTo>
                    <a:lnTo>
                      <a:pt x="89156" y="273480"/>
                    </a:lnTo>
                    <a:cubicBezTo>
                      <a:pt x="106929" y="287032"/>
                      <a:pt x="128375" y="296238"/>
                      <a:pt x="151617" y="299306"/>
                    </a:cubicBezTo>
                    <a:lnTo>
                      <a:pt x="151617" y="335617"/>
                    </a:lnTo>
                    <a:lnTo>
                      <a:pt x="186820" y="335617"/>
                    </a:lnTo>
                    <a:lnTo>
                      <a:pt x="186820" y="299306"/>
                    </a:lnTo>
                    <a:cubicBezTo>
                      <a:pt x="210147" y="296238"/>
                      <a:pt x="231509" y="287032"/>
                      <a:pt x="249281" y="273480"/>
                    </a:cubicBezTo>
                    <a:lnTo>
                      <a:pt x="275001" y="299136"/>
                    </a:lnTo>
                    <a:lnTo>
                      <a:pt x="299865" y="274332"/>
                    </a:lnTo>
                    <a:lnTo>
                      <a:pt x="274147" y="248676"/>
                    </a:lnTo>
                    <a:cubicBezTo>
                      <a:pt x="287732" y="230946"/>
                      <a:pt x="296960" y="209552"/>
                      <a:pt x="300036" y="186368"/>
                    </a:cubicBezTo>
                    <a:lnTo>
                      <a:pt x="336522" y="186368"/>
                    </a:lnTo>
                    <a:close/>
                    <a:moveTo>
                      <a:pt x="169219" y="249443"/>
                    </a:moveTo>
                    <a:cubicBezTo>
                      <a:pt x="124701" y="249443"/>
                      <a:pt x="88472" y="213303"/>
                      <a:pt x="88472" y="168894"/>
                    </a:cubicBezTo>
                    <a:cubicBezTo>
                      <a:pt x="88472" y="124486"/>
                      <a:pt x="124701" y="88345"/>
                      <a:pt x="169219" y="88345"/>
                    </a:cubicBezTo>
                    <a:cubicBezTo>
                      <a:pt x="213736" y="88345"/>
                      <a:pt x="249965" y="124486"/>
                      <a:pt x="249965" y="168894"/>
                    </a:cubicBezTo>
                    <a:cubicBezTo>
                      <a:pt x="249965" y="213303"/>
                      <a:pt x="213821" y="249443"/>
                      <a:pt x="169219" y="249443"/>
                    </a:cubicBezTo>
                    <a:close/>
                  </a:path>
                </a:pathLst>
              </a:custGeom>
              <a:grp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DB81BA41-7A7F-4136-BB6B-311FB2ED8278}"/>
                  </a:ext>
                </a:extLst>
              </p:cNvPr>
              <p:cNvSpPr/>
              <p:nvPr/>
            </p:nvSpPr>
            <p:spPr>
              <a:xfrm>
                <a:off x="1882530" y="5719386"/>
                <a:ext cx="208008" cy="208008"/>
              </a:xfrm>
              <a:custGeom>
                <a:avLst/>
                <a:gdLst>
                  <a:gd name="connsiteX0" fmla="*/ 208780 w 208007"/>
                  <a:gd name="connsiteY0" fmla="*/ 115962 h 208007"/>
                  <a:gd name="connsiteX1" fmla="*/ 208780 w 208007"/>
                  <a:gd name="connsiteY1" fmla="*/ 94227 h 208007"/>
                  <a:gd name="connsiteX2" fmla="*/ 186308 w 208007"/>
                  <a:gd name="connsiteY2" fmla="*/ 94227 h 208007"/>
                  <a:gd name="connsiteX3" fmla="*/ 170329 w 208007"/>
                  <a:gd name="connsiteY3" fmla="*/ 55700 h 208007"/>
                  <a:gd name="connsiteX4" fmla="*/ 186222 w 208007"/>
                  <a:gd name="connsiteY4" fmla="*/ 39846 h 208007"/>
                  <a:gd name="connsiteX5" fmla="*/ 170842 w 208007"/>
                  <a:gd name="connsiteY5" fmla="*/ 24503 h 208007"/>
                  <a:gd name="connsiteX6" fmla="*/ 154863 w 208007"/>
                  <a:gd name="connsiteY6" fmla="*/ 40357 h 208007"/>
                  <a:gd name="connsiteX7" fmla="*/ 116242 w 208007"/>
                  <a:gd name="connsiteY7" fmla="*/ 24418 h 208007"/>
                  <a:gd name="connsiteX8" fmla="*/ 116242 w 208007"/>
                  <a:gd name="connsiteY8" fmla="*/ 2001 h 208007"/>
                  <a:gd name="connsiteX9" fmla="*/ 94453 w 208007"/>
                  <a:gd name="connsiteY9" fmla="*/ 2001 h 208007"/>
                  <a:gd name="connsiteX10" fmla="*/ 94453 w 208007"/>
                  <a:gd name="connsiteY10" fmla="*/ 24418 h 208007"/>
                  <a:gd name="connsiteX11" fmla="*/ 55831 w 208007"/>
                  <a:gd name="connsiteY11" fmla="*/ 40357 h 208007"/>
                  <a:gd name="connsiteX12" fmla="*/ 39939 w 208007"/>
                  <a:gd name="connsiteY12" fmla="*/ 24503 h 208007"/>
                  <a:gd name="connsiteX13" fmla="*/ 24558 w 208007"/>
                  <a:gd name="connsiteY13" fmla="*/ 39846 h 208007"/>
                  <a:gd name="connsiteX14" fmla="*/ 40451 w 208007"/>
                  <a:gd name="connsiteY14" fmla="*/ 55700 h 208007"/>
                  <a:gd name="connsiteX15" fmla="*/ 24473 w 208007"/>
                  <a:gd name="connsiteY15" fmla="*/ 94227 h 208007"/>
                  <a:gd name="connsiteX16" fmla="*/ 2001 w 208007"/>
                  <a:gd name="connsiteY16" fmla="*/ 94227 h 208007"/>
                  <a:gd name="connsiteX17" fmla="*/ 2001 w 208007"/>
                  <a:gd name="connsiteY17" fmla="*/ 115962 h 208007"/>
                  <a:gd name="connsiteX18" fmla="*/ 24473 w 208007"/>
                  <a:gd name="connsiteY18" fmla="*/ 115962 h 208007"/>
                  <a:gd name="connsiteX19" fmla="*/ 40451 w 208007"/>
                  <a:gd name="connsiteY19" fmla="*/ 154489 h 208007"/>
                  <a:gd name="connsiteX20" fmla="*/ 24558 w 208007"/>
                  <a:gd name="connsiteY20" fmla="*/ 170343 h 208007"/>
                  <a:gd name="connsiteX21" fmla="*/ 39939 w 208007"/>
                  <a:gd name="connsiteY21" fmla="*/ 185686 h 208007"/>
                  <a:gd name="connsiteX22" fmla="*/ 55831 w 208007"/>
                  <a:gd name="connsiteY22" fmla="*/ 169832 h 208007"/>
                  <a:gd name="connsiteX23" fmla="*/ 94453 w 208007"/>
                  <a:gd name="connsiteY23" fmla="*/ 185771 h 208007"/>
                  <a:gd name="connsiteX24" fmla="*/ 94453 w 208007"/>
                  <a:gd name="connsiteY24" fmla="*/ 208273 h 208007"/>
                  <a:gd name="connsiteX25" fmla="*/ 116242 w 208007"/>
                  <a:gd name="connsiteY25" fmla="*/ 208273 h 208007"/>
                  <a:gd name="connsiteX26" fmla="*/ 116242 w 208007"/>
                  <a:gd name="connsiteY26" fmla="*/ 185856 h 208007"/>
                  <a:gd name="connsiteX27" fmla="*/ 154863 w 208007"/>
                  <a:gd name="connsiteY27" fmla="*/ 169917 h 208007"/>
                  <a:gd name="connsiteX28" fmla="*/ 170756 w 208007"/>
                  <a:gd name="connsiteY28" fmla="*/ 185771 h 208007"/>
                  <a:gd name="connsiteX29" fmla="*/ 186137 w 208007"/>
                  <a:gd name="connsiteY29" fmla="*/ 170428 h 208007"/>
                  <a:gd name="connsiteX30" fmla="*/ 170244 w 208007"/>
                  <a:gd name="connsiteY30" fmla="*/ 154574 h 208007"/>
                  <a:gd name="connsiteX31" fmla="*/ 186222 w 208007"/>
                  <a:gd name="connsiteY31" fmla="*/ 116047 h 208007"/>
                  <a:gd name="connsiteX32" fmla="*/ 208780 w 208007"/>
                  <a:gd name="connsiteY32" fmla="*/ 116047 h 208007"/>
                  <a:gd name="connsiteX33" fmla="*/ 208780 w 208007"/>
                  <a:gd name="connsiteY33" fmla="*/ 115962 h 208007"/>
                  <a:gd name="connsiteX34" fmla="*/ 105390 w 208007"/>
                  <a:gd name="connsiteY34" fmla="*/ 154915 h 208007"/>
                  <a:gd name="connsiteX35" fmla="*/ 55490 w 208007"/>
                  <a:gd name="connsiteY35" fmla="*/ 105137 h 208007"/>
                  <a:gd name="connsiteX36" fmla="*/ 105390 w 208007"/>
                  <a:gd name="connsiteY36" fmla="*/ 55359 h 208007"/>
                  <a:gd name="connsiteX37" fmla="*/ 155291 w 208007"/>
                  <a:gd name="connsiteY37" fmla="*/ 105137 h 208007"/>
                  <a:gd name="connsiteX38" fmla="*/ 105390 w 208007"/>
                  <a:gd name="connsiteY38" fmla="*/ 154915 h 20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8007" h="208007">
                    <a:moveTo>
                      <a:pt x="208780" y="115962"/>
                    </a:moveTo>
                    <a:lnTo>
                      <a:pt x="208780" y="94227"/>
                    </a:lnTo>
                    <a:lnTo>
                      <a:pt x="186308" y="94227"/>
                    </a:lnTo>
                    <a:cubicBezTo>
                      <a:pt x="184428" y="79822"/>
                      <a:pt x="178703" y="66695"/>
                      <a:pt x="170329" y="55700"/>
                    </a:cubicBezTo>
                    <a:lnTo>
                      <a:pt x="186222" y="39846"/>
                    </a:lnTo>
                    <a:lnTo>
                      <a:pt x="170842" y="24503"/>
                    </a:lnTo>
                    <a:lnTo>
                      <a:pt x="154863" y="40357"/>
                    </a:lnTo>
                    <a:cubicBezTo>
                      <a:pt x="143841" y="32004"/>
                      <a:pt x="130682" y="26293"/>
                      <a:pt x="116242" y="24418"/>
                    </a:cubicBezTo>
                    <a:lnTo>
                      <a:pt x="116242" y="2001"/>
                    </a:lnTo>
                    <a:lnTo>
                      <a:pt x="94453" y="2001"/>
                    </a:lnTo>
                    <a:lnTo>
                      <a:pt x="94453" y="24418"/>
                    </a:lnTo>
                    <a:cubicBezTo>
                      <a:pt x="80013" y="26293"/>
                      <a:pt x="66854" y="32004"/>
                      <a:pt x="55831" y="40357"/>
                    </a:cubicBezTo>
                    <a:lnTo>
                      <a:pt x="39939" y="24503"/>
                    </a:lnTo>
                    <a:lnTo>
                      <a:pt x="24558" y="39846"/>
                    </a:lnTo>
                    <a:lnTo>
                      <a:pt x="40451" y="55700"/>
                    </a:lnTo>
                    <a:cubicBezTo>
                      <a:pt x="32078" y="66695"/>
                      <a:pt x="26353" y="79822"/>
                      <a:pt x="24473" y="94227"/>
                    </a:cubicBezTo>
                    <a:lnTo>
                      <a:pt x="2001" y="94227"/>
                    </a:lnTo>
                    <a:lnTo>
                      <a:pt x="2001" y="115962"/>
                    </a:lnTo>
                    <a:lnTo>
                      <a:pt x="24473" y="115962"/>
                    </a:lnTo>
                    <a:cubicBezTo>
                      <a:pt x="26353" y="130367"/>
                      <a:pt x="32078" y="143494"/>
                      <a:pt x="40451" y="154489"/>
                    </a:cubicBezTo>
                    <a:lnTo>
                      <a:pt x="24558" y="170343"/>
                    </a:lnTo>
                    <a:lnTo>
                      <a:pt x="39939" y="185686"/>
                    </a:lnTo>
                    <a:lnTo>
                      <a:pt x="55831" y="169832"/>
                    </a:lnTo>
                    <a:cubicBezTo>
                      <a:pt x="66854" y="178185"/>
                      <a:pt x="80013" y="183896"/>
                      <a:pt x="94453" y="185771"/>
                    </a:cubicBezTo>
                    <a:lnTo>
                      <a:pt x="94453" y="208273"/>
                    </a:lnTo>
                    <a:lnTo>
                      <a:pt x="116242" y="208273"/>
                    </a:lnTo>
                    <a:lnTo>
                      <a:pt x="116242" y="185856"/>
                    </a:lnTo>
                    <a:cubicBezTo>
                      <a:pt x="130682" y="183981"/>
                      <a:pt x="143841" y="178270"/>
                      <a:pt x="154863" y="169917"/>
                    </a:cubicBezTo>
                    <a:lnTo>
                      <a:pt x="170756" y="185771"/>
                    </a:lnTo>
                    <a:lnTo>
                      <a:pt x="186137" y="170428"/>
                    </a:lnTo>
                    <a:lnTo>
                      <a:pt x="170244" y="154574"/>
                    </a:lnTo>
                    <a:cubicBezTo>
                      <a:pt x="178617" y="143579"/>
                      <a:pt x="184342" y="130452"/>
                      <a:pt x="186222" y="116047"/>
                    </a:cubicBezTo>
                    <a:lnTo>
                      <a:pt x="208780" y="116047"/>
                    </a:lnTo>
                    <a:lnTo>
                      <a:pt x="208780" y="115962"/>
                    </a:lnTo>
                    <a:close/>
                    <a:moveTo>
                      <a:pt x="105390" y="154915"/>
                    </a:moveTo>
                    <a:cubicBezTo>
                      <a:pt x="77877" y="154915"/>
                      <a:pt x="55490" y="132583"/>
                      <a:pt x="55490" y="105137"/>
                    </a:cubicBezTo>
                    <a:cubicBezTo>
                      <a:pt x="55490" y="77691"/>
                      <a:pt x="77877" y="55359"/>
                      <a:pt x="105390" y="55359"/>
                    </a:cubicBezTo>
                    <a:cubicBezTo>
                      <a:pt x="132904" y="55359"/>
                      <a:pt x="155291" y="77691"/>
                      <a:pt x="155291" y="105137"/>
                    </a:cubicBezTo>
                    <a:cubicBezTo>
                      <a:pt x="155291" y="132583"/>
                      <a:pt x="132904" y="154915"/>
                      <a:pt x="105390" y="154915"/>
                    </a:cubicBezTo>
                    <a:close/>
                  </a:path>
                </a:pathLst>
              </a:custGeom>
              <a:grp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8" name="Group 157">
            <a:extLst>
              <a:ext uri="{FF2B5EF4-FFF2-40B4-BE49-F238E27FC236}">
                <a16:creationId xmlns:a16="http://schemas.microsoft.com/office/drawing/2014/main" id="{A23EFF84-C478-43D2-9B47-A832C9E78323}"/>
              </a:ext>
            </a:extLst>
          </p:cNvPr>
          <p:cNvGrpSpPr/>
          <p:nvPr/>
        </p:nvGrpSpPr>
        <p:grpSpPr>
          <a:xfrm>
            <a:off x="4377842" y="1599691"/>
            <a:ext cx="200600" cy="81125"/>
            <a:chOff x="4468482" y="2997679"/>
            <a:chExt cx="1066539" cy="431321"/>
          </a:xfrm>
          <a:solidFill>
            <a:schemeClr val="bg1"/>
          </a:solidFill>
        </p:grpSpPr>
        <p:grpSp>
          <p:nvGrpSpPr>
            <p:cNvPr id="159" name="Group 158">
              <a:extLst>
                <a:ext uri="{FF2B5EF4-FFF2-40B4-BE49-F238E27FC236}">
                  <a16:creationId xmlns:a16="http://schemas.microsoft.com/office/drawing/2014/main" id="{617E35E6-5C23-4F7B-90A2-80B649B8E4BB}"/>
                </a:ext>
              </a:extLst>
            </p:cNvPr>
            <p:cNvGrpSpPr/>
            <p:nvPr/>
          </p:nvGrpSpPr>
          <p:grpSpPr>
            <a:xfrm>
              <a:off x="4468482" y="2997679"/>
              <a:ext cx="431321" cy="431321"/>
              <a:chOff x="4468482" y="2997679"/>
              <a:chExt cx="431321" cy="431321"/>
            </a:xfrm>
            <a:grpFill/>
          </p:grpSpPr>
          <p:sp>
            <p:nvSpPr>
              <p:cNvPr id="164" name="Oval 163">
                <a:extLst>
                  <a:ext uri="{FF2B5EF4-FFF2-40B4-BE49-F238E27FC236}">
                    <a16:creationId xmlns:a16="http://schemas.microsoft.com/office/drawing/2014/main" id="{8136A1B6-CA85-46B9-88D6-1FF11638639D}"/>
                  </a:ext>
                </a:extLst>
              </p:cNvPr>
              <p:cNvSpPr/>
              <p:nvPr/>
            </p:nvSpPr>
            <p:spPr>
              <a:xfrm>
                <a:off x="4483382" y="3012579"/>
                <a:ext cx="401520" cy="401520"/>
              </a:xfrm>
              <a:prstGeom prst="ellipse">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Calibri"/>
                  <a:ea typeface="+mn-ea"/>
                  <a:cs typeface="+mn-cs"/>
                </a:endParaRPr>
              </a:p>
            </p:txBody>
          </p:sp>
          <p:sp>
            <p:nvSpPr>
              <p:cNvPr id="165" name="Circle: Hollow 164">
                <a:extLst>
                  <a:ext uri="{FF2B5EF4-FFF2-40B4-BE49-F238E27FC236}">
                    <a16:creationId xmlns:a16="http://schemas.microsoft.com/office/drawing/2014/main" id="{7C582D5C-7DB7-4C84-B13E-F082AE5A0087}"/>
                  </a:ext>
                </a:extLst>
              </p:cNvPr>
              <p:cNvSpPr/>
              <p:nvPr/>
            </p:nvSpPr>
            <p:spPr>
              <a:xfrm>
                <a:off x="4468482" y="2997679"/>
                <a:ext cx="431321" cy="431321"/>
              </a:xfrm>
              <a:prstGeom prst="donut">
                <a:avLst>
                  <a:gd name="adj" fmla="val 11552"/>
                </a:avLst>
              </a:prstGeom>
              <a:grp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Calibri"/>
                  <a:ea typeface="+mn-ea"/>
                  <a:cs typeface="+mn-cs"/>
                </a:endParaRPr>
              </a:p>
            </p:txBody>
          </p:sp>
        </p:grpSp>
        <p:grpSp>
          <p:nvGrpSpPr>
            <p:cNvPr id="160" name="Group 159">
              <a:extLst>
                <a:ext uri="{FF2B5EF4-FFF2-40B4-BE49-F238E27FC236}">
                  <a16:creationId xmlns:a16="http://schemas.microsoft.com/office/drawing/2014/main" id="{D7C56480-9084-4AFA-AA1A-426E1CC41D86}"/>
                </a:ext>
              </a:extLst>
            </p:cNvPr>
            <p:cNvGrpSpPr/>
            <p:nvPr/>
          </p:nvGrpSpPr>
          <p:grpSpPr>
            <a:xfrm>
              <a:off x="5103700" y="2997679"/>
              <a:ext cx="431321" cy="431321"/>
              <a:chOff x="4468482" y="2997679"/>
              <a:chExt cx="431321" cy="431321"/>
            </a:xfrm>
            <a:grpFill/>
          </p:grpSpPr>
          <p:sp>
            <p:nvSpPr>
              <p:cNvPr id="162" name="Oval 161">
                <a:extLst>
                  <a:ext uri="{FF2B5EF4-FFF2-40B4-BE49-F238E27FC236}">
                    <a16:creationId xmlns:a16="http://schemas.microsoft.com/office/drawing/2014/main" id="{1DF4AD34-B77F-4011-AE4C-8A467B002AEA}"/>
                  </a:ext>
                </a:extLst>
              </p:cNvPr>
              <p:cNvSpPr/>
              <p:nvPr/>
            </p:nvSpPr>
            <p:spPr>
              <a:xfrm>
                <a:off x="4483382" y="3012579"/>
                <a:ext cx="401520" cy="401520"/>
              </a:xfrm>
              <a:prstGeom prst="ellipse">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Calibri"/>
                  <a:ea typeface="+mn-ea"/>
                  <a:cs typeface="+mn-cs"/>
                </a:endParaRPr>
              </a:p>
            </p:txBody>
          </p:sp>
          <p:sp>
            <p:nvSpPr>
              <p:cNvPr id="163" name="Circle: Hollow 162">
                <a:extLst>
                  <a:ext uri="{FF2B5EF4-FFF2-40B4-BE49-F238E27FC236}">
                    <a16:creationId xmlns:a16="http://schemas.microsoft.com/office/drawing/2014/main" id="{4D8CE6E2-6106-4BD2-97F6-91A2E1332DB5}"/>
                  </a:ext>
                </a:extLst>
              </p:cNvPr>
              <p:cNvSpPr/>
              <p:nvPr/>
            </p:nvSpPr>
            <p:spPr>
              <a:xfrm>
                <a:off x="4468482" y="2997679"/>
                <a:ext cx="431321" cy="431321"/>
              </a:xfrm>
              <a:prstGeom prst="donut">
                <a:avLst>
                  <a:gd name="adj" fmla="val 11552"/>
                </a:avLst>
              </a:prstGeom>
              <a:grp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Calibri"/>
                  <a:ea typeface="+mn-ea"/>
                  <a:cs typeface="+mn-cs"/>
                </a:endParaRPr>
              </a:p>
            </p:txBody>
          </p:sp>
        </p:grpSp>
        <p:sp>
          <p:nvSpPr>
            <p:cNvPr id="161" name="Rectangle 160">
              <a:extLst>
                <a:ext uri="{FF2B5EF4-FFF2-40B4-BE49-F238E27FC236}">
                  <a16:creationId xmlns:a16="http://schemas.microsoft.com/office/drawing/2014/main" id="{C2EA8126-DCB1-45F4-BAA9-01593343B794}"/>
                </a:ext>
              </a:extLst>
            </p:cNvPr>
            <p:cNvSpPr/>
            <p:nvPr/>
          </p:nvSpPr>
          <p:spPr>
            <a:xfrm>
              <a:off x="4854319" y="3096099"/>
              <a:ext cx="280751" cy="64306"/>
            </a:xfrm>
            <a:prstGeom prst="rect">
              <a:avLst/>
            </a:prstGeom>
            <a:grp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a:ea typeface="+mn-ea"/>
                <a:cs typeface="+mn-cs"/>
              </a:endParaRPr>
            </a:p>
          </p:txBody>
        </p:sp>
      </p:grpSp>
      <p:grpSp>
        <p:nvGrpSpPr>
          <p:cNvPr id="166" name="Group 165">
            <a:extLst>
              <a:ext uri="{FF2B5EF4-FFF2-40B4-BE49-F238E27FC236}">
                <a16:creationId xmlns:a16="http://schemas.microsoft.com/office/drawing/2014/main" id="{2837246B-E083-4A89-BB63-A7482603E80B}"/>
              </a:ext>
            </a:extLst>
          </p:cNvPr>
          <p:cNvGrpSpPr/>
          <p:nvPr/>
        </p:nvGrpSpPr>
        <p:grpSpPr>
          <a:xfrm>
            <a:off x="4186448" y="1457328"/>
            <a:ext cx="1389623" cy="607587"/>
            <a:chOff x="4155380" y="1450561"/>
            <a:chExt cx="1389623" cy="607587"/>
          </a:xfrm>
        </p:grpSpPr>
        <p:sp>
          <p:nvSpPr>
            <p:cNvPr id="167" name="Title 1">
              <a:extLst>
                <a:ext uri="{FF2B5EF4-FFF2-40B4-BE49-F238E27FC236}">
                  <a16:creationId xmlns:a16="http://schemas.microsoft.com/office/drawing/2014/main" id="{B7F8BF19-6155-4D67-91E2-E905540084F9}"/>
                </a:ext>
              </a:extLst>
            </p:cNvPr>
            <p:cNvSpPr txBox="1">
              <a:spLocks/>
            </p:cNvSpPr>
            <p:nvPr/>
          </p:nvSpPr>
          <p:spPr>
            <a:xfrm>
              <a:off x="4651792" y="1534433"/>
              <a:ext cx="893211" cy="24622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gradFill>
                    <a:gsLst>
                      <a:gs pos="0">
                        <a:srgbClr val="FFFFFF"/>
                      </a:gs>
                      <a:gs pos="100000">
                        <a:srgbClr val="FFFFFF"/>
                      </a:gs>
                    </a:gsLst>
                    <a:lin ang="5400000" scaled="1"/>
                  </a:gradFill>
                  <a:effectLst/>
                  <a:uLnTx/>
                  <a:uFillTx/>
                  <a:latin typeface="Segoe UI"/>
                  <a:ea typeface="+mn-ea"/>
                  <a:cs typeface="Segoe UI Semilight" panose="020B0402040204020203" pitchFamily="34" charset="0"/>
                </a:rPr>
                <a:t>Users</a:t>
              </a:r>
            </a:p>
          </p:txBody>
        </p:sp>
        <p:sp>
          <p:nvSpPr>
            <p:cNvPr id="168" name="Freeform: Shape 167">
              <a:extLst>
                <a:ext uri="{FF2B5EF4-FFF2-40B4-BE49-F238E27FC236}">
                  <a16:creationId xmlns:a16="http://schemas.microsoft.com/office/drawing/2014/main" id="{4D40F4BE-8AC9-4E75-8042-652E1F49EEB6}"/>
                </a:ext>
              </a:extLst>
            </p:cNvPr>
            <p:cNvSpPr/>
            <p:nvPr/>
          </p:nvSpPr>
          <p:spPr>
            <a:xfrm>
              <a:off x="4310042" y="1450561"/>
              <a:ext cx="274722" cy="363201"/>
            </a:xfrm>
            <a:custGeom>
              <a:avLst/>
              <a:gdLst>
                <a:gd name="connsiteX0" fmla="*/ 603050 w 1460635"/>
                <a:gd name="connsiteY0" fmla="*/ 0 h 1931059"/>
                <a:gd name="connsiteX1" fmla="*/ 855015 w 1460635"/>
                <a:gd name="connsiteY1" fmla="*/ 0 h 1931059"/>
                <a:gd name="connsiteX2" fmla="*/ 1378827 w 1460635"/>
                <a:gd name="connsiteY2" fmla="*/ 523812 h 1931059"/>
                <a:gd name="connsiteX3" fmla="*/ 1378827 w 1460635"/>
                <a:gd name="connsiteY3" fmla="*/ 863539 h 1931059"/>
                <a:gd name="connsiteX4" fmla="*/ 1397780 w 1460635"/>
                <a:gd name="connsiteY4" fmla="*/ 861872 h 1931059"/>
                <a:gd name="connsiteX5" fmla="*/ 1259675 w 1460635"/>
                <a:gd name="connsiteY5" fmla="*/ 1421036 h 1931059"/>
                <a:gd name="connsiteX6" fmla="*/ 728741 w 1460635"/>
                <a:gd name="connsiteY6" fmla="*/ 1931059 h 1931059"/>
                <a:gd name="connsiteX7" fmla="*/ 183733 w 1460635"/>
                <a:gd name="connsiteY7" fmla="*/ 1428441 h 1931059"/>
                <a:gd name="connsiteX8" fmla="*/ 67243 w 1460635"/>
                <a:gd name="connsiteY8" fmla="*/ 857644 h 1931059"/>
                <a:gd name="connsiteX9" fmla="*/ 79238 w 1460635"/>
                <a:gd name="connsiteY9" fmla="*/ 857733 h 1931059"/>
                <a:gd name="connsiteX10" fmla="*/ 79238 w 1460635"/>
                <a:gd name="connsiteY10" fmla="*/ 523812 h 1931059"/>
                <a:gd name="connsiteX11" fmla="*/ 603050 w 1460635"/>
                <a:gd name="connsiteY11" fmla="*/ 0 h 193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0635" h="1931059">
                  <a:moveTo>
                    <a:pt x="603050" y="0"/>
                  </a:moveTo>
                  <a:lnTo>
                    <a:pt x="855015" y="0"/>
                  </a:lnTo>
                  <a:cubicBezTo>
                    <a:pt x="1144308" y="0"/>
                    <a:pt x="1378827" y="234519"/>
                    <a:pt x="1378827" y="523812"/>
                  </a:cubicBezTo>
                  <a:lnTo>
                    <a:pt x="1378827" y="863539"/>
                  </a:lnTo>
                  <a:lnTo>
                    <a:pt x="1397780" y="861872"/>
                  </a:lnTo>
                  <a:cubicBezTo>
                    <a:pt x="1546782" y="944307"/>
                    <a:pt x="1402403" y="1318211"/>
                    <a:pt x="1259675" y="1421036"/>
                  </a:cubicBezTo>
                  <a:cubicBezTo>
                    <a:pt x="1259675" y="1655147"/>
                    <a:pt x="962852" y="1931059"/>
                    <a:pt x="728741" y="1931059"/>
                  </a:cubicBezTo>
                  <a:cubicBezTo>
                    <a:pt x="494630" y="1931059"/>
                    <a:pt x="271566" y="1675099"/>
                    <a:pt x="183733" y="1428441"/>
                  </a:cubicBezTo>
                  <a:cubicBezTo>
                    <a:pt x="61776" y="1286797"/>
                    <a:pt x="-89982" y="928708"/>
                    <a:pt x="67243" y="857644"/>
                  </a:cubicBezTo>
                  <a:lnTo>
                    <a:pt x="79238" y="857733"/>
                  </a:lnTo>
                  <a:lnTo>
                    <a:pt x="79238" y="523812"/>
                  </a:lnTo>
                  <a:cubicBezTo>
                    <a:pt x="79238" y="234519"/>
                    <a:pt x="313757" y="0"/>
                    <a:pt x="603050" y="0"/>
                  </a:cubicBezTo>
                  <a:close/>
                </a:path>
              </a:pathLst>
            </a:custGeom>
            <a:solidFill>
              <a:schemeClr val="bg2"/>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a:ea typeface="+mn-ea"/>
                <a:cs typeface="+mn-cs"/>
              </a:endParaRPr>
            </a:p>
          </p:txBody>
        </p:sp>
        <p:sp>
          <p:nvSpPr>
            <p:cNvPr id="169" name="Freeform: Shape 168">
              <a:extLst>
                <a:ext uri="{FF2B5EF4-FFF2-40B4-BE49-F238E27FC236}">
                  <a16:creationId xmlns:a16="http://schemas.microsoft.com/office/drawing/2014/main" id="{4E7D76AB-24A1-4327-98B6-18E34176B234}"/>
                </a:ext>
              </a:extLst>
            </p:cNvPr>
            <p:cNvSpPr/>
            <p:nvPr/>
          </p:nvSpPr>
          <p:spPr>
            <a:xfrm rot="10800000" flipV="1">
              <a:off x="4418930" y="1843844"/>
              <a:ext cx="57634" cy="155812"/>
            </a:xfrm>
            <a:custGeom>
              <a:avLst/>
              <a:gdLst>
                <a:gd name="connsiteX0" fmla="*/ 261737 w 306427"/>
                <a:gd name="connsiteY0" fmla="*/ 299979 h 828419"/>
                <a:gd name="connsiteX1" fmla="*/ 39926 w 306427"/>
                <a:gd name="connsiteY1" fmla="*/ 299979 h 828419"/>
                <a:gd name="connsiteX2" fmla="*/ 1051 w 306427"/>
                <a:gd name="connsiteY2" fmla="*/ 554460 h 828419"/>
                <a:gd name="connsiteX3" fmla="*/ 0 w 306427"/>
                <a:gd name="connsiteY3" fmla="*/ 554456 h 828419"/>
                <a:gd name="connsiteX4" fmla="*/ 814 w 306427"/>
                <a:gd name="connsiteY4" fmla="*/ 556012 h 828419"/>
                <a:gd name="connsiteX5" fmla="*/ 0 w 306427"/>
                <a:gd name="connsiteY5" fmla="*/ 561340 h 828419"/>
                <a:gd name="connsiteX6" fmla="*/ 3594 w 306427"/>
                <a:gd name="connsiteY6" fmla="*/ 561326 h 828419"/>
                <a:gd name="connsiteX7" fmla="*/ 142319 w 306427"/>
                <a:gd name="connsiteY7" fmla="*/ 826533 h 828419"/>
                <a:gd name="connsiteX8" fmla="*/ 178394 w 306427"/>
                <a:gd name="connsiteY8" fmla="*/ 815817 h 828419"/>
                <a:gd name="connsiteX9" fmla="*/ 304208 w 306427"/>
                <a:gd name="connsiteY9" fmla="*/ 560158 h 828419"/>
                <a:gd name="connsiteX10" fmla="*/ 306427 w 306427"/>
                <a:gd name="connsiteY10" fmla="*/ 560149 h 828419"/>
                <a:gd name="connsiteX11" fmla="*/ 305854 w 306427"/>
                <a:gd name="connsiteY11" fmla="*/ 556812 h 828419"/>
                <a:gd name="connsiteX12" fmla="*/ 306427 w 306427"/>
                <a:gd name="connsiteY12" fmla="*/ 555647 h 828419"/>
                <a:gd name="connsiteX13" fmla="*/ 305653 w 306427"/>
                <a:gd name="connsiteY13" fmla="*/ 555644 h 828419"/>
                <a:gd name="connsiteX14" fmla="*/ 0 w 306427"/>
                <a:gd name="connsiteY14" fmla="*/ 0 h 828419"/>
                <a:gd name="connsiteX15" fmla="*/ 39926 w 306427"/>
                <a:gd name="connsiteY15" fmla="*/ 261361 h 828419"/>
                <a:gd name="connsiteX16" fmla="*/ 261737 w 306427"/>
                <a:gd name="connsiteY16" fmla="*/ 261361 h 828419"/>
                <a:gd name="connsiteX17" fmla="*/ 306427 w 306427"/>
                <a:gd name="connsiteY17" fmla="*/ 1191 h 82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6427" h="828419">
                  <a:moveTo>
                    <a:pt x="261737" y="299979"/>
                  </a:moveTo>
                  <a:lnTo>
                    <a:pt x="39926" y="299979"/>
                  </a:lnTo>
                  <a:lnTo>
                    <a:pt x="1051" y="554460"/>
                  </a:lnTo>
                  <a:lnTo>
                    <a:pt x="0" y="554456"/>
                  </a:lnTo>
                  <a:lnTo>
                    <a:pt x="814" y="556012"/>
                  </a:lnTo>
                  <a:lnTo>
                    <a:pt x="0" y="561340"/>
                  </a:lnTo>
                  <a:lnTo>
                    <a:pt x="3594" y="561326"/>
                  </a:lnTo>
                  <a:lnTo>
                    <a:pt x="142319" y="826533"/>
                  </a:lnTo>
                  <a:cubicBezTo>
                    <a:pt x="154344" y="822961"/>
                    <a:pt x="165179" y="838439"/>
                    <a:pt x="178394" y="815817"/>
                  </a:cubicBezTo>
                  <a:lnTo>
                    <a:pt x="304208" y="560158"/>
                  </a:lnTo>
                  <a:lnTo>
                    <a:pt x="306427" y="560149"/>
                  </a:lnTo>
                  <a:lnTo>
                    <a:pt x="305854" y="556812"/>
                  </a:lnTo>
                  <a:lnTo>
                    <a:pt x="306427" y="555647"/>
                  </a:lnTo>
                  <a:lnTo>
                    <a:pt x="305653" y="555644"/>
                  </a:lnTo>
                  <a:close/>
                  <a:moveTo>
                    <a:pt x="0" y="0"/>
                  </a:moveTo>
                  <a:lnTo>
                    <a:pt x="39926" y="261361"/>
                  </a:lnTo>
                  <a:lnTo>
                    <a:pt x="261737" y="261361"/>
                  </a:lnTo>
                  <a:lnTo>
                    <a:pt x="306427" y="1191"/>
                  </a:ln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a:ea typeface="+mn-ea"/>
                <a:cs typeface="+mn-cs"/>
              </a:endParaRPr>
            </a:p>
          </p:txBody>
        </p:sp>
        <p:sp>
          <p:nvSpPr>
            <p:cNvPr id="170" name="Freeform: Shape 169">
              <a:extLst>
                <a:ext uri="{FF2B5EF4-FFF2-40B4-BE49-F238E27FC236}">
                  <a16:creationId xmlns:a16="http://schemas.microsoft.com/office/drawing/2014/main" id="{992B75CC-E715-4A04-8EA7-ED95975AE872}"/>
                </a:ext>
              </a:extLst>
            </p:cNvPr>
            <p:cNvSpPr/>
            <p:nvPr/>
          </p:nvSpPr>
          <p:spPr>
            <a:xfrm flipH="1">
              <a:off x="4155380" y="1798447"/>
              <a:ext cx="588605" cy="259701"/>
            </a:xfrm>
            <a:custGeom>
              <a:avLst/>
              <a:gdLst>
                <a:gd name="connsiteX0" fmla="*/ 2098502 w 3129479"/>
                <a:gd name="connsiteY0" fmla="*/ 0 h 1380774"/>
                <a:gd name="connsiteX1" fmla="*/ 2094768 w 3129479"/>
                <a:gd name="connsiteY1" fmla="*/ 17935 h 1380774"/>
                <a:gd name="connsiteX2" fmla="*/ 2086486 w 3129479"/>
                <a:gd name="connsiteY2" fmla="*/ 14142 h 1380774"/>
                <a:gd name="connsiteX3" fmla="*/ 2017232 w 3129479"/>
                <a:gd name="connsiteY3" fmla="*/ 346185 h 1380774"/>
                <a:gd name="connsiteX4" fmla="*/ 2015458 w 3129479"/>
                <a:gd name="connsiteY4" fmla="*/ 352987 h 1380774"/>
                <a:gd name="connsiteX5" fmla="*/ 2013217 w 3129479"/>
                <a:gd name="connsiteY5" fmla="*/ 360528 h 1380774"/>
                <a:gd name="connsiteX6" fmla="*/ 1956254 w 3129479"/>
                <a:gd name="connsiteY6" fmla="*/ 542588 h 1380774"/>
                <a:gd name="connsiteX7" fmla="*/ 1813603 w 3129479"/>
                <a:gd name="connsiteY7" fmla="*/ 890686 h 1380774"/>
                <a:gd name="connsiteX8" fmla="*/ 1812171 w 3129479"/>
                <a:gd name="connsiteY8" fmla="*/ 893379 h 1380774"/>
                <a:gd name="connsiteX9" fmla="*/ 1784654 w 3129479"/>
                <a:gd name="connsiteY9" fmla="*/ 942829 h 1380774"/>
                <a:gd name="connsiteX10" fmla="*/ 1687889 w 3129479"/>
                <a:gd name="connsiteY10" fmla="*/ 1077896 h 1380774"/>
                <a:gd name="connsiteX11" fmla="*/ 1579855 w 3129479"/>
                <a:gd name="connsiteY11" fmla="*/ 1196431 h 1380774"/>
                <a:gd name="connsiteX12" fmla="*/ 1564740 w 3129479"/>
                <a:gd name="connsiteY12" fmla="*/ 1205831 h 1380774"/>
                <a:gd name="connsiteX13" fmla="*/ 1549625 w 3129479"/>
                <a:gd name="connsiteY13" fmla="*/ 1196431 h 1380774"/>
                <a:gd name="connsiteX14" fmla="*/ 1441592 w 3129479"/>
                <a:gd name="connsiteY14" fmla="*/ 1077896 h 1380774"/>
                <a:gd name="connsiteX15" fmla="*/ 1344826 w 3129479"/>
                <a:gd name="connsiteY15" fmla="*/ 942829 h 1380774"/>
                <a:gd name="connsiteX16" fmla="*/ 1317310 w 3129479"/>
                <a:gd name="connsiteY16" fmla="*/ 893379 h 1380774"/>
                <a:gd name="connsiteX17" fmla="*/ 1315878 w 3129479"/>
                <a:gd name="connsiteY17" fmla="*/ 890686 h 1380774"/>
                <a:gd name="connsiteX18" fmla="*/ 1173226 w 3129479"/>
                <a:gd name="connsiteY18" fmla="*/ 542588 h 1380774"/>
                <a:gd name="connsiteX19" fmla="*/ 1116264 w 3129479"/>
                <a:gd name="connsiteY19" fmla="*/ 360528 h 1380774"/>
                <a:gd name="connsiteX20" fmla="*/ 1114022 w 3129479"/>
                <a:gd name="connsiteY20" fmla="*/ 352987 h 1380774"/>
                <a:gd name="connsiteX21" fmla="*/ 1112248 w 3129479"/>
                <a:gd name="connsiteY21" fmla="*/ 346185 h 1380774"/>
                <a:gd name="connsiteX22" fmla="*/ 1042994 w 3129479"/>
                <a:gd name="connsiteY22" fmla="*/ 14142 h 1380774"/>
                <a:gd name="connsiteX23" fmla="*/ 1034713 w 3129479"/>
                <a:gd name="connsiteY23" fmla="*/ 17935 h 1380774"/>
                <a:gd name="connsiteX24" fmla="*/ 1030978 w 3129479"/>
                <a:gd name="connsiteY24" fmla="*/ 0 h 1380774"/>
                <a:gd name="connsiteX25" fmla="*/ 79 w 3129479"/>
                <a:gd name="connsiteY25" fmla="*/ 1071910 h 1380774"/>
                <a:gd name="connsiteX26" fmla="*/ 694014 w 3129479"/>
                <a:gd name="connsiteY26" fmla="*/ 1347084 h 1380774"/>
                <a:gd name="connsiteX27" fmla="*/ 802045 w 3129479"/>
                <a:gd name="connsiteY27" fmla="*/ 1355098 h 1380774"/>
                <a:gd name="connsiteX28" fmla="*/ 800563 w 3129479"/>
                <a:gd name="connsiteY28" fmla="*/ 1356893 h 1380774"/>
                <a:gd name="connsiteX29" fmla="*/ 880988 w 3129479"/>
                <a:gd name="connsiteY29" fmla="*/ 1360953 h 1380774"/>
                <a:gd name="connsiteX30" fmla="*/ 1012529 w 3129479"/>
                <a:gd name="connsiteY30" fmla="*/ 1370710 h 1380774"/>
                <a:gd name="connsiteX31" fmla="*/ 1360135 w 3129479"/>
                <a:gd name="connsiteY31" fmla="*/ 1380774 h 1380774"/>
                <a:gd name="connsiteX32" fmla="*/ 1564740 w 3129479"/>
                <a:gd name="connsiteY32" fmla="*/ 1380069 h 1380774"/>
                <a:gd name="connsiteX33" fmla="*/ 1769346 w 3129479"/>
                <a:gd name="connsiteY33" fmla="*/ 1380774 h 1380774"/>
                <a:gd name="connsiteX34" fmla="*/ 2116952 w 3129479"/>
                <a:gd name="connsiteY34" fmla="*/ 1370710 h 1380774"/>
                <a:gd name="connsiteX35" fmla="*/ 2248493 w 3129479"/>
                <a:gd name="connsiteY35" fmla="*/ 1360953 h 1380774"/>
                <a:gd name="connsiteX36" fmla="*/ 2328917 w 3129479"/>
                <a:gd name="connsiteY36" fmla="*/ 1356893 h 1380774"/>
                <a:gd name="connsiteX37" fmla="*/ 2327436 w 3129479"/>
                <a:gd name="connsiteY37" fmla="*/ 1355098 h 1380774"/>
                <a:gd name="connsiteX38" fmla="*/ 2435466 w 3129479"/>
                <a:gd name="connsiteY38" fmla="*/ 1347084 h 1380774"/>
                <a:gd name="connsiteX39" fmla="*/ 3129401 w 3129479"/>
                <a:gd name="connsiteY39" fmla="*/ 1071910 h 1380774"/>
                <a:gd name="connsiteX40" fmla="*/ 2098502 w 3129479"/>
                <a:gd name="connsiteY40" fmla="*/ 0 h 138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129479" h="1380774">
                  <a:moveTo>
                    <a:pt x="2098502" y="0"/>
                  </a:moveTo>
                  <a:lnTo>
                    <a:pt x="2094768" y="17935"/>
                  </a:lnTo>
                  <a:lnTo>
                    <a:pt x="2086486" y="14142"/>
                  </a:lnTo>
                  <a:lnTo>
                    <a:pt x="2017232" y="346185"/>
                  </a:lnTo>
                  <a:lnTo>
                    <a:pt x="2015458" y="352987"/>
                  </a:lnTo>
                  <a:lnTo>
                    <a:pt x="2013217" y="360528"/>
                  </a:lnTo>
                  <a:lnTo>
                    <a:pt x="1956254" y="542588"/>
                  </a:lnTo>
                  <a:cubicBezTo>
                    <a:pt x="1913991" y="666570"/>
                    <a:pt x="1865714" y="786691"/>
                    <a:pt x="1813603" y="890686"/>
                  </a:cubicBezTo>
                  <a:lnTo>
                    <a:pt x="1812171" y="893379"/>
                  </a:lnTo>
                  <a:lnTo>
                    <a:pt x="1784654" y="942829"/>
                  </a:lnTo>
                  <a:cubicBezTo>
                    <a:pt x="1755728" y="988653"/>
                    <a:pt x="1723659" y="1033652"/>
                    <a:pt x="1687889" y="1077896"/>
                  </a:cubicBezTo>
                  <a:lnTo>
                    <a:pt x="1579855" y="1196431"/>
                  </a:lnTo>
                  <a:lnTo>
                    <a:pt x="1564740" y="1205831"/>
                  </a:lnTo>
                  <a:lnTo>
                    <a:pt x="1549625" y="1196431"/>
                  </a:lnTo>
                  <a:lnTo>
                    <a:pt x="1441592" y="1077896"/>
                  </a:lnTo>
                  <a:cubicBezTo>
                    <a:pt x="1405822" y="1033652"/>
                    <a:pt x="1373753" y="988653"/>
                    <a:pt x="1344826" y="942829"/>
                  </a:cubicBezTo>
                  <a:lnTo>
                    <a:pt x="1317310" y="893379"/>
                  </a:lnTo>
                  <a:lnTo>
                    <a:pt x="1315878" y="890686"/>
                  </a:lnTo>
                  <a:cubicBezTo>
                    <a:pt x="1263766" y="786691"/>
                    <a:pt x="1215490" y="666570"/>
                    <a:pt x="1173226" y="542588"/>
                  </a:cubicBezTo>
                  <a:lnTo>
                    <a:pt x="1116264" y="360528"/>
                  </a:lnTo>
                  <a:lnTo>
                    <a:pt x="1114022" y="352987"/>
                  </a:lnTo>
                  <a:lnTo>
                    <a:pt x="1112248" y="346185"/>
                  </a:lnTo>
                  <a:lnTo>
                    <a:pt x="1042994" y="14142"/>
                  </a:lnTo>
                  <a:lnTo>
                    <a:pt x="1034713" y="17935"/>
                  </a:lnTo>
                  <a:lnTo>
                    <a:pt x="1030978" y="0"/>
                  </a:lnTo>
                  <a:cubicBezTo>
                    <a:pt x="847440" y="154959"/>
                    <a:pt x="-9446" y="230053"/>
                    <a:pt x="79" y="1071910"/>
                  </a:cubicBezTo>
                  <a:cubicBezTo>
                    <a:pt x="12421" y="1221822"/>
                    <a:pt x="295148" y="1305540"/>
                    <a:pt x="694014" y="1347084"/>
                  </a:cubicBezTo>
                  <a:lnTo>
                    <a:pt x="802045" y="1355098"/>
                  </a:lnTo>
                  <a:lnTo>
                    <a:pt x="800563" y="1356893"/>
                  </a:lnTo>
                  <a:lnTo>
                    <a:pt x="880988" y="1360953"/>
                  </a:lnTo>
                  <a:lnTo>
                    <a:pt x="1012529" y="1370710"/>
                  </a:lnTo>
                  <a:cubicBezTo>
                    <a:pt x="1124352" y="1376200"/>
                    <a:pt x="1241024" y="1379429"/>
                    <a:pt x="1360135" y="1380774"/>
                  </a:cubicBezTo>
                  <a:lnTo>
                    <a:pt x="1564740" y="1380069"/>
                  </a:lnTo>
                  <a:lnTo>
                    <a:pt x="1769346" y="1380774"/>
                  </a:lnTo>
                  <a:cubicBezTo>
                    <a:pt x="1888456" y="1379429"/>
                    <a:pt x="2005128" y="1376200"/>
                    <a:pt x="2116952" y="1370710"/>
                  </a:cubicBezTo>
                  <a:lnTo>
                    <a:pt x="2248493" y="1360953"/>
                  </a:lnTo>
                  <a:lnTo>
                    <a:pt x="2328917" y="1356893"/>
                  </a:lnTo>
                  <a:lnTo>
                    <a:pt x="2327436" y="1355098"/>
                  </a:lnTo>
                  <a:lnTo>
                    <a:pt x="2435466" y="1347084"/>
                  </a:lnTo>
                  <a:cubicBezTo>
                    <a:pt x="2834332" y="1305540"/>
                    <a:pt x="3117060" y="1221822"/>
                    <a:pt x="3129401" y="1071910"/>
                  </a:cubicBezTo>
                  <a:cubicBezTo>
                    <a:pt x="3138926" y="230053"/>
                    <a:pt x="2282040" y="154959"/>
                    <a:pt x="2098502" y="0"/>
                  </a:cubicBezTo>
                  <a:close/>
                </a:path>
              </a:pathLst>
            </a:custGeom>
            <a:solidFill>
              <a:schemeClr val="bg2"/>
            </a:solidFill>
            <a:ln w="12700" cap="flat" cmpd="sng" algn="ctr">
              <a:noFill/>
              <a:prstDash val="solid"/>
              <a:miter lim="800000"/>
            </a:ln>
            <a:effectLst/>
          </p:spPr>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a:ea typeface="+mn-ea"/>
                <a:cs typeface="+mn-cs"/>
              </a:endParaRPr>
            </a:p>
          </p:txBody>
        </p:sp>
      </p:grpSp>
      <p:grpSp>
        <p:nvGrpSpPr>
          <p:cNvPr id="171" name="Group 170">
            <a:extLst>
              <a:ext uri="{FF2B5EF4-FFF2-40B4-BE49-F238E27FC236}">
                <a16:creationId xmlns:a16="http://schemas.microsoft.com/office/drawing/2014/main" id="{C827AFD6-7799-4ED2-B486-AA3763B8FA56}"/>
              </a:ext>
            </a:extLst>
          </p:cNvPr>
          <p:cNvGrpSpPr/>
          <p:nvPr/>
        </p:nvGrpSpPr>
        <p:grpSpPr>
          <a:xfrm>
            <a:off x="4155380" y="5380783"/>
            <a:ext cx="3548419" cy="491520"/>
            <a:chOff x="4155380" y="4849673"/>
            <a:chExt cx="3548419" cy="491520"/>
          </a:xfrm>
        </p:grpSpPr>
        <p:pic>
          <p:nvPicPr>
            <p:cNvPr id="172" name="Picture 2">
              <a:extLst>
                <a:ext uri="{FF2B5EF4-FFF2-40B4-BE49-F238E27FC236}">
                  <a16:creationId xmlns:a16="http://schemas.microsoft.com/office/drawing/2014/main" id="{6FFB4946-57BD-4E09-8E5A-662A15343CB0}"/>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p:blipFill>
          <p:spPr bwMode="auto">
            <a:xfrm>
              <a:off x="4155380" y="4849673"/>
              <a:ext cx="1117538" cy="491520"/>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73" name="Group 172">
              <a:extLst>
                <a:ext uri="{FF2B5EF4-FFF2-40B4-BE49-F238E27FC236}">
                  <a16:creationId xmlns:a16="http://schemas.microsoft.com/office/drawing/2014/main" id="{E412ECE1-6D0C-499B-A5D4-C7D8F96A6CB5}"/>
                </a:ext>
              </a:extLst>
            </p:cNvPr>
            <p:cNvGrpSpPr/>
            <p:nvPr/>
          </p:nvGrpSpPr>
          <p:grpSpPr>
            <a:xfrm>
              <a:off x="5918636" y="4923071"/>
              <a:ext cx="1089749" cy="337651"/>
              <a:chOff x="4917241" y="4543143"/>
              <a:chExt cx="956564" cy="296385"/>
            </a:xfrm>
          </p:grpSpPr>
          <p:pic>
            <p:nvPicPr>
              <p:cNvPr id="177" name="Graphic 176">
                <a:extLst>
                  <a:ext uri="{FF2B5EF4-FFF2-40B4-BE49-F238E27FC236}">
                    <a16:creationId xmlns:a16="http://schemas.microsoft.com/office/drawing/2014/main" id="{88CE2D91-1661-43DC-8B41-7B8ED74D01FB}"/>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5347799" y="4595413"/>
                <a:ext cx="191844" cy="191844"/>
              </a:xfrm>
              <a:prstGeom prst="rect">
                <a:avLst/>
              </a:prstGeom>
            </p:spPr>
          </p:pic>
          <p:pic>
            <p:nvPicPr>
              <p:cNvPr id="178" name="Graphic 177">
                <a:extLst>
                  <a:ext uri="{FF2B5EF4-FFF2-40B4-BE49-F238E27FC236}">
                    <a16:creationId xmlns:a16="http://schemas.microsoft.com/office/drawing/2014/main" id="{1CE5804F-8287-456E-B4B3-BDA913F00AB7}"/>
                  </a:ext>
                </a:extLst>
              </p:cNvPr>
              <p:cNvPicPr>
                <a:picLocks noChangeAspect="1"/>
              </p:cNvPicPr>
              <p:nvPr/>
            </p:nvPicPr>
            <p:blipFill>
              <a:blip r:embed="rId29">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5673808" y="4591337"/>
                <a:ext cx="199997" cy="199997"/>
              </a:xfrm>
              <a:prstGeom prst="rect">
                <a:avLst/>
              </a:prstGeom>
            </p:spPr>
          </p:pic>
          <p:grpSp>
            <p:nvGrpSpPr>
              <p:cNvPr id="179" name="Group 178">
                <a:extLst>
                  <a:ext uri="{FF2B5EF4-FFF2-40B4-BE49-F238E27FC236}">
                    <a16:creationId xmlns:a16="http://schemas.microsoft.com/office/drawing/2014/main" id="{B8CCBCF1-16E9-469C-9829-C17DA7839908}"/>
                  </a:ext>
                </a:extLst>
              </p:cNvPr>
              <p:cNvGrpSpPr/>
              <p:nvPr/>
            </p:nvGrpSpPr>
            <p:grpSpPr>
              <a:xfrm>
                <a:off x="4917241" y="4543143"/>
                <a:ext cx="296384" cy="296385"/>
                <a:chOff x="3784827" y="4214946"/>
                <a:chExt cx="457550" cy="457550"/>
              </a:xfrm>
            </p:grpSpPr>
            <p:sp>
              <p:nvSpPr>
                <p:cNvPr id="180" name="Rectangle 179">
                  <a:extLst>
                    <a:ext uri="{FF2B5EF4-FFF2-40B4-BE49-F238E27FC236}">
                      <a16:creationId xmlns:a16="http://schemas.microsoft.com/office/drawing/2014/main" id="{4C2345C3-2AE8-417F-8883-0827497C9E21}"/>
                    </a:ext>
                  </a:extLst>
                </p:cNvPr>
                <p:cNvSpPr/>
                <p:nvPr/>
              </p:nvSpPr>
              <p:spPr bwMode="auto">
                <a:xfrm>
                  <a:off x="3893349" y="4320027"/>
                  <a:ext cx="240506" cy="24765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1" name="Graphic 180" descr="Azure Storage">
                  <a:extLst>
                    <a:ext uri="{FF2B5EF4-FFF2-40B4-BE49-F238E27FC236}">
                      <a16:creationId xmlns:a16="http://schemas.microsoft.com/office/drawing/2014/main" id="{2C40AA49-54D6-4727-AC59-AD5ED1EB2F97}"/>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3784827" y="4214946"/>
                  <a:ext cx="457550" cy="457550"/>
                </a:xfrm>
                <a:prstGeom prst="rect">
                  <a:avLst/>
                </a:prstGeom>
              </p:spPr>
            </p:pic>
          </p:grpSp>
        </p:grpSp>
        <p:pic>
          <p:nvPicPr>
            <p:cNvPr id="174" name="Picture 10" descr="See the source image">
              <a:extLst>
                <a:ext uri="{FF2B5EF4-FFF2-40B4-BE49-F238E27FC236}">
                  <a16:creationId xmlns:a16="http://schemas.microsoft.com/office/drawing/2014/main" id="{18384809-186E-42A3-8598-AE1C092AB93C}"/>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5356032" y="5005244"/>
              <a:ext cx="399232" cy="195945"/>
            </a:xfrm>
            <a:prstGeom prst="rect">
              <a:avLst/>
            </a:prstGeom>
            <a:noFill/>
            <a:extLst>
              <a:ext uri="{909E8E84-426E-40DD-AFC4-6F175D3DCCD1}">
                <a14:hiddenFill xmlns:a14="http://schemas.microsoft.com/office/drawing/2010/main">
                  <a:solidFill>
                    <a:srgbClr val="FFFFFF"/>
                  </a:solidFill>
                </a14:hiddenFill>
              </a:ext>
            </a:extLst>
          </p:spPr>
        </p:pic>
        <p:pic>
          <p:nvPicPr>
            <p:cNvPr id="175" name="Databricks" descr=" Databricks">
              <a:extLst>
                <a:ext uri="{FF2B5EF4-FFF2-40B4-BE49-F238E27FC236}">
                  <a16:creationId xmlns:a16="http://schemas.microsoft.com/office/drawing/2014/main" id="{E7527762-84F3-4AED-8812-DEF72DED2543}"/>
                </a:ext>
              </a:extLst>
            </p:cNvPr>
            <p:cNvPicPr>
              <a:picLocks noChangeAspect="1"/>
            </p:cNvPicPr>
            <p:nvPr/>
          </p:nvPicPr>
          <p:blipFill>
            <a:blip r:embed="rId34"/>
            <a:stretch>
              <a:fillRect/>
            </a:stretch>
          </p:blipFill>
          <p:spPr>
            <a:xfrm>
              <a:off x="7508536" y="4998005"/>
              <a:ext cx="195263" cy="187782"/>
            </a:xfrm>
            <a:prstGeom prst="rect">
              <a:avLst/>
            </a:prstGeom>
          </p:spPr>
        </p:pic>
        <p:pic>
          <p:nvPicPr>
            <p:cNvPr id="176" name="Graphic 175">
              <a:extLst>
                <a:ext uri="{FF2B5EF4-FFF2-40B4-BE49-F238E27FC236}">
                  <a16:creationId xmlns:a16="http://schemas.microsoft.com/office/drawing/2014/main" id="{6F07DF39-D182-4310-8CE0-17227BAD4B6E}"/>
                </a:ext>
              </a:extLst>
            </p:cNvPr>
            <p:cNvPicPr>
              <a:picLocks noChangeAspect="1"/>
            </p:cNvPicPr>
            <p:nvPr/>
          </p:nvPicPr>
          <p:blipFill>
            <a:blip r:embed="rId35">
              <a:extLst>
                <a:ext uri="{28A0092B-C50C-407E-A947-70E740481C1C}">
                  <a14:useLocalDpi xmlns:a14="http://schemas.microsoft.com/office/drawing/2010/main"/>
                </a:ext>
                <a:ext uri="{96DAC541-7B7A-43D3-8B79-37D633B846F1}">
                  <asvg:svgBlip xmlns:asvg="http://schemas.microsoft.com/office/drawing/2016/SVG/main" r:embed="rId36"/>
                </a:ext>
              </a:extLst>
            </a:blip>
            <a:srcRect/>
            <a:stretch/>
          </p:blipFill>
          <p:spPr>
            <a:xfrm>
              <a:off x="7146414" y="4977975"/>
              <a:ext cx="218555" cy="209371"/>
            </a:xfrm>
            <a:prstGeom prst="rect">
              <a:avLst/>
            </a:prstGeom>
          </p:spPr>
        </p:pic>
      </p:grpSp>
    </p:spTree>
    <p:extLst>
      <p:ext uri="{BB962C8B-B14F-4D97-AF65-F5344CB8AC3E}">
        <p14:creationId xmlns:p14="http://schemas.microsoft.com/office/powerpoint/2010/main" val="215276365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084B9-E37E-4841-ADE3-D1614D06A84A}"/>
              </a:ext>
            </a:extLst>
          </p:cNvPr>
          <p:cNvSpPr>
            <a:spLocks noGrp="1"/>
          </p:cNvSpPr>
          <p:nvPr>
            <p:ph type="title"/>
          </p:nvPr>
        </p:nvSpPr>
        <p:spPr>
          <a:xfrm>
            <a:off x="275098" y="3368992"/>
            <a:ext cx="8132296" cy="1108586"/>
          </a:xfrm>
        </p:spPr>
        <p:txBody>
          <a:bodyPr>
            <a:normAutofit/>
          </a:bodyPr>
          <a:lstStyle/>
          <a:p>
            <a:pPr algn="ctr"/>
            <a:r>
              <a:rPr lang="en-US" sz="3600" dirty="0"/>
              <a:t>Thank You</a:t>
            </a:r>
          </a:p>
        </p:txBody>
      </p:sp>
    </p:spTree>
    <p:custDataLst>
      <p:tags r:id="rId1"/>
    </p:custDataLst>
    <p:extLst>
      <p:ext uri="{BB962C8B-B14F-4D97-AF65-F5344CB8AC3E}">
        <p14:creationId xmlns:p14="http://schemas.microsoft.com/office/powerpoint/2010/main" val="444507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4FAE371-997A-4DF3-920B-B21280314BE3}"/>
              </a:ext>
            </a:extLst>
          </p:cNvPr>
          <p:cNvSpPr/>
          <p:nvPr/>
        </p:nvSpPr>
        <p:spPr bwMode="auto">
          <a:xfrm>
            <a:off x="3103494" y="3527592"/>
            <a:ext cx="2254135" cy="1494368"/>
          </a:xfrm>
          <a:prstGeom prst="rect">
            <a:avLst/>
          </a:prstGeom>
          <a:solidFill>
            <a:srgbClr val="001F36"/>
          </a:solidFill>
          <a:ln w="10795" cap="flat" cmpd="sng" algn="ctr">
            <a:solidFill>
              <a:schemeClr val="accent1"/>
            </a:solidFill>
            <a:prstDash val="dash"/>
          </a:ln>
          <a:effectLst>
            <a:outerShdw blurRad="190500" dist="38100" dir="2700000" algn="tl" rotWithShape="0">
              <a:prstClr val="black">
                <a:alpha val="15000"/>
              </a:prstClr>
            </a:outerShdw>
          </a:effectLst>
        </p:spPr>
        <p:txBody>
          <a:bodyPr rot="0" spcFirstLastPara="0" vertOverflow="overflow" horzOverflow="overflow" vert="horz" wrap="square" lIns="0" tIns="292608"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err="1">
              <a:ln>
                <a:noFill/>
              </a:ln>
              <a:gradFill>
                <a:gsLst>
                  <a:gs pos="7207">
                    <a:srgbClr val="1A1A1A"/>
                  </a:gs>
                  <a:gs pos="22523">
                    <a:srgbClr val="1A1A1A"/>
                  </a:gs>
                </a:gsLst>
                <a:lin ang="5400000" scaled="0"/>
              </a:gradFill>
              <a:effectLst/>
              <a:uLnTx/>
              <a:uFillTx/>
              <a:latin typeface="Segoe UI Semibold"/>
              <a:ea typeface="+mn-ea"/>
              <a:cs typeface="+mn-cs"/>
            </a:endParaRPr>
          </a:p>
        </p:txBody>
      </p:sp>
      <p:sp>
        <p:nvSpPr>
          <p:cNvPr id="17" name="Rectangle 16">
            <a:extLst>
              <a:ext uri="{FF2B5EF4-FFF2-40B4-BE49-F238E27FC236}">
                <a16:creationId xmlns:a16="http://schemas.microsoft.com/office/drawing/2014/main" id="{D47CE58D-142D-49DF-BF5E-49584004C561}"/>
              </a:ext>
            </a:extLst>
          </p:cNvPr>
          <p:cNvSpPr/>
          <p:nvPr/>
        </p:nvSpPr>
        <p:spPr bwMode="auto">
          <a:xfrm>
            <a:off x="2969456" y="3213082"/>
            <a:ext cx="6862966" cy="2180324"/>
          </a:xfrm>
          <a:prstGeom prst="rect">
            <a:avLst/>
          </a:prstGeom>
          <a:solidFill>
            <a:srgbClr val="001F36"/>
          </a:solidFill>
          <a:ln w="15875">
            <a:solidFill>
              <a:schemeClr val="tx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1CAADD22-3AB3-4D2C-A848-1EE54C437FDE}"/>
              </a:ext>
            </a:extLst>
          </p:cNvPr>
          <p:cNvSpPr txBox="1"/>
          <p:nvPr/>
        </p:nvSpPr>
        <p:spPr>
          <a:xfrm>
            <a:off x="1018889" y="5674504"/>
            <a:ext cx="1904499" cy="430887"/>
          </a:xfrm>
          <a:prstGeom prst="rect">
            <a:avLst/>
          </a:prstGeom>
          <a:noFill/>
        </p:spPr>
        <p:txBody>
          <a:bodyPr wrap="square">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0" normalizeH="0" baseline="0" noProof="0">
                <a:ln w="3175">
                  <a:noFill/>
                </a:ln>
                <a:solidFill>
                  <a:srgbClr val="50E6FF"/>
                </a:solidFill>
                <a:effectLst/>
                <a:uLnTx/>
                <a:uFillTx/>
                <a:latin typeface="Segoe UI"/>
                <a:ea typeface="+mn-ea"/>
                <a:cs typeface="Segoe UI Semilight" panose="020B0402040204020203" pitchFamily="34" charset="0"/>
              </a:rPr>
              <a:t>DATA &amp; SYSTEMS OF RECORD</a:t>
            </a:r>
          </a:p>
        </p:txBody>
      </p:sp>
      <p:sp>
        <p:nvSpPr>
          <p:cNvPr id="43" name="Rectangle 42">
            <a:extLst>
              <a:ext uri="{FF2B5EF4-FFF2-40B4-BE49-F238E27FC236}">
                <a16:creationId xmlns:a16="http://schemas.microsoft.com/office/drawing/2014/main" id="{08D40A67-942E-4B7E-A021-791C08407E33}"/>
              </a:ext>
            </a:extLst>
          </p:cNvPr>
          <p:cNvSpPr/>
          <p:nvPr/>
        </p:nvSpPr>
        <p:spPr bwMode="auto">
          <a:xfrm>
            <a:off x="2969456" y="5549090"/>
            <a:ext cx="6862966" cy="639219"/>
          </a:xfrm>
          <a:prstGeom prst="rect">
            <a:avLst/>
          </a:prstGeom>
          <a:noFill/>
          <a:ln w="15875">
            <a:solidFill>
              <a:schemeClr val="tx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64C6BEE7-E684-43A7-A4F4-2AF15134C9F3}"/>
              </a:ext>
            </a:extLst>
          </p:cNvPr>
          <p:cNvSpPr txBox="1"/>
          <p:nvPr/>
        </p:nvSpPr>
        <p:spPr>
          <a:xfrm>
            <a:off x="1476804" y="3599069"/>
            <a:ext cx="1446584" cy="430887"/>
          </a:xfrm>
          <a:prstGeom prst="rect">
            <a:avLst/>
          </a:prstGeom>
          <a:noFill/>
        </p:spPr>
        <p:txBody>
          <a:bodyPr wrap="square">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0" normalizeH="0" baseline="0" noProof="0">
                <a:ln w="3175">
                  <a:noFill/>
                </a:ln>
                <a:solidFill>
                  <a:srgbClr val="50E6FF"/>
                </a:solidFill>
                <a:effectLst/>
                <a:uLnTx/>
                <a:uFillTx/>
                <a:latin typeface="Segoe UI"/>
                <a:ea typeface="+mn-ea"/>
                <a:cs typeface="Segoe UI Semilight" panose="020B0402040204020203" pitchFamily="34" charset="0"/>
              </a:rPr>
              <a:t>USER INTERFACE</a:t>
            </a:r>
          </a:p>
        </p:txBody>
      </p:sp>
      <p:sp>
        <p:nvSpPr>
          <p:cNvPr id="6" name="TextBox 5">
            <a:extLst>
              <a:ext uri="{FF2B5EF4-FFF2-40B4-BE49-F238E27FC236}">
                <a16:creationId xmlns:a16="http://schemas.microsoft.com/office/drawing/2014/main" id="{F20AFF4D-F6E2-412F-9AEF-D636D3DBB871}"/>
              </a:ext>
            </a:extLst>
          </p:cNvPr>
          <p:cNvSpPr txBox="1"/>
          <p:nvPr/>
        </p:nvSpPr>
        <p:spPr>
          <a:xfrm>
            <a:off x="1548983" y="4666297"/>
            <a:ext cx="1374405" cy="430887"/>
          </a:xfrm>
          <a:prstGeom prst="rect">
            <a:avLst/>
          </a:prstGeom>
          <a:noFill/>
        </p:spPr>
        <p:txBody>
          <a:bodyPr wrap="square">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0" normalizeH="0" baseline="0" noProof="0">
                <a:ln w="3175">
                  <a:noFill/>
                </a:ln>
                <a:solidFill>
                  <a:srgbClr val="50E6FF"/>
                </a:solidFill>
                <a:effectLst/>
                <a:uLnTx/>
                <a:uFillTx/>
                <a:latin typeface="Segoe UI"/>
                <a:ea typeface="+mn-ea"/>
                <a:cs typeface="Segoe UI Semilight" panose="020B0402040204020203" pitchFamily="34" charset="0"/>
              </a:rPr>
              <a:t>BUSINESS LOGIC</a:t>
            </a:r>
          </a:p>
        </p:txBody>
      </p:sp>
      <p:sp>
        <p:nvSpPr>
          <p:cNvPr id="8" name="Rectangle 7">
            <a:extLst>
              <a:ext uri="{FF2B5EF4-FFF2-40B4-BE49-F238E27FC236}">
                <a16:creationId xmlns:a16="http://schemas.microsoft.com/office/drawing/2014/main" id="{1C742CC4-2BAF-4913-8159-9E7C8B0FF045}"/>
              </a:ext>
            </a:extLst>
          </p:cNvPr>
          <p:cNvSpPr/>
          <p:nvPr/>
        </p:nvSpPr>
        <p:spPr bwMode="auto">
          <a:xfrm>
            <a:off x="2969456" y="2185193"/>
            <a:ext cx="6856414" cy="882436"/>
          </a:xfrm>
          <a:prstGeom prst="rect">
            <a:avLst/>
          </a:prstGeom>
          <a:noFill/>
          <a:ln w="15875">
            <a:solidFill>
              <a:schemeClr val="tx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Box 10">
            <a:extLst>
              <a:ext uri="{FF2B5EF4-FFF2-40B4-BE49-F238E27FC236}">
                <a16:creationId xmlns:a16="http://schemas.microsoft.com/office/drawing/2014/main" id="{D23ACAE4-775E-4FA9-82B0-3ED081A74484}"/>
              </a:ext>
            </a:extLst>
          </p:cNvPr>
          <p:cNvSpPr txBox="1"/>
          <p:nvPr/>
        </p:nvSpPr>
        <p:spPr>
          <a:xfrm>
            <a:off x="1278099" y="2410968"/>
            <a:ext cx="1645289" cy="430886"/>
          </a:xfrm>
          <a:prstGeom prst="rect">
            <a:avLst/>
          </a:prstGeom>
          <a:noFill/>
        </p:spPr>
        <p:txBody>
          <a:bodyPr wrap="square">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0" normalizeH="0" baseline="0" noProof="0">
                <a:ln w="3175">
                  <a:noFill/>
                </a:ln>
                <a:solidFill>
                  <a:srgbClr val="50E6FF"/>
                </a:solidFill>
                <a:effectLst/>
                <a:uLnTx/>
                <a:uFillTx/>
                <a:latin typeface="Segoe UI"/>
                <a:ea typeface="+mn-ea"/>
                <a:cs typeface="Segoe UI Semilight" panose="020B0402040204020203" pitchFamily="34" charset="0"/>
              </a:rPr>
              <a:t>SERVING LAYER</a:t>
            </a:r>
          </a:p>
        </p:txBody>
      </p:sp>
      <p:sp>
        <p:nvSpPr>
          <p:cNvPr id="94" name="TextBox 93">
            <a:extLst>
              <a:ext uri="{FF2B5EF4-FFF2-40B4-BE49-F238E27FC236}">
                <a16:creationId xmlns:a16="http://schemas.microsoft.com/office/drawing/2014/main" id="{3F81BFDF-323E-470D-B7FF-29655CCE3F5A}"/>
              </a:ext>
            </a:extLst>
          </p:cNvPr>
          <p:cNvSpPr txBox="1"/>
          <p:nvPr/>
        </p:nvSpPr>
        <p:spPr>
          <a:xfrm>
            <a:off x="5891260" y="4923462"/>
            <a:ext cx="1027525"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Cognitive Search</a:t>
            </a:r>
          </a:p>
        </p:txBody>
      </p:sp>
      <p:grpSp>
        <p:nvGrpSpPr>
          <p:cNvPr id="111" name="Group 110">
            <a:extLst>
              <a:ext uri="{FF2B5EF4-FFF2-40B4-BE49-F238E27FC236}">
                <a16:creationId xmlns:a16="http://schemas.microsoft.com/office/drawing/2014/main" id="{289AC24D-B1A5-4226-A487-DA178865B205}"/>
              </a:ext>
            </a:extLst>
          </p:cNvPr>
          <p:cNvGrpSpPr/>
          <p:nvPr/>
        </p:nvGrpSpPr>
        <p:grpSpPr>
          <a:xfrm>
            <a:off x="6147714" y="4401225"/>
            <a:ext cx="414412" cy="377434"/>
            <a:chOff x="7792529" y="1785648"/>
            <a:chExt cx="414412" cy="377434"/>
          </a:xfrm>
        </p:grpSpPr>
        <p:sp>
          <p:nvSpPr>
            <p:cNvPr id="112" name="Freeform 6">
              <a:extLst>
                <a:ext uri="{FF2B5EF4-FFF2-40B4-BE49-F238E27FC236}">
                  <a16:creationId xmlns:a16="http://schemas.microsoft.com/office/drawing/2014/main" id="{85BE25AE-176F-417F-98A7-68E24DB1655F}"/>
                </a:ext>
              </a:extLst>
            </p:cNvPr>
            <p:cNvSpPr>
              <a:spLocks/>
            </p:cNvSpPr>
            <p:nvPr/>
          </p:nvSpPr>
          <p:spPr bwMode="auto">
            <a:xfrm>
              <a:off x="7972548" y="2062849"/>
              <a:ext cx="47036" cy="15662"/>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12700">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13" name="Freeform 7">
              <a:extLst>
                <a:ext uri="{FF2B5EF4-FFF2-40B4-BE49-F238E27FC236}">
                  <a16:creationId xmlns:a16="http://schemas.microsoft.com/office/drawing/2014/main" id="{0E95DC7B-C16F-4DF8-AF9F-096A74F6368C}"/>
                </a:ext>
              </a:extLst>
            </p:cNvPr>
            <p:cNvSpPr>
              <a:spLocks/>
            </p:cNvSpPr>
            <p:nvPr/>
          </p:nvSpPr>
          <p:spPr bwMode="auto">
            <a:xfrm>
              <a:off x="8104172" y="1975927"/>
              <a:ext cx="48618" cy="94360"/>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12700">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14" name="Freeform 8">
              <a:extLst>
                <a:ext uri="{FF2B5EF4-FFF2-40B4-BE49-F238E27FC236}">
                  <a16:creationId xmlns:a16="http://schemas.microsoft.com/office/drawing/2014/main" id="{7BC57DA0-841C-4C4C-8279-10CEF652FE42}"/>
                </a:ext>
              </a:extLst>
            </p:cNvPr>
            <p:cNvSpPr>
              <a:spLocks/>
            </p:cNvSpPr>
            <p:nvPr/>
          </p:nvSpPr>
          <p:spPr bwMode="auto">
            <a:xfrm>
              <a:off x="8121563" y="1899970"/>
              <a:ext cx="66405" cy="28583"/>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12700">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15" name="Oval 9">
              <a:extLst>
                <a:ext uri="{FF2B5EF4-FFF2-40B4-BE49-F238E27FC236}">
                  <a16:creationId xmlns:a16="http://schemas.microsoft.com/office/drawing/2014/main" id="{AA56F613-04EC-4344-8EC0-19FF663C9738}"/>
                </a:ext>
              </a:extLst>
            </p:cNvPr>
            <p:cNvSpPr>
              <a:spLocks noChangeArrowheads="1"/>
            </p:cNvSpPr>
            <p:nvPr/>
          </p:nvSpPr>
          <p:spPr bwMode="auto">
            <a:xfrm>
              <a:off x="7953179" y="2077727"/>
              <a:ext cx="38341" cy="37979"/>
            </a:xfrm>
            <a:prstGeom prst="ellipse">
              <a:avLst/>
            </a:prstGeom>
            <a:noFill/>
            <a:ln w="95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16" name="Oval 11">
              <a:extLst>
                <a:ext uri="{FF2B5EF4-FFF2-40B4-BE49-F238E27FC236}">
                  <a16:creationId xmlns:a16="http://schemas.microsoft.com/office/drawing/2014/main" id="{638EC175-0919-4F4B-AA0E-1B5787746284}"/>
                </a:ext>
              </a:extLst>
            </p:cNvPr>
            <p:cNvSpPr>
              <a:spLocks noChangeArrowheads="1"/>
            </p:cNvSpPr>
            <p:nvPr/>
          </p:nvSpPr>
          <p:spPr bwMode="auto">
            <a:xfrm>
              <a:off x="8133817" y="2070288"/>
              <a:ext cx="38341" cy="37979"/>
            </a:xfrm>
            <a:prstGeom prst="ellipse">
              <a:avLst/>
            </a:prstGeom>
            <a:noFill/>
            <a:ln w="95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17" name="Oval 12">
              <a:extLst>
                <a:ext uri="{FF2B5EF4-FFF2-40B4-BE49-F238E27FC236}">
                  <a16:creationId xmlns:a16="http://schemas.microsoft.com/office/drawing/2014/main" id="{3E05575E-957B-47A0-9E72-F74D16B9F696}"/>
                </a:ext>
              </a:extLst>
            </p:cNvPr>
            <p:cNvSpPr>
              <a:spLocks noChangeArrowheads="1"/>
            </p:cNvSpPr>
            <p:nvPr/>
          </p:nvSpPr>
          <p:spPr bwMode="auto">
            <a:xfrm>
              <a:off x="8168600" y="1861991"/>
              <a:ext cx="38341" cy="37979"/>
            </a:xfrm>
            <a:prstGeom prst="ellipse">
              <a:avLst/>
            </a:prstGeom>
            <a:noFill/>
            <a:ln w="95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18" name="Freeform 5">
              <a:extLst>
                <a:ext uri="{FF2B5EF4-FFF2-40B4-BE49-F238E27FC236}">
                  <a16:creationId xmlns:a16="http://schemas.microsoft.com/office/drawing/2014/main" id="{9DD42A20-F2A3-47E5-9556-BD7B9D4630D5}"/>
                </a:ext>
              </a:extLst>
            </p:cNvPr>
            <p:cNvSpPr>
              <a:spLocks/>
            </p:cNvSpPr>
            <p:nvPr/>
          </p:nvSpPr>
          <p:spPr bwMode="auto">
            <a:xfrm>
              <a:off x="8019585" y="2013124"/>
              <a:ext cx="33993" cy="131164"/>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12700">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19" name="Oval 10">
              <a:extLst>
                <a:ext uri="{FF2B5EF4-FFF2-40B4-BE49-F238E27FC236}">
                  <a16:creationId xmlns:a16="http://schemas.microsoft.com/office/drawing/2014/main" id="{5D118137-73AC-44F5-A5F9-BAF199480940}"/>
                </a:ext>
              </a:extLst>
            </p:cNvPr>
            <p:cNvSpPr>
              <a:spLocks noChangeArrowheads="1"/>
            </p:cNvSpPr>
            <p:nvPr/>
          </p:nvSpPr>
          <p:spPr bwMode="auto">
            <a:xfrm>
              <a:off x="8053578" y="2125494"/>
              <a:ext cx="37946" cy="37588"/>
            </a:xfrm>
            <a:prstGeom prst="ellipse">
              <a:avLst/>
            </a:prstGeom>
            <a:noFill/>
            <a:ln w="95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grpSp>
          <p:nvGrpSpPr>
            <p:cNvPr id="120" name="Magnifying_Glass">
              <a:extLst>
                <a:ext uri="{FF2B5EF4-FFF2-40B4-BE49-F238E27FC236}">
                  <a16:creationId xmlns:a16="http://schemas.microsoft.com/office/drawing/2014/main" id="{43D918B6-F3A1-47D5-B95E-1941D73A6FE2}"/>
                </a:ext>
              </a:extLst>
            </p:cNvPr>
            <p:cNvGrpSpPr/>
            <p:nvPr/>
          </p:nvGrpSpPr>
          <p:grpSpPr>
            <a:xfrm flipH="1">
              <a:off x="7792529" y="1785648"/>
              <a:ext cx="348209" cy="344923"/>
              <a:chOff x="5741782" y="1706805"/>
              <a:chExt cx="657225" cy="657225"/>
            </a:xfrm>
          </p:grpSpPr>
          <p:sp>
            <p:nvSpPr>
              <p:cNvPr id="121" name="Freeform: Shape 120">
                <a:extLst>
                  <a:ext uri="{FF2B5EF4-FFF2-40B4-BE49-F238E27FC236}">
                    <a16:creationId xmlns:a16="http://schemas.microsoft.com/office/drawing/2014/main" id="{19BBDD1B-94EB-4280-85E9-B1F062428304}"/>
                  </a:ext>
                </a:extLst>
              </p:cNvPr>
              <p:cNvSpPr/>
              <p:nvPr/>
            </p:nvSpPr>
            <p:spPr>
              <a:xfrm>
                <a:off x="5769524" y="1733237"/>
                <a:ext cx="390525" cy="390525"/>
              </a:xfrm>
              <a:custGeom>
                <a:avLst/>
                <a:gdLst/>
                <a:ahLst/>
                <a:cxnLst/>
                <a:rect l="0" t="0" r="0" b="0"/>
                <a:pathLst>
                  <a:path w="390525" h="390525">
                    <a:moveTo>
                      <a:pt x="390049" y="198596"/>
                    </a:moveTo>
                    <a:cubicBezTo>
                      <a:pt x="390049" y="304333"/>
                      <a:pt x="304333" y="390049"/>
                      <a:pt x="198596" y="390049"/>
                    </a:cubicBezTo>
                    <a:cubicBezTo>
                      <a:pt x="92860" y="390049"/>
                      <a:pt x="7144" y="304333"/>
                      <a:pt x="7144" y="198596"/>
                    </a:cubicBezTo>
                    <a:cubicBezTo>
                      <a:pt x="7144" y="92860"/>
                      <a:pt x="92860" y="7144"/>
                      <a:pt x="198596" y="7144"/>
                    </a:cubicBezTo>
                    <a:cubicBezTo>
                      <a:pt x="304333" y="7144"/>
                      <a:pt x="390049" y="92860"/>
                      <a:pt x="390049" y="198596"/>
                    </a:cubicBezTo>
                    <a:close/>
                  </a:path>
                </a:pathLst>
              </a:custGeom>
              <a:solidFill>
                <a:srgbClr val="FFFFFF">
                  <a:lumMod val="85000"/>
                </a:srgbClr>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B92807C9-74C6-45E6-8B30-D4D17BCD6870}"/>
                  </a:ext>
                </a:extLst>
              </p:cNvPr>
              <p:cNvSpPr/>
              <p:nvPr/>
            </p:nvSpPr>
            <p:spPr>
              <a:xfrm>
                <a:off x="5741782" y="1706805"/>
                <a:ext cx="657225" cy="657225"/>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rgbClr val="005A9F"/>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5772C2B4-8253-4E6D-8914-8C15979807C3}"/>
                  </a:ext>
                </a:extLst>
              </p:cNvPr>
              <p:cNvSpPr/>
              <p:nvPr/>
            </p:nvSpPr>
            <p:spPr>
              <a:xfrm>
                <a:off x="5913352" y="1788482"/>
                <a:ext cx="104775" cy="104775"/>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rgbClr val="FFFFFF"/>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1BEF20F-9CB0-40C2-8514-8347E649E21D}"/>
                  </a:ext>
                </a:extLst>
              </p:cNvPr>
              <p:cNvSpPr/>
              <p:nvPr/>
            </p:nvSpPr>
            <p:spPr>
              <a:xfrm>
                <a:off x="6128617" y="2121857"/>
                <a:ext cx="266700" cy="238125"/>
              </a:xfrm>
              <a:custGeom>
                <a:avLst/>
                <a:gdLst/>
                <a:ahLst/>
                <a:cxnLst/>
                <a:rect l="0" t="0" r="0" b="0"/>
                <a:pathLst>
                  <a:path w="266700" h="238125">
                    <a:moveTo>
                      <a:pt x="10001" y="32861"/>
                    </a:moveTo>
                    <a:lnTo>
                      <a:pt x="35719" y="7144"/>
                    </a:lnTo>
                    <a:lnTo>
                      <a:pt x="214789" y="186214"/>
                    </a:lnTo>
                    <a:cubicBezTo>
                      <a:pt x="216694" y="188119"/>
                      <a:pt x="219551" y="188119"/>
                      <a:pt x="221456" y="186214"/>
                    </a:cubicBezTo>
                    <a:lnTo>
                      <a:pt x="251936" y="155734"/>
                    </a:lnTo>
                    <a:lnTo>
                      <a:pt x="261461" y="165259"/>
                    </a:lnTo>
                    <a:cubicBezTo>
                      <a:pt x="265271" y="169069"/>
                      <a:pt x="265271" y="175736"/>
                      <a:pt x="261461" y="180499"/>
                    </a:cubicBezTo>
                    <a:lnTo>
                      <a:pt x="208121" y="233839"/>
                    </a:lnTo>
                    <a:cubicBezTo>
                      <a:pt x="204311" y="237649"/>
                      <a:pt x="197644" y="237649"/>
                      <a:pt x="192881" y="233839"/>
                    </a:cubicBezTo>
                    <a:lnTo>
                      <a:pt x="10001" y="48101"/>
                    </a:lnTo>
                    <a:cubicBezTo>
                      <a:pt x="6191" y="44291"/>
                      <a:pt x="6191" y="36671"/>
                      <a:pt x="10001" y="32861"/>
                    </a:cubicBezTo>
                    <a:close/>
                  </a:path>
                </a:pathLst>
              </a:custGeom>
              <a:solidFill>
                <a:srgbClr val="163E6A"/>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grpSp>
      </p:grpSp>
      <p:sp>
        <p:nvSpPr>
          <p:cNvPr id="22" name="TextBox 21">
            <a:extLst>
              <a:ext uri="{FF2B5EF4-FFF2-40B4-BE49-F238E27FC236}">
                <a16:creationId xmlns:a16="http://schemas.microsoft.com/office/drawing/2014/main" id="{2A51A144-36B8-4B87-80A2-D153D7020275}"/>
              </a:ext>
            </a:extLst>
          </p:cNvPr>
          <p:cNvSpPr txBox="1"/>
          <p:nvPr/>
        </p:nvSpPr>
        <p:spPr>
          <a:xfrm>
            <a:off x="5932347" y="3847822"/>
            <a:ext cx="945351" cy="161583"/>
          </a:xfrm>
          <a:prstGeom prst="rect">
            <a:avLst/>
          </a:prstGeom>
          <a:noFill/>
          <a:ln>
            <a:noFill/>
          </a:ln>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900" b="0" i="0" u="none" strike="noStrike" cap="none" spc="0" normalizeH="0" baseline="0">
                <a:ln>
                  <a:noFill/>
                </a:ln>
                <a:solidFill>
                  <a:srgbClr val="7F7F7F"/>
                </a:solidFill>
                <a:effectLst/>
                <a:uLnTx/>
                <a:uFillTx/>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rPr>
              <a:t>Bot Service</a:t>
            </a:r>
          </a:p>
        </p:txBody>
      </p:sp>
      <p:pic>
        <p:nvPicPr>
          <p:cNvPr id="23" name="Graphic 22">
            <a:extLst>
              <a:ext uri="{FF2B5EF4-FFF2-40B4-BE49-F238E27FC236}">
                <a16:creationId xmlns:a16="http://schemas.microsoft.com/office/drawing/2014/main" id="{899EDF1F-AEF3-48C6-998E-00F8091584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34649" y="3408307"/>
            <a:ext cx="340747" cy="340747"/>
          </a:xfrm>
          <a:prstGeom prst="rect">
            <a:avLst/>
          </a:prstGeom>
        </p:spPr>
      </p:pic>
      <p:sp>
        <p:nvSpPr>
          <p:cNvPr id="146" name="Rectangle 145">
            <a:extLst>
              <a:ext uri="{FF2B5EF4-FFF2-40B4-BE49-F238E27FC236}">
                <a16:creationId xmlns:a16="http://schemas.microsoft.com/office/drawing/2014/main" id="{1BEF1188-3EDC-4C5C-9891-581937D89EFB}"/>
              </a:ext>
            </a:extLst>
          </p:cNvPr>
          <p:cNvSpPr/>
          <p:nvPr/>
        </p:nvSpPr>
        <p:spPr bwMode="auto">
          <a:xfrm>
            <a:off x="7254159" y="3592329"/>
            <a:ext cx="2254135" cy="1494368"/>
          </a:xfrm>
          <a:prstGeom prst="rect">
            <a:avLst/>
          </a:prstGeom>
          <a:solidFill>
            <a:srgbClr val="001F36"/>
          </a:solidFill>
          <a:ln w="10795" cap="flat" cmpd="sng" algn="ctr">
            <a:solidFill>
              <a:schemeClr val="accent1"/>
            </a:solidFill>
            <a:prstDash val="dash"/>
          </a:ln>
          <a:effectLst>
            <a:outerShdw blurRad="190500" dist="38100" dir="2700000" algn="tl" rotWithShape="0">
              <a:prstClr val="black">
                <a:alpha val="15000"/>
              </a:prstClr>
            </a:outerShdw>
          </a:effectLst>
        </p:spPr>
        <p:txBody>
          <a:bodyPr rot="0" spcFirstLastPara="0" vertOverflow="overflow" horzOverflow="overflow" vert="horz" wrap="square" lIns="0" tIns="292608"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err="1">
              <a:ln>
                <a:noFill/>
              </a:ln>
              <a:gradFill>
                <a:gsLst>
                  <a:gs pos="7207">
                    <a:srgbClr val="1A1A1A"/>
                  </a:gs>
                  <a:gs pos="22523">
                    <a:srgbClr val="1A1A1A"/>
                  </a:gs>
                </a:gsLst>
                <a:lin ang="5400000" scaled="0"/>
              </a:gradFill>
              <a:effectLst/>
              <a:uLnTx/>
              <a:uFillTx/>
              <a:latin typeface="Segoe UI Semibold"/>
              <a:ea typeface="+mn-ea"/>
              <a:cs typeface="+mn-cs"/>
            </a:endParaRPr>
          </a:p>
        </p:txBody>
      </p:sp>
      <p:grpSp>
        <p:nvGrpSpPr>
          <p:cNvPr id="219" name="Group 218">
            <a:extLst>
              <a:ext uri="{FF2B5EF4-FFF2-40B4-BE49-F238E27FC236}">
                <a16:creationId xmlns:a16="http://schemas.microsoft.com/office/drawing/2014/main" id="{1B8A4105-5608-4941-B38C-1234C53B2278}"/>
              </a:ext>
            </a:extLst>
          </p:cNvPr>
          <p:cNvGrpSpPr/>
          <p:nvPr/>
        </p:nvGrpSpPr>
        <p:grpSpPr>
          <a:xfrm>
            <a:off x="4533908" y="1621012"/>
            <a:ext cx="370835" cy="306629"/>
            <a:chOff x="6615499" y="2245666"/>
            <a:chExt cx="760777" cy="641841"/>
          </a:xfrm>
        </p:grpSpPr>
        <p:grpSp>
          <p:nvGrpSpPr>
            <p:cNvPr id="220" name="Group 219">
              <a:extLst>
                <a:ext uri="{FF2B5EF4-FFF2-40B4-BE49-F238E27FC236}">
                  <a16:creationId xmlns:a16="http://schemas.microsoft.com/office/drawing/2014/main" id="{171EB2A1-5F2C-4E0E-9D2E-7EA4FCD48B05}"/>
                </a:ext>
              </a:extLst>
            </p:cNvPr>
            <p:cNvGrpSpPr/>
            <p:nvPr/>
          </p:nvGrpSpPr>
          <p:grpSpPr>
            <a:xfrm>
              <a:off x="6615499" y="2245666"/>
              <a:ext cx="664098" cy="641841"/>
              <a:chOff x="6497808" y="2230915"/>
              <a:chExt cx="664098" cy="641841"/>
            </a:xfrm>
          </p:grpSpPr>
          <p:pic>
            <p:nvPicPr>
              <p:cNvPr id="226" name="Graphic 225">
                <a:extLst>
                  <a:ext uri="{FF2B5EF4-FFF2-40B4-BE49-F238E27FC236}">
                    <a16:creationId xmlns:a16="http://schemas.microsoft.com/office/drawing/2014/main" id="{D994FC57-86EC-4BCF-B76E-891B4A38652B}"/>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67639"/>
              <a:stretch/>
            </p:blipFill>
            <p:spPr>
              <a:xfrm>
                <a:off x="6497808" y="2662363"/>
                <a:ext cx="664098" cy="210393"/>
              </a:xfrm>
              <a:prstGeom prst="rect">
                <a:avLst/>
              </a:prstGeom>
            </p:spPr>
          </p:pic>
          <p:sp>
            <p:nvSpPr>
              <p:cNvPr id="227" name="Rectangle: Rounded Corners 226">
                <a:extLst>
                  <a:ext uri="{FF2B5EF4-FFF2-40B4-BE49-F238E27FC236}">
                    <a16:creationId xmlns:a16="http://schemas.microsoft.com/office/drawing/2014/main" id="{8DBCA349-5118-4F80-9A6F-A00780F506C0}"/>
                  </a:ext>
                </a:extLst>
              </p:cNvPr>
              <p:cNvSpPr/>
              <p:nvPr/>
            </p:nvSpPr>
            <p:spPr>
              <a:xfrm>
                <a:off x="6500848" y="2230915"/>
                <a:ext cx="658018" cy="431448"/>
              </a:xfrm>
              <a:prstGeom prst="roundRect">
                <a:avLst>
                  <a:gd name="adj" fmla="val 4559"/>
                </a:avLst>
              </a:prstGeom>
              <a:gradFill flip="none" rotWithShape="1">
                <a:gsLst>
                  <a:gs pos="1250">
                    <a:srgbClr val="047AD5"/>
                  </a:gs>
                  <a:gs pos="100000">
                    <a:srgbClr val="5EA0EF"/>
                  </a:gs>
                </a:gsLst>
                <a:lin ang="16200000" scaled="1"/>
                <a:tileRect/>
              </a:gradFill>
              <a:ln>
                <a:noFill/>
              </a:ln>
              <a:effectLst>
                <a:outerShdw blurRad="63500" dir="5400000" algn="t"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21" name="Group 220">
              <a:extLst>
                <a:ext uri="{FF2B5EF4-FFF2-40B4-BE49-F238E27FC236}">
                  <a16:creationId xmlns:a16="http://schemas.microsoft.com/office/drawing/2014/main" id="{C2D045D6-C866-4887-A665-C8DE252E8CB0}"/>
                </a:ext>
              </a:extLst>
            </p:cNvPr>
            <p:cNvGrpSpPr/>
            <p:nvPr/>
          </p:nvGrpSpPr>
          <p:grpSpPr>
            <a:xfrm>
              <a:off x="7152171" y="2412635"/>
              <a:ext cx="224105" cy="431448"/>
              <a:chOff x="7281244" y="2203865"/>
              <a:chExt cx="375821" cy="723531"/>
            </a:xfrm>
          </p:grpSpPr>
          <p:sp>
            <p:nvSpPr>
              <p:cNvPr id="222" name="Rectangle: Rounded Corners 221">
                <a:extLst>
                  <a:ext uri="{FF2B5EF4-FFF2-40B4-BE49-F238E27FC236}">
                    <a16:creationId xmlns:a16="http://schemas.microsoft.com/office/drawing/2014/main" id="{AE707F71-CDAE-4B21-AC9A-C0BEBE5DEB80}"/>
                  </a:ext>
                </a:extLst>
              </p:cNvPr>
              <p:cNvSpPr/>
              <p:nvPr/>
            </p:nvSpPr>
            <p:spPr bwMode="auto">
              <a:xfrm>
                <a:off x="7281244" y="2203865"/>
                <a:ext cx="375821" cy="723531"/>
              </a:xfrm>
              <a:prstGeom prst="roundRect">
                <a:avLst>
                  <a:gd name="adj" fmla="val 13911"/>
                </a:avLst>
              </a:prstGeom>
              <a:ln w="36513"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Segoe UI"/>
                  <a:ea typeface="+mn-ea"/>
                  <a:cs typeface="+mn-cs"/>
                </a:endParaRPr>
              </a:p>
            </p:txBody>
          </p:sp>
          <p:sp>
            <p:nvSpPr>
              <p:cNvPr id="223" name="Rectangle 222">
                <a:extLst>
                  <a:ext uri="{FF2B5EF4-FFF2-40B4-BE49-F238E27FC236}">
                    <a16:creationId xmlns:a16="http://schemas.microsoft.com/office/drawing/2014/main" id="{1B8649BD-5A3F-4454-ACA4-AA544E4054D1}"/>
                  </a:ext>
                </a:extLst>
              </p:cNvPr>
              <p:cNvSpPr/>
              <p:nvPr/>
            </p:nvSpPr>
            <p:spPr bwMode="auto">
              <a:xfrm>
                <a:off x="7314913" y="2309674"/>
                <a:ext cx="308483" cy="542491"/>
              </a:xfrm>
              <a:prstGeom prst="rect">
                <a:avLst/>
              </a:prstGeom>
              <a:gradFill flip="none" rotWithShape="1">
                <a:gsLst>
                  <a:gs pos="1250">
                    <a:srgbClr val="047AD5"/>
                  </a:gs>
                  <a:gs pos="100000">
                    <a:srgbClr val="5EA0EF"/>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Segoe UI"/>
                  <a:ea typeface="+mn-ea"/>
                  <a:cs typeface="+mn-cs"/>
                </a:endParaRPr>
              </a:p>
            </p:txBody>
          </p:sp>
          <p:sp>
            <p:nvSpPr>
              <p:cNvPr id="224" name="Rectangle: Rounded Corners 223">
                <a:extLst>
                  <a:ext uri="{FF2B5EF4-FFF2-40B4-BE49-F238E27FC236}">
                    <a16:creationId xmlns:a16="http://schemas.microsoft.com/office/drawing/2014/main" id="{641E9E4E-252B-41AC-AB86-422DB24B79DD}"/>
                  </a:ext>
                </a:extLst>
              </p:cNvPr>
              <p:cNvSpPr/>
              <p:nvPr/>
            </p:nvSpPr>
            <p:spPr bwMode="auto">
              <a:xfrm>
                <a:off x="7386892" y="2234851"/>
                <a:ext cx="164524" cy="18288"/>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Segoe UI"/>
                  <a:ea typeface="+mn-ea"/>
                  <a:cs typeface="+mn-cs"/>
                </a:endParaRPr>
              </a:p>
            </p:txBody>
          </p:sp>
          <p:sp>
            <p:nvSpPr>
              <p:cNvPr id="225" name="Rectangle: Rounded Corners 224">
                <a:extLst>
                  <a:ext uri="{FF2B5EF4-FFF2-40B4-BE49-F238E27FC236}">
                    <a16:creationId xmlns:a16="http://schemas.microsoft.com/office/drawing/2014/main" id="{A3CBD98F-A7B6-4478-9A6B-A111F40E8B36}"/>
                  </a:ext>
                </a:extLst>
              </p:cNvPr>
              <p:cNvSpPr/>
              <p:nvPr/>
            </p:nvSpPr>
            <p:spPr bwMode="auto">
              <a:xfrm>
                <a:off x="7443819" y="2856971"/>
                <a:ext cx="50671" cy="50671"/>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Segoe UI"/>
                  <a:ea typeface="+mn-ea"/>
                  <a:cs typeface="+mn-cs"/>
                </a:endParaRPr>
              </a:p>
            </p:txBody>
          </p:sp>
        </p:grpSp>
      </p:grpSp>
      <p:sp>
        <p:nvSpPr>
          <p:cNvPr id="228" name="Title 1">
            <a:extLst>
              <a:ext uri="{FF2B5EF4-FFF2-40B4-BE49-F238E27FC236}">
                <a16:creationId xmlns:a16="http://schemas.microsoft.com/office/drawing/2014/main" id="{0E7E9E95-B500-45B3-A4FE-627D986EA64E}"/>
              </a:ext>
            </a:extLst>
          </p:cNvPr>
          <p:cNvSpPr txBox="1">
            <a:spLocks/>
          </p:cNvSpPr>
          <p:nvPr/>
        </p:nvSpPr>
        <p:spPr>
          <a:xfrm>
            <a:off x="5046610" y="1628613"/>
            <a:ext cx="1115142" cy="32316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050" b="0" i="0" u="none" strike="noStrike" kern="1200" cap="none" spc="0" normalizeH="0" baseline="0" noProof="0">
                <a:ln w="3175">
                  <a:noFill/>
                </a:ln>
                <a:gradFill>
                  <a:gsLst>
                    <a:gs pos="0">
                      <a:srgbClr val="FFFFFF"/>
                    </a:gs>
                    <a:gs pos="100000">
                      <a:srgbClr val="FFFFFF"/>
                    </a:gs>
                  </a:gsLst>
                  <a:lin ang="5400000" scaled="1"/>
                </a:gradFill>
                <a:effectLst/>
                <a:uLnTx/>
                <a:uFillTx/>
                <a:latin typeface="Segoe UI Semibold"/>
                <a:ea typeface="+mn-ea"/>
                <a:cs typeface="Segoe UI Semilight" panose="020B0402040204020203" pitchFamily="34" charset="0"/>
              </a:rPr>
              <a:t>Web and mobile apps</a:t>
            </a:r>
          </a:p>
        </p:txBody>
      </p:sp>
      <p:cxnSp>
        <p:nvCxnSpPr>
          <p:cNvPr id="35" name="Straight Arrow Connector 34">
            <a:extLst>
              <a:ext uri="{FF2B5EF4-FFF2-40B4-BE49-F238E27FC236}">
                <a16:creationId xmlns:a16="http://schemas.microsoft.com/office/drawing/2014/main" id="{477A9367-6099-4199-9040-8C210B240930}"/>
              </a:ext>
            </a:extLst>
          </p:cNvPr>
          <p:cNvCxnSpPr>
            <a:cxnSpLocks/>
          </p:cNvCxnSpPr>
          <p:nvPr/>
        </p:nvCxnSpPr>
        <p:spPr>
          <a:xfrm flipV="1">
            <a:off x="6394931" y="1951778"/>
            <a:ext cx="0" cy="349887"/>
          </a:xfrm>
          <a:prstGeom prst="straightConnector1">
            <a:avLst/>
          </a:prstGeom>
          <a:ln w="15875">
            <a:solidFill>
              <a:schemeClr val="tx1"/>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4FE2AB0A-CCEF-4EC7-9E68-C577E93929EF}"/>
              </a:ext>
            </a:extLst>
          </p:cNvPr>
          <p:cNvCxnSpPr>
            <a:cxnSpLocks/>
          </p:cNvCxnSpPr>
          <p:nvPr/>
        </p:nvCxnSpPr>
        <p:spPr>
          <a:xfrm flipV="1">
            <a:off x="6394931" y="2898841"/>
            <a:ext cx="0" cy="349887"/>
          </a:xfrm>
          <a:prstGeom prst="straightConnector1">
            <a:avLst/>
          </a:prstGeom>
          <a:ln w="15875">
            <a:solidFill>
              <a:schemeClr val="tx1"/>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168F8EA1-63C8-4C8B-875A-BA90E738E86C}"/>
              </a:ext>
            </a:extLst>
          </p:cNvPr>
          <p:cNvCxnSpPr>
            <a:cxnSpLocks/>
          </p:cNvCxnSpPr>
          <p:nvPr/>
        </p:nvCxnSpPr>
        <p:spPr>
          <a:xfrm flipV="1">
            <a:off x="6427726" y="5343287"/>
            <a:ext cx="0" cy="349887"/>
          </a:xfrm>
          <a:prstGeom prst="straightConnector1">
            <a:avLst/>
          </a:prstGeom>
          <a:ln w="15875">
            <a:solidFill>
              <a:schemeClr val="tx1"/>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DEAC4E3-F59C-49A7-A4EE-FB3A1602587A}"/>
              </a:ext>
            </a:extLst>
          </p:cNvPr>
          <p:cNvSpPr txBox="1">
            <a:spLocks/>
          </p:cNvSpPr>
          <p:nvPr/>
        </p:nvSpPr>
        <p:spPr>
          <a:xfrm>
            <a:off x="7263104" y="1628613"/>
            <a:ext cx="1115142" cy="16158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050" b="0" i="0" u="none" strike="noStrike" kern="1200" cap="none" spc="0" normalizeH="0" baseline="0" noProof="0">
                <a:ln w="3175">
                  <a:noFill/>
                </a:ln>
                <a:gradFill>
                  <a:gsLst>
                    <a:gs pos="0">
                      <a:srgbClr val="FFFFFF"/>
                    </a:gs>
                    <a:gs pos="100000">
                      <a:srgbClr val="FFFFFF"/>
                    </a:gs>
                  </a:gsLst>
                  <a:lin ang="5400000" scaled="1"/>
                </a:gradFill>
                <a:effectLst/>
                <a:uLnTx/>
                <a:uFillTx/>
                <a:latin typeface="Segoe UI Semibold"/>
                <a:ea typeface="+mn-ea"/>
                <a:cs typeface="Segoe UI Semilight" panose="020B0402040204020203" pitchFamily="34" charset="0"/>
              </a:rPr>
              <a:t>IoT devices</a:t>
            </a:r>
          </a:p>
        </p:txBody>
      </p:sp>
      <p:sp>
        <p:nvSpPr>
          <p:cNvPr id="7" name="AutoShape 2">
            <a:extLst>
              <a:ext uri="{FF2B5EF4-FFF2-40B4-BE49-F238E27FC236}">
                <a16:creationId xmlns:a16="http://schemas.microsoft.com/office/drawing/2014/main" id="{4B15ABD8-3B11-4A68-B99D-1BA9F2662A41}"/>
              </a:ext>
            </a:extLst>
          </p:cNvPr>
          <p:cNvSpPr>
            <a:spLocks noChangeAspect="1" noChangeArrowheads="1"/>
          </p:cNvSpPr>
          <p:nvPr/>
        </p:nvSpPr>
        <p:spPr bwMode="auto">
          <a:xfrm>
            <a:off x="6671219" y="3396259"/>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50" name="IoT Sensors" descr="IoT Sensors">
            <a:extLst>
              <a:ext uri="{FF2B5EF4-FFF2-40B4-BE49-F238E27FC236}">
                <a16:creationId xmlns:a16="http://schemas.microsoft.com/office/drawing/2014/main" id="{0B1779DA-15C1-4B41-988D-D90E9608451F}"/>
              </a:ext>
            </a:extLst>
          </p:cNvPr>
          <p:cNvPicPr>
            <a:picLocks noChangeAspect="1"/>
          </p:cNvPicPr>
          <p:nvPr/>
        </p:nvPicPr>
        <p:blipFill>
          <a:blip r:embed="rId7"/>
          <a:stretch>
            <a:fillRect/>
          </a:stretch>
        </p:blipFill>
        <p:spPr>
          <a:xfrm>
            <a:off x="6877698" y="1597243"/>
            <a:ext cx="544682" cy="354166"/>
          </a:xfrm>
          <a:prstGeom prst="rect">
            <a:avLst/>
          </a:prstGeom>
        </p:spPr>
      </p:pic>
      <p:pic>
        <p:nvPicPr>
          <p:cNvPr id="51" name="Graphic 50">
            <a:extLst>
              <a:ext uri="{FF2B5EF4-FFF2-40B4-BE49-F238E27FC236}">
                <a16:creationId xmlns:a16="http://schemas.microsoft.com/office/drawing/2014/main" id="{26A384C8-6529-421A-BECB-A0752D34A4A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00498" y="2341798"/>
            <a:ext cx="349550" cy="349550"/>
          </a:xfrm>
          <a:prstGeom prst="rect">
            <a:avLst/>
          </a:prstGeom>
        </p:spPr>
      </p:pic>
      <p:sp>
        <p:nvSpPr>
          <p:cNvPr id="52" name="TextBox 51">
            <a:extLst>
              <a:ext uri="{FF2B5EF4-FFF2-40B4-BE49-F238E27FC236}">
                <a16:creationId xmlns:a16="http://schemas.microsoft.com/office/drawing/2014/main" id="{BE4162C2-EBB1-4EEA-B714-88651BD59314}"/>
              </a:ext>
            </a:extLst>
          </p:cNvPr>
          <p:cNvSpPr txBox="1"/>
          <p:nvPr/>
        </p:nvSpPr>
        <p:spPr>
          <a:xfrm>
            <a:off x="4395721" y="2786578"/>
            <a:ext cx="168975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Azure Kubernetes Service</a:t>
            </a:r>
          </a:p>
        </p:txBody>
      </p:sp>
      <p:sp>
        <p:nvSpPr>
          <p:cNvPr id="53" name="TextBox 52">
            <a:extLst>
              <a:ext uri="{FF2B5EF4-FFF2-40B4-BE49-F238E27FC236}">
                <a16:creationId xmlns:a16="http://schemas.microsoft.com/office/drawing/2014/main" id="{93AC7BAC-C84A-4BEE-B279-D5EFF1019535}"/>
              </a:ext>
            </a:extLst>
          </p:cNvPr>
          <p:cNvSpPr txBox="1"/>
          <p:nvPr/>
        </p:nvSpPr>
        <p:spPr>
          <a:xfrm>
            <a:off x="6657807" y="2786578"/>
            <a:ext cx="168975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App Service</a:t>
            </a:r>
          </a:p>
        </p:txBody>
      </p:sp>
      <p:pic>
        <p:nvPicPr>
          <p:cNvPr id="54" name="App Service" descr="App Service">
            <a:extLst>
              <a:ext uri="{FF2B5EF4-FFF2-40B4-BE49-F238E27FC236}">
                <a16:creationId xmlns:a16="http://schemas.microsoft.com/office/drawing/2014/main" id="{D49D80C1-5FD1-4781-ABB5-CD0B322004E8}"/>
              </a:ext>
            </a:extLst>
          </p:cNvPr>
          <p:cNvPicPr>
            <a:picLocks noChangeAspect="1"/>
          </p:cNvPicPr>
          <p:nvPr/>
        </p:nvPicPr>
        <p:blipFill>
          <a:blip r:embed="rId10"/>
          <a:stretch>
            <a:fillRect/>
          </a:stretch>
        </p:blipFill>
        <p:spPr>
          <a:xfrm>
            <a:off x="7327630" y="2341798"/>
            <a:ext cx="350104" cy="349550"/>
          </a:xfrm>
          <a:prstGeom prst="rect">
            <a:avLst/>
          </a:prstGeom>
        </p:spPr>
      </p:pic>
      <p:grpSp>
        <p:nvGrpSpPr>
          <p:cNvPr id="101" name="Group 100">
            <a:extLst>
              <a:ext uri="{FF2B5EF4-FFF2-40B4-BE49-F238E27FC236}">
                <a16:creationId xmlns:a16="http://schemas.microsoft.com/office/drawing/2014/main" id="{9F294ED3-AA64-40D4-B48D-68E342A76C90}"/>
              </a:ext>
            </a:extLst>
          </p:cNvPr>
          <p:cNvGrpSpPr/>
          <p:nvPr/>
        </p:nvGrpSpPr>
        <p:grpSpPr>
          <a:xfrm>
            <a:off x="2969456" y="1397246"/>
            <a:ext cx="358596" cy="443198"/>
            <a:chOff x="3973963" y="1325161"/>
            <a:chExt cx="414950" cy="512847"/>
          </a:xfrm>
        </p:grpSpPr>
        <p:grpSp>
          <p:nvGrpSpPr>
            <p:cNvPr id="102" name="Group 101">
              <a:extLst>
                <a:ext uri="{FF2B5EF4-FFF2-40B4-BE49-F238E27FC236}">
                  <a16:creationId xmlns:a16="http://schemas.microsoft.com/office/drawing/2014/main" id="{0B761F30-8033-4089-809C-2C863515CC69}"/>
                </a:ext>
              </a:extLst>
            </p:cNvPr>
            <p:cNvGrpSpPr/>
            <p:nvPr/>
          </p:nvGrpSpPr>
          <p:grpSpPr>
            <a:xfrm>
              <a:off x="3973963" y="1534721"/>
              <a:ext cx="414950" cy="303287"/>
              <a:chOff x="-709939" y="1835886"/>
              <a:chExt cx="2805497" cy="2050536"/>
            </a:xfrm>
            <a:solidFill>
              <a:srgbClr val="243A5E">
                <a:lumMod val="50000"/>
              </a:srgbClr>
            </a:solidFill>
          </p:grpSpPr>
          <p:sp>
            <p:nvSpPr>
              <p:cNvPr id="131" name="Oval 87">
                <a:extLst>
                  <a:ext uri="{FF2B5EF4-FFF2-40B4-BE49-F238E27FC236}">
                    <a16:creationId xmlns:a16="http://schemas.microsoft.com/office/drawing/2014/main" id="{736E369C-3003-4BBB-80AD-97D858C8B873}"/>
                  </a:ext>
                </a:extLst>
              </p:cNvPr>
              <p:cNvSpPr/>
              <p:nvPr/>
            </p:nvSpPr>
            <p:spPr>
              <a:xfrm>
                <a:off x="-709939" y="2649679"/>
                <a:ext cx="2805497" cy="1236743"/>
              </a:xfrm>
              <a:custGeom>
                <a:avLst/>
                <a:gdLst>
                  <a:gd name="connsiteX0" fmla="*/ 0 w 2131421"/>
                  <a:gd name="connsiteY0" fmla="*/ 629088 h 1258176"/>
                  <a:gd name="connsiteX1" fmla="*/ 1065711 w 2131421"/>
                  <a:gd name="connsiteY1" fmla="*/ 0 h 1258176"/>
                  <a:gd name="connsiteX2" fmla="*/ 2131422 w 2131421"/>
                  <a:gd name="connsiteY2" fmla="*/ 629088 h 1258176"/>
                  <a:gd name="connsiteX3" fmla="*/ 1065711 w 2131421"/>
                  <a:gd name="connsiteY3" fmla="*/ 1258176 h 1258176"/>
                  <a:gd name="connsiteX4" fmla="*/ 0 w 2131421"/>
                  <a:gd name="connsiteY4" fmla="*/ 629088 h 1258176"/>
                  <a:gd name="connsiteX0" fmla="*/ 0 w 2472384"/>
                  <a:gd name="connsiteY0" fmla="*/ 632912 h 1273485"/>
                  <a:gd name="connsiteX1" fmla="*/ 1065711 w 2472384"/>
                  <a:gd name="connsiteY1" fmla="*/ 3824 h 1273485"/>
                  <a:gd name="connsiteX2" fmla="*/ 2472384 w 2472384"/>
                  <a:gd name="connsiteY2" fmla="*/ 890184 h 1273485"/>
                  <a:gd name="connsiteX3" fmla="*/ 1065711 w 2472384"/>
                  <a:gd name="connsiteY3" fmla="*/ 1262000 h 1273485"/>
                  <a:gd name="connsiteX4" fmla="*/ 0 w 2472384"/>
                  <a:gd name="connsiteY4" fmla="*/ 632912 h 1273485"/>
                  <a:gd name="connsiteX0" fmla="*/ 0 w 2779250"/>
                  <a:gd name="connsiteY0" fmla="*/ 917394 h 1259324"/>
                  <a:gd name="connsiteX1" fmla="*/ 1372577 w 2779250"/>
                  <a:gd name="connsiteY1" fmla="*/ 37 h 1259324"/>
                  <a:gd name="connsiteX2" fmla="*/ 2779250 w 2779250"/>
                  <a:gd name="connsiteY2" fmla="*/ 886397 h 1259324"/>
                  <a:gd name="connsiteX3" fmla="*/ 1372577 w 2779250"/>
                  <a:gd name="connsiteY3" fmla="*/ 1258213 h 1259324"/>
                  <a:gd name="connsiteX4" fmla="*/ 0 w 2779250"/>
                  <a:gd name="connsiteY4" fmla="*/ 917394 h 1259324"/>
                  <a:gd name="connsiteX0" fmla="*/ 0 w 2779250"/>
                  <a:gd name="connsiteY0" fmla="*/ 917394 h 1258354"/>
                  <a:gd name="connsiteX1" fmla="*/ 1372577 w 2779250"/>
                  <a:gd name="connsiteY1" fmla="*/ 37 h 1258354"/>
                  <a:gd name="connsiteX2" fmla="*/ 2779250 w 2779250"/>
                  <a:gd name="connsiteY2" fmla="*/ 886397 h 1258354"/>
                  <a:gd name="connsiteX3" fmla="*/ 1372577 w 2779250"/>
                  <a:gd name="connsiteY3" fmla="*/ 1258213 h 1258354"/>
                  <a:gd name="connsiteX4" fmla="*/ 0 w 2779250"/>
                  <a:gd name="connsiteY4" fmla="*/ 917394 h 1258354"/>
                  <a:gd name="connsiteX0" fmla="*/ 31345 w 2810595"/>
                  <a:gd name="connsiteY0" fmla="*/ 930067 h 1271027"/>
                  <a:gd name="connsiteX1" fmla="*/ 520019 w 2810595"/>
                  <a:gd name="connsiteY1" fmla="*/ 412315 h 1271027"/>
                  <a:gd name="connsiteX2" fmla="*/ 1403922 w 2810595"/>
                  <a:gd name="connsiteY2" fmla="*/ 12710 h 1271027"/>
                  <a:gd name="connsiteX3" fmla="*/ 2810595 w 2810595"/>
                  <a:gd name="connsiteY3" fmla="*/ 899070 h 1271027"/>
                  <a:gd name="connsiteX4" fmla="*/ 1403922 w 2810595"/>
                  <a:gd name="connsiteY4" fmla="*/ 1270886 h 1271027"/>
                  <a:gd name="connsiteX5" fmla="*/ 31345 w 2810595"/>
                  <a:gd name="connsiteY5" fmla="*/ 930067 h 1271027"/>
                  <a:gd name="connsiteX0" fmla="*/ 48540 w 2827790"/>
                  <a:gd name="connsiteY0" fmla="*/ 943388 h 1284314"/>
                  <a:gd name="connsiteX1" fmla="*/ 413228 w 2827790"/>
                  <a:gd name="connsiteY1" fmla="*/ 298550 h 1284314"/>
                  <a:gd name="connsiteX2" fmla="*/ 1421117 w 2827790"/>
                  <a:gd name="connsiteY2" fmla="*/ 26031 h 1284314"/>
                  <a:gd name="connsiteX3" fmla="*/ 2827790 w 2827790"/>
                  <a:gd name="connsiteY3" fmla="*/ 912391 h 1284314"/>
                  <a:gd name="connsiteX4" fmla="*/ 1421117 w 2827790"/>
                  <a:gd name="connsiteY4" fmla="*/ 1284207 h 1284314"/>
                  <a:gd name="connsiteX5" fmla="*/ 48540 w 2827790"/>
                  <a:gd name="connsiteY5" fmla="*/ 943388 h 1284314"/>
                  <a:gd name="connsiteX0" fmla="*/ 48540 w 2848791"/>
                  <a:gd name="connsiteY0" fmla="*/ 917737 h 1258663"/>
                  <a:gd name="connsiteX1" fmla="*/ 413228 w 2848791"/>
                  <a:gd name="connsiteY1" fmla="*/ 272899 h 1258663"/>
                  <a:gd name="connsiteX2" fmla="*/ 1421117 w 2848791"/>
                  <a:gd name="connsiteY2" fmla="*/ 380 h 1258663"/>
                  <a:gd name="connsiteX3" fmla="*/ 2207932 w 2848791"/>
                  <a:gd name="connsiteY3" fmla="*/ 322495 h 1258663"/>
                  <a:gd name="connsiteX4" fmla="*/ 2827790 w 2848791"/>
                  <a:gd name="connsiteY4" fmla="*/ 886740 h 1258663"/>
                  <a:gd name="connsiteX5" fmla="*/ 1421117 w 2848791"/>
                  <a:gd name="connsiteY5" fmla="*/ 1258556 h 1258663"/>
                  <a:gd name="connsiteX6" fmla="*/ 48540 w 2848791"/>
                  <a:gd name="connsiteY6" fmla="*/ 917737 h 1258663"/>
                  <a:gd name="connsiteX0" fmla="*/ 48540 w 2862285"/>
                  <a:gd name="connsiteY0" fmla="*/ 917364 h 1258290"/>
                  <a:gd name="connsiteX1" fmla="*/ 413228 w 2862285"/>
                  <a:gd name="connsiteY1" fmla="*/ 272526 h 1258290"/>
                  <a:gd name="connsiteX2" fmla="*/ 1421117 w 2862285"/>
                  <a:gd name="connsiteY2" fmla="*/ 7 h 1258290"/>
                  <a:gd name="connsiteX3" fmla="*/ 2455905 w 2862285"/>
                  <a:gd name="connsiteY3" fmla="*/ 266328 h 1258290"/>
                  <a:gd name="connsiteX4" fmla="*/ 2827790 w 2862285"/>
                  <a:gd name="connsiteY4" fmla="*/ 886367 h 1258290"/>
                  <a:gd name="connsiteX5" fmla="*/ 1421117 w 2862285"/>
                  <a:gd name="connsiteY5" fmla="*/ 1258183 h 1258290"/>
                  <a:gd name="connsiteX6" fmla="*/ 48540 w 2862285"/>
                  <a:gd name="connsiteY6" fmla="*/ 917364 h 1258290"/>
                  <a:gd name="connsiteX0" fmla="*/ 48540 w 2862285"/>
                  <a:gd name="connsiteY0" fmla="*/ 870873 h 1211799"/>
                  <a:gd name="connsiteX1" fmla="*/ 413228 w 2862285"/>
                  <a:gd name="connsiteY1" fmla="*/ 226035 h 1211799"/>
                  <a:gd name="connsiteX2" fmla="*/ 1418017 w 2862285"/>
                  <a:gd name="connsiteY2" fmla="*/ 11 h 1211799"/>
                  <a:gd name="connsiteX3" fmla="*/ 2455905 w 2862285"/>
                  <a:gd name="connsiteY3" fmla="*/ 219837 h 1211799"/>
                  <a:gd name="connsiteX4" fmla="*/ 2827790 w 2862285"/>
                  <a:gd name="connsiteY4" fmla="*/ 839876 h 1211799"/>
                  <a:gd name="connsiteX5" fmla="*/ 1421117 w 2862285"/>
                  <a:gd name="connsiteY5" fmla="*/ 1211692 h 1211799"/>
                  <a:gd name="connsiteX6" fmla="*/ 48540 w 2862285"/>
                  <a:gd name="connsiteY6" fmla="*/ 870873 h 1211799"/>
                  <a:gd name="connsiteX0" fmla="*/ 48540 w 2853817"/>
                  <a:gd name="connsiteY0" fmla="*/ 870873 h 1214250"/>
                  <a:gd name="connsiteX1" fmla="*/ 413228 w 2853817"/>
                  <a:gd name="connsiteY1" fmla="*/ 226035 h 1214250"/>
                  <a:gd name="connsiteX2" fmla="*/ 1418017 w 2853817"/>
                  <a:gd name="connsiteY2" fmla="*/ 11 h 1214250"/>
                  <a:gd name="connsiteX3" fmla="*/ 2455905 w 2853817"/>
                  <a:gd name="connsiteY3" fmla="*/ 219837 h 1214250"/>
                  <a:gd name="connsiteX4" fmla="*/ 2818491 w 2853817"/>
                  <a:gd name="connsiteY4" fmla="*/ 985560 h 1214250"/>
                  <a:gd name="connsiteX5" fmla="*/ 1421117 w 2853817"/>
                  <a:gd name="connsiteY5" fmla="*/ 1211692 h 1214250"/>
                  <a:gd name="connsiteX6" fmla="*/ 48540 w 2853817"/>
                  <a:gd name="connsiteY6" fmla="*/ 870873 h 1214250"/>
                  <a:gd name="connsiteX0" fmla="*/ 50935 w 2834514"/>
                  <a:gd name="connsiteY0" fmla="*/ 997959 h 1211751"/>
                  <a:gd name="connsiteX1" fmla="*/ 393925 w 2834514"/>
                  <a:gd name="connsiteY1" fmla="*/ 226035 h 1211751"/>
                  <a:gd name="connsiteX2" fmla="*/ 1398714 w 2834514"/>
                  <a:gd name="connsiteY2" fmla="*/ 11 h 1211751"/>
                  <a:gd name="connsiteX3" fmla="*/ 2436602 w 2834514"/>
                  <a:gd name="connsiteY3" fmla="*/ 219837 h 1211751"/>
                  <a:gd name="connsiteX4" fmla="*/ 2799188 w 2834514"/>
                  <a:gd name="connsiteY4" fmla="*/ 985560 h 1211751"/>
                  <a:gd name="connsiteX5" fmla="*/ 1401814 w 2834514"/>
                  <a:gd name="connsiteY5" fmla="*/ 1211692 h 1211751"/>
                  <a:gd name="connsiteX6" fmla="*/ 50935 w 2834514"/>
                  <a:gd name="connsiteY6" fmla="*/ 997959 h 1211751"/>
                  <a:gd name="connsiteX0" fmla="*/ 37723 w 2821302"/>
                  <a:gd name="connsiteY0" fmla="*/ 997959 h 1211882"/>
                  <a:gd name="connsiteX1" fmla="*/ 380713 w 2821302"/>
                  <a:gd name="connsiteY1" fmla="*/ 226035 h 1211882"/>
                  <a:gd name="connsiteX2" fmla="*/ 1385502 w 2821302"/>
                  <a:gd name="connsiteY2" fmla="*/ 11 h 1211882"/>
                  <a:gd name="connsiteX3" fmla="*/ 2423390 w 2821302"/>
                  <a:gd name="connsiteY3" fmla="*/ 219837 h 1211882"/>
                  <a:gd name="connsiteX4" fmla="*/ 2785976 w 2821302"/>
                  <a:gd name="connsiteY4" fmla="*/ 985560 h 1211882"/>
                  <a:gd name="connsiteX5" fmla="*/ 1388602 w 2821302"/>
                  <a:gd name="connsiteY5" fmla="*/ 1211692 h 1211882"/>
                  <a:gd name="connsiteX6" fmla="*/ 37723 w 2821302"/>
                  <a:gd name="connsiteY6" fmla="*/ 997959 h 1211882"/>
                  <a:gd name="connsiteX0" fmla="*/ 37723 w 2796135"/>
                  <a:gd name="connsiteY0" fmla="*/ 997959 h 1211726"/>
                  <a:gd name="connsiteX1" fmla="*/ 380713 w 2796135"/>
                  <a:gd name="connsiteY1" fmla="*/ 226035 h 1211726"/>
                  <a:gd name="connsiteX2" fmla="*/ 1385502 w 2796135"/>
                  <a:gd name="connsiteY2" fmla="*/ 11 h 1211726"/>
                  <a:gd name="connsiteX3" fmla="*/ 2423390 w 2796135"/>
                  <a:gd name="connsiteY3" fmla="*/ 219837 h 1211726"/>
                  <a:gd name="connsiteX4" fmla="*/ 2758079 w 2796135"/>
                  <a:gd name="connsiteY4" fmla="*/ 1007258 h 1211726"/>
                  <a:gd name="connsiteX5" fmla="*/ 1388602 w 2796135"/>
                  <a:gd name="connsiteY5" fmla="*/ 1211692 h 1211726"/>
                  <a:gd name="connsiteX6" fmla="*/ 37723 w 2796135"/>
                  <a:gd name="connsiteY6" fmla="*/ 997959 h 1211726"/>
                  <a:gd name="connsiteX0" fmla="*/ 37723 w 2796135"/>
                  <a:gd name="connsiteY0" fmla="*/ 1022592 h 1236359"/>
                  <a:gd name="connsiteX1" fmla="*/ 380713 w 2796135"/>
                  <a:gd name="connsiteY1" fmla="*/ 250668 h 1236359"/>
                  <a:gd name="connsiteX2" fmla="*/ 1180426 w 2796135"/>
                  <a:gd name="connsiteY2" fmla="*/ 30591 h 1236359"/>
                  <a:gd name="connsiteX3" fmla="*/ 1385502 w 2796135"/>
                  <a:gd name="connsiteY3" fmla="*/ 24644 h 1236359"/>
                  <a:gd name="connsiteX4" fmla="*/ 2423390 w 2796135"/>
                  <a:gd name="connsiteY4" fmla="*/ 244470 h 1236359"/>
                  <a:gd name="connsiteX5" fmla="*/ 2758079 w 2796135"/>
                  <a:gd name="connsiteY5" fmla="*/ 1031891 h 1236359"/>
                  <a:gd name="connsiteX6" fmla="*/ 1388602 w 2796135"/>
                  <a:gd name="connsiteY6" fmla="*/ 1236325 h 1236359"/>
                  <a:gd name="connsiteX7" fmla="*/ 37723 w 2796135"/>
                  <a:gd name="connsiteY7" fmla="*/ 1022592 h 1236359"/>
                  <a:gd name="connsiteX0" fmla="*/ 37723 w 2796135"/>
                  <a:gd name="connsiteY0" fmla="*/ 1033639 h 1247406"/>
                  <a:gd name="connsiteX1" fmla="*/ 380713 w 2796135"/>
                  <a:gd name="connsiteY1" fmla="*/ 261715 h 1247406"/>
                  <a:gd name="connsiteX2" fmla="*/ 913855 w 2796135"/>
                  <a:gd name="connsiteY2" fmla="*/ 23040 h 1247406"/>
                  <a:gd name="connsiteX3" fmla="*/ 1385502 w 2796135"/>
                  <a:gd name="connsiteY3" fmla="*/ 35691 h 1247406"/>
                  <a:gd name="connsiteX4" fmla="*/ 2423390 w 2796135"/>
                  <a:gd name="connsiteY4" fmla="*/ 255517 h 1247406"/>
                  <a:gd name="connsiteX5" fmla="*/ 2758079 w 2796135"/>
                  <a:gd name="connsiteY5" fmla="*/ 1042938 h 1247406"/>
                  <a:gd name="connsiteX6" fmla="*/ 1388602 w 2796135"/>
                  <a:gd name="connsiteY6" fmla="*/ 1247372 h 1247406"/>
                  <a:gd name="connsiteX7" fmla="*/ 37723 w 2796135"/>
                  <a:gd name="connsiteY7" fmla="*/ 1033639 h 1247406"/>
                  <a:gd name="connsiteX0" fmla="*/ 37723 w 2796135"/>
                  <a:gd name="connsiteY0" fmla="*/ 1011616 h 1225383"/>
                  <a:gd name="connsiteX1" fmla="*/ 380713 w 2796135"/>
                  <a:gd name="connsiteY1" fmla="*/ 239692 h 1225383"/>
                  <a:gd name="connsiteX2" fmla="*/ 913855 w 2796135"/>
                  <a:gd name="connsiteY2" fmla="*/ 1017 h 1225383"/>
                  <a:gd name="connsiteX3" fmla="*/ 1401001 w 2796135"/>
                  <a:gd name="connsiteY3" fmla="*/ 1024158 h 1225383"/>
                  <a:gd name="connsiteX4" fmla="*/ 2423390 w 2796135"/>
                  <a:gd name="connsiteY4" fmla="*/ 233494 h 1225383"/>
                  <a:gd name="connsiteX5" fmla="*/ 2758079 w 2796135"/>
                  <a:gd name="connsiteY5" fmla="*/ 1020915 h 1225383"/>
                  <a:gd name="connsiteX6" fmla="*/ 1388602 w 2796135"/>
                  <a:gd name="connsiteY6" fmla="*/ 1225349 h 1225383"/>
                  <a:gd name="connsiteX7" fmla="*/ 37723 w 2796135"/>
                  <a:gd name="connsiteY7" fmla="*/ 1011616 h 1225383"/>
                  <a:gd name="connsiteX0" fmla="*/ 37723 w 2786074"/>
                  <a:gd name="connsiteY0" fmla="*/ 1011632 h 1225399"/>
                  <a:gd name="connsiteX1" fmla="*/ 380713 w 2786074"/>
                  <a:gd name="connsiteY1" fmla="*/ 239708 h 1225399"/>
                  <a:gd name="connsiteX2" fmla="*/ 913855 w 2786074"/>
                  <a:gd name="connsiteY2" fmla="*/ 1033 h 1225399"/>
                  <a:gd name="connsiteX3" fmla="*/ 1401001 w 2786074"/>
                  <a:gd name="connsiteY3" fmla="*/ 1024174 h 1225399"/>
                  <a:gd name="connsiteX4" fmla="*/ 2163019 w 2786074"/>
                  <a:gd name="connsiteY4" fmla="*/ 338897 h 1225399"/>
                  <a:gd name="connsiteX5" fmla="*/ 2423390 w 2786074"/>
                  <a:gd name="connsiteY5" fmla="*/ 233510 h 1225399"/>
                  <a:gd name="connsiteX6" fmla="*/ 2758079 w 2786074"/>
                  <a:gd name="connsiteY6" fmla="*/ 1020931 h 1225399"/>
                  <a:gd name="connsiteX7" fmla="*/ 1388602 w 2786074"/>
                  <a:gd name="connsiteY7" fmla="*/ 1225365 h 1225399"/>
                  <a:gd name="connsiteX8" fmla="*/ 37723 w 2786074"/>
                  <a:gd name="connsiteY8" fmla="*/ 1011632 h 1225399"/>
                  <a:gd name="connsiteX0" fmla="*/ 37723 w 2786074"/>
                  <a:gd name="connsiteY0" fmla="*/ 1059094 h 1272861"/>
                  <a:gd name="connsiteX1" fmla="*/ 380713 w 2786074"/>
                  <a:gd name="connsiteY1" fmla="*/ 287170 h 1272861"/>
                  <a:gd name="connsiteX2" fmla="*/ 913855 w 2786074"/>
                  <a:gd name="connsiteY2" fmla="*/ 48495 h 1272861"/>
                  <a:gd name="connsiteX3" fmla="*/ 1401001 w 2786074"/>
                  <a:gd name="connsiteY3" fmla="*/ 1071636 h 1272861"/>
                  <a:gd name="connsiteX4" fmla="*/ 1899548 w 2786074"/>
                  <a:gd name="connsiteY4" fmla="*/ 36097 h 1272861"/>
                  <a:gd name="connsiteX5" fmla="*/ 2423390 w 2786074"/>
                  <a:gd name="connsiteY5" fmla="*/ 280972 h 1272861"/>
                  <a:gd name="connsiteX6" fmla="*/ 2758079 w 2786074"/>
                  <a:gd name="connsiteY6" fmla="*/ 1068393 h 1272861"/>
                  <a:gd name="connsiteX7" fmla="*/ 1388602 w 2786074"/>
                  <a:gd name="connsiteY7" fmla="*/ 1272827 h 1272861"/>
                  <a:gd name="connsiteX8" fmla="*/ 37723 w 2786074"/>
                  <a:gd name="connsiteY8" fmla="*/ 1059094 h 1272861"/>
                  <a:gd name="connsiteX0" fmla="*/ 37723 w 2786074"/>
                  <a:gd name="connsiteY0" fmla="*/ 1022997 h 1236764"/>
                  <a:gd name="connsiteX1" fmla="*/ 380713 w 2786074"/>
                  <a:gd name="connsiteY1" fmla="*/ 251073 h 1236764"/>
                  <a:gd name="connsiteX2" fmla="*/ 913855 w 2786074"/>
                  <a:gd name="connsiteY2" fmla="*/ 12398 h 1236764"/>
                  <a:gd name="connsiteX3" fmla="*/ 1401001 w 2786074"/>
                  <a:gd name="connsiteY3" fmla="*/ 1035539 h 1236764"/>
                  <a:gd name="connsiteX4" fmla="*/ 1899548 w 2786074"/>
                  <a:gd name="connsiteY4" fmla="*/ 0 h 1236764"/>
                  <a:gd name="connsiteX5" fmla="*/ 2423390 w 2786074"/>
                  <a:gd name="connsiteY5" fmla="*/ 244875 h 1236764"/>
                  <a:gd name="connsiteX6" fmla="*/ 2758079 w 2786074"/>
                  <a:gd name="connsiteY6" fmla="*/ 1032296 h 1236764"/>
                  <a:gd name="connsiteX7" fmla="*/ 1388602 w 2786074"/>
                  <a:gd name="connsiteY7" fmla="*/ 1236730 h 1236764"/>
                  <a:gd name="connsiteX8" fmla="*/ 37723 w 2786074"/>
                  <a:gd name="connsiteY8" fmla="*/ 1022997 h 1236764"/>
                  <a:gd name="connsiteX0" fmla="*/ 37723 w 2786074"/>
                  <a:gd name="connsiteY0" fmla="*/ 1022997 h 1236764"/>
                  <a:gd name="connsiteX1" fmla="*/ 380713 w 2786074"/>
                  <a:gd name="connsiteY1" fmla="*/ 251073 h 1236764"/>
                  <a:gd name="connsiteX2" fmla="*/ 913855 w 2786074"/>
                  <a:gd name="connsiteY2" fmla="*/ 12398 h 1236764"/>
                  <a:gd name="connsiteX3" fmla="*/ 1401001 w 2786074"/>
                  <a:gd name="connsiteY3" fmla="*/ 1035539 h 1236764"/>
                  <a:gd name="connsiteX4" fmla="*/ 1899548 w 2786074"/>
                  <a:gd name="connsiteY4" fmla="*/ 0 h 1236764"/>
                  <a:gd name="connsiteX5" fmla="*/ 2423390 w 2786074"/>
                  <a:gd name="connsiteY5" fmla="*/ 244875 h 1236764"/>
                  <a:gd name="connsiteX6" fmla="*/ 2758079 w 2786074"/>
                  <a:gd name="connsiteY6" fmla="*/ 1032296 h 1236764"/>
                  <a:gd name="connsiteX7" fmla="*/ 1388602 w 2786074"/>
                  <a:gd name="connsiteY7" fmla="*/ 1236730 h 1236764"/>
                  <a:gd name="connsiteX8" fmla="*/ 37723 w 2786074"/>
                  <a:gd name="connsiteY8" fmla="*/ 1022997 h 1236764"/>
                  <a:gd name="connsiteX0" fmla="*/ 37723 w 2786074"/>
                  <a:gd name="connsiteY0" fmla="*/ 1022997 h 1236764"/>
                  <a:gd name="connsiteX1" fmla="*/ 380713 w 2786074"/>
                  <a:gd name="connsiteY1" fmla="*/ 251073 h 1236764"/>
                  <a:gd name="connsiteX2" fmla="*/ 913855 w 2786074"/>
                  <a:gd name="connsiteY2" fmla="*/ 12398 h 1236764"/>
                  <a:gd name="connsiteX3" fmla="*/ 1401001 w 2786074"/>
                  <a:gd name="connsiteY3" fmla="*/ 1035539 h 1236764"/>
                  <a:gd name="connsiteX4" fmla="*/ 1899548 w 2786074"/>
                  <a:gd name="connsiteY4" fmla="*/ 0 h 1236764"/>
                  <a:gd name="connsiteX5" fmla="*/ 2423390 w 2786074"/>
                  <a:gd name="connsiteY5" fmla="*/ 244875 h 1236764"/>
                  <a:gd name="connsiteX6" fmla="*/ 2758079 w 2786074"/>
                  <a:gd name="connsiteY6" fmla="*/ 1032296 h 1236764"/>
                  <a:gd name="connsiteX7" fmla="*/ 1388602 w 2786074"/>
                  <a:gd name="connsiteY7" fmla="*/ 1236730 h 1236764"/>
                  <a:gd name="connsiteX8" fmla="*/ 37723 w 2786074"/>
                  <a:gd name="connsiteY8" fmla="*/ 1022997 h 1236764"/>
                  <a:gd name="connsiteX0" fmla="*/ 37723 w 2786074"/>
                  <a:gd name="connsiteY0" fmla="*/ 1022997 h 1236764"/>
                  <a:gd name="connsiteX1" fmla="*/ 380713 w 2786074"/>
                  <a:gd name="connsiteY1" fmla="*/ 251073 h 1236764"/>
                  <a:gd name="connsiteX2" fmla="*/ 913855 w 2786074"/>
                  <a:gd name="connsiteY2" fmla="*/ 12398 h 1236764"/>
                  <a:gd name="connsiteX3" fmla="*/ 1401001 w 2786074"/>
                  <a:gd name="connsiteY3" fmla="*/ 1035539 h 1236764"/>
                  <a:gd name="connsiteX4" fmla="*/ 1899548 w 2786074"/>
                  <a:gd name="connsiteY4" fmla="*/ 0 h 1236764"/>
                  <a:gd name="connsiteX5" fmla="*/ 2423390 w 2786074"/>
                  <a:gd name="connsiteY5" fmla="*/ 244875 h 1236764"/>
                  <a:gd name="connsiteX6" fmla="*/ 2758079 w 2786074"/>
                  <a:gd name="connsiteY6" fmla="*/ 1032296 h 1236764"/>
                  <a:gd name="connsiteX7" fmla="*/ 1388602 w 2786074"/>
                  <a:gd name="connsiteY7" fmla="*/ 1236730 h 1236764"/>
                  <a:gd name="connsiteX8" fmla="*/ 37723 w 2786074"/>
                  <a:gd name="connsiteY8" fmla="*/ 1022997 h 1236764"/>
                  <a:gd name="connsiteX0" fmla="*/ 37723 w 2786074"/>
                  <a:gd name="connsiteY0" fmla="*/ 1022997 h 1236764"/>
                  <a:gd name="connsiteX1" fmla="*/ 380713 w 2786074"/>
                  <a:gd name="connsiteY1" fmla="*/ 251073 h 1236764"/>
                  <a:gd name="connsiteX2" fmla="*/ 913855 w 2786074"/>
                  <a:gd name="connsiteY2" fmla="*/ 12398 h 1236764"/>
                  <a:gd name="connsiteX3" fmla="*/ 1413400 w 2786074"/>
                  <a:gd name="connsiteY3" fmla="*/ 1060337 h 1236764"/>
                  <a:gd name="connsiteX4" fmla="*/ 1899548 w 2786074"/>
                  <a:gd name="connsiteY4" fmla="*/ 0 h 1236764"/>
                  <a:gd name="connsiteX5" fmla="*/ 2423390 w 2786074"/>
                  <a:gd name="connsiteY5" fmla="*/ 244875 h 1236764"/>
                  <a:gd name="connsiteX6" fmla="*/ 2758079 w 2786074"/>
                  <a:gd name="connsiteY6" fmla="*/ 1032296 h 1236764"/>
                  <a:gd name="connsiteX7" fmla="*/ 1388602 w 2786074"/>
                  <a:gd name="connsiteY7" fmla="*/ 1236730 h 1236764"/>
                  <a:gd name="connsiteX8" fmla="*/ 37723 w 2786074"/>
                  <a:gd name="connsiteY8" fmla="*/ 1022997 h 1236764"/>
                  <a:gd name="connsiteX0" fmla="*/ 37723 w 2790021"/>
                  <a:gd name="connsiteY0" fmla="*/ 1022997 h 1236764"/>
                  <a:gd name="connsiteX1" fmla="*/ 380713 w 2790021"/>
                  <a:gd name="connsiteY1" fmla="*/ 251073 h 1236764"/>
                  <a:gd name="connsiteX2" fmla="*/ 913855 w 2790021"/>
                  <a:gd name="connsiteY2" fmla="*/ 12398 h 1236764"/>
                  <a:gd name="connsiteX3" fmla="*/ 1413400 w 2790021"/>
                  <a:gd name="connsiteY3" fmla="*/ 1060337 h 1236764"/>
                  <a:gd name="connsiteX4" fmla="*/ 1899548 w 2790021"/>
                  <a:gd name="connsiteY4" fmla="*/ 0 h 1236764"/>
                  <a:gd name="connsiteX5" fmla="*/ 2423390 w 2790021"/>
                  <a:gd name="connsiteY5" fmla="*/ 244875 h 1236764"/>
                  <a:gd name="connsiteX6" fmla="*/ 2758079 w 2790021"/>
                  <a:gd name="connsiteY6" fmla="*/ 1032296 h 1236764"/>
                  <a:gd name="connsiteX7" fmla="*/ 1388602 w 2790021"/>
                  <a:gd name="connsiteY7" fmla="*/ 1236730 h 1236764"/>
                  <a:gd name="connsiteX8" fmla="*/ 37723 w 2790021"/>
                  <a:gd name="connsiteY8" fmla="*/ 1022997 h 1236764"/>
                  <a:gd name="connsiteX0" fmla="*/ 37723 w 2790021"/>
                  <a:gd name="connsiteY0" fmla="*/ 1022997 h 1236764"/>
                  <a:gd name="connsiteX1" fmla="*/ 380713 w 2790021"/>
                  <a:gd name="connsiteY1" fmla="*/ 251073 h 1236764"/>
                  <a:gd name="connsiteX2" fmla="*/ 913855 w 2790021"/>
                  <a:gd name="connsiteY2" fmla="*/ 12398 h 1236764"/>
                  <a:gd name="connsiteX3" fmla="*/ 1413400 w 2790021"/>
                  <a:gd name="connsiteY3" fmla="*/ 1060337 h 1236764"/>
                  <a:gd name="connsiteX4" fmla="*/ 1899548 w 2790021"/>
                  <a:gd name="connsiteY4" fmla="*/ 0 h 1236764"/>
                  <a:gd name="connsiteX5" fmla="*/ 2423390 w 2790021"/>
                  <a:gd name="connsiteY5" fmla="*/ 244875 h 1236764"/>
                  <a:gd name="connsiteX6" fmla="*/ 2758079 w 2790021"/>
                  <a:gd name="connsiteY6" fmla="*/ 1032296 h 1236764"/>
                  <a:gd name="connsiteX7" fmla="*/ 1388602 w 2790021"/>
                  <a:gd name="connsiteY7" fmla="*/ 1236730 h 1236764"/>
                  <a:gd name="connsiteX8" fmla="*/ 37723 w 2790021"/>
                  <a:gd name="connsiteY8" fmla="*/ 1022997 h 1236764"/>
                  <a:gd name="connsiteX0" fmla="*/ 37723 w 2790748"/>
                  <a:gd name="connsiteY0" fmla="*/ 1022997 h 1236764"/>
                  <a:gd name="connsiteX1" fmla="*/ 380713 w 2790748"/>
                  <a:gd name="connsiteY1" fmla="*/ 251073 h 1236764"/>
                  <a:gd name="connsiteX2" fmla="*/ 913855 w 2790748"/>
                  <a:gd name="connsiteY2" fmla="*/ 12398 h 1236764"/>
                  <a:gd name="connsiteX3" fmla="*/ 1413400 w 2790748"/>
                  <a:gd name="connsiteY3" fmla="*/ 1060337 h 1236764"/>
                  <a:gd name="connsiteX4" fmla="*/ 1899548 w 2790748"/>
                  <a:gd name="connsiteY4" fmla="*/ 0 h 1236764"/>
                  <a:gd name="connsiteX5" fmla="*/ 2432689 w 2790748"/>
                  <a:gd name="connsiteY5" fmla="*/ 244875 h 1236764"/>
                  <a:gd name="connsiteX6" fmla="*/ 2758079 w 2790748"/>
                  <a:gd name="connsiteY6" fmla="*/ 1032296 h 1236764"/>
                  <a:gd name="connsiteX7" fmla="*/ 1388602 w 2790748"/>
                  <a:gd name="connsiteY7" fmla="*/ 1236730 h 1236764"/>
                  <a:gd name="connsiteX8" fmla="*/ 37723 w 2790748"/>
                  <a:gd name="connsiteY8" fmla="*/ 1022997 h 1236764"/>
                  <a:gd name="connsiteX0" fmla="*/ 37723 w 2796018"/>
                  <a:gd name="connsiteY0" fmla="*/ 1022997 h 1236764"/>
                  <a:gd name="connsiteX1" fmla="*/ 380713 w 2796018"/>
                  <a:gd name="connsiteY1" fmla="*/ 251073 h 1236764"/>
                  <a:gd name="connsiteX2" fmla="*/ 913855 w 2796018"/>
                  <a:gd name="connsiteY2" fmla="*/ 12398 h 1236764"/>
                  <a:gd name="connsiteX3" fmla="*/ 1413400 w 2796018"/>
                  <a:gd name="connsiteY3" fmla="*/ 1060337 h 1236764"/>
                  <a:gd name="connsiteX4" fmla="*/ 1899548 w 2796018"/>
                  <a:gd name="connsiteY4" fmla="*/ 0 h 1236764"/>
                  <a:gd name="connsiteX5" fmla="*/ 2432689 w 2796018"/>
                  <a:gd name="connsiteY5" fmla="*/ 244875 h 1236764"/>
                  <a:gd name="connsiteX6" fmla="*/ 2758079 w 2796018"/>
                  <a:gd name="connsiteY6" fmla="*/ 1032296 h 1236764"/>
                  <a:gd name="connsiteX7" fmla="*/ 1388602 w 2796018"/>
                  <a:gd name="connsiteY7" fmla="*/ 1236730 h 1236764"/>
                  <a:gd name="connsiteX8" fmla="*/ 37723 w 2796018"/>
                  <a:gd name="connsiteY8" fmla="*/ 1022997 h 1236764"/>
                  <a:gd name="connsiteX0" fmla="*/ 37723 w 2796018"/>
                  <a:gd name="connsiteY0" fmla="*/ 1022997 h 1236764"/>
                  <a:gd name="connsiteX1" fmla="*/ 380713 w 2796018"/>
                  <a:gd name="connsiteY1" fmla="*/ 251073 h 1236764"/>
                  <a:gd name="connsiteX2" fmla="*/ 913855 w 2796018"/>
                  <a:gd name="connsiteY2" fmla="*/ 12398 h 1236764"/>
                  <a:gd name="connsiteX3" fmla="*/ 1413400 w 2796018"/>
                  <a:gd name="connsiteY3" fmla="*/ 1060337 h 1236764"/>
                  <a:gd name="connsiteX4" fmla="*/ 1899548 w 2796018"/>
                  <a:gd name="connsiteY4" fmla="*/ 0 h 1236764"/>
                  <a:gd name="connsiteX5" fmla="*/ 2432689 w 2796018"/>
                  <a:gd name="connsiteY5" fmla="*/ 244875 h 1236764"/>
                  <a:gd name="connsiteX6" fmla="*/ 2758079 w 2796018"/>
                  <a:gd name="connsiteY6" fmla="*/ 1032296 h 1236764"/>
                  <a:gd name="connsiteX7" fmla="*/ 1388602 w 2796018"/>
                  <a:gd name="connsiteY7" fmla="*/ 1236730 h 1236764"/>
                  <a:gd name="connsiteX8" fmla="*/ 37723 w 2796018"/>
                  <a:gd name="connsiteY8" fmla="*/ 1022997 h 1236764"/>
                  <a:gd name="connsiteX0" fmla="*/ 37723 w 2796018"/>
                  <a:gd name="connsiteY0" fmla="*/ 1022997 h 1236764"/>
                  <a:gd name="connsiteX1" fmla="*/ 380713 w 2796018"/>
                  <a:gd name="connsiteY1" fmla="*/ 251073 h 1236764"/>
                  <a:gd name="connsiteX2" fmla="*/ 913855 w 2796018"/>
                  <a:gd name="connsiteY2" fmla="*/ 12398 h 1236764"/>
                  <a:gd name="connsiteX3" fmla="*/ 1413400 w 2796018"/>
                  <a:gd name="connsiteY3" fmla="*/ 1060337 h 1236764"/>
                  <a:gd name="connsiteX4" fmla="*/ 1899548 w 2796018"/>
                  <a:gd name="connsiteY4" fmla="*/ 0 h 1236764"/>
                  <a:gd name="connsiteX5" fmla="*/ 2432689 w 2796018"/>
                  <a:gd name="connsiteY5" fmla="*/ 244875 h 1236764"/>
                  <a:gd name="connsiteX6" fmla="*/ 2758079 w 2796018"/>
                  <a:gd name="connsiteY6" fmla="*/ 1032296 h 1236764"/>
                  <a:gd name="connsiteX7" fmla="*/ 1388602 w 2796018"/>
                  <a:gd name="connsiteY7" fmla="*/ 1236730 h 1236764"/>
                  <a:gd name="connsiteX8" fmla="*/ 37723 w 2796018"/>
                  <a:gd name="connsiteY8" fmla="*/ 1022997 h 1236764"/>
                  <a:gd name="connsiteX0" fmla="*/ 37723 w 2796018"/>
                  <a:gd name="connsiteY0" fmla="*/ 1022997 h 1236764"/>
                  <a:gd name="connsiteX1" fmla="*/ 380713 w 2796018"/>
                  <a:gd name="connsiteY1" fmla="*/ 251073 h 1236764"/>
                  <a:gd name="connsiteX2" fmla="*/ 913855 w 2796018"/>
                  <a:gd name="connsiteY2" fmla="*/ 12398 h 1236764"/>
                  <a:gd name="connsiteX3" fmla="*/ 1406576 w 2796018"/>
                  <a:gd name="connsiteY3" fmla="*/ 1076715 h 1236764"/>
                  <a:gd name="connsiteX4" fmla="*/ 1899548 w 2796018"/>
                  <a:gd name="connsiteY4" fmla="*/ 0 h 1236764"/>
                  <a:gd name="connsiteX5" fmla="*/ 2432689 w 2796018"/>
                  <a:gd name="connsiteY5" fmla="*/ 244875 h 1236764"/>
                  <a:gd name="connsiteX6" fmla="*/ 2758079 w 2796018"/>
                  <a:gd name="connsiteY6" fmla="*/ 1032296 h 1236764"/>
                  <a:gd name="connsiteX7" fmla="*/ 1388602 w 2796018"/>
                  <a:gd name="connsiteY7" fmla="*/ 1236730 h 1236764"/>
                  <a:gd name="connsiteX8" fmla="*/ 37723 w 2796018"/>
                  <a:gd name="connsiteY8" fmla="*/ 1022997 h 1236764"/>
                  <a:gd name="connsiteX0" fmla="*/ 37723 w 2796018"/>
                  <a:gd name="connsiteY0" fmla="*/ 1022997 h 1242681"/>
                  <a:gd name="connsiteX1" fmla="*/ 380713 w 2796018"/>
                  <a:gd name="connsiteY1" fmla="*/ 251073 h 1242681"/>
                  <a:gd name="connsiteX2" fmla="*/ 913855 w 2796018"/>
                  <a:gd name="connsiteY2" fmla="*/ 12398 h 1242681"/>
                  <a:gd name="connsiteX3" fmla="*/ 1406576 w 2796018"/>
                  <a:gd name="connsiteY3" fmla="*/ 1076715 h 1242681"/>
                  <a:gd name="connsiteX4" fmla="*/ 1899548 w 2796018"/>
                  <a:gd name="connsiteY4" fmla="*/ 0 h 1242681"/>
                  <a:gd name="connsiteX5" fmla="*/ 2432689 w 2796018"/>
                  <a:gd name="connsiteY5" fmla="*/ 244875 h 1242681"/>
                  <a:gd name="connsiteX6" fmla="*/ 2758079 w 2796018"/>
                  <a:gd name="connsiteY6" fmla="*/ 1032296 h 1242681"/>
                  <a:gd name="connsiteX7" fmla="*/ 1388602 w 2796018"/>
                  <a:gd name="connsiteY7" fmla="*/ 1236730 h 1242681"/>
                  <a:gd name="connsiteX8" fmla="*/ 37723 w 2796018"/>
                  <a:gd name="connsiteY8" fmla="*/ 1022997 h 1242681"/>
                  <a:gd name="connsiteX0" fmla="*/ 37723 w 2796018"/>
                  <a:gd name="connsiteY0" fmla="*/ 1022997 h 1236730"/>
                  <a:gd name="connsiteX1" fmla="*/ 380713 w 2796018"/>
                  <a:gd name="connsiteY1" fmla="*/ 251073 h 1236730"/>
                  <a:gd name="connsiteX2" fmla="*/ 913855 w 2796018"/>
                  <a:gd name="connsiteY2" fmla="*/ 12398 h 1236730"/>
                  <a:gd name="connsiteX3" fmla="*/ 1406576 w 2796018"/>
                  <a:gd name="connsiteY3" fmla="*/ 1076715 h 1236730"/>
                  <a:gd name="connsiteX4" fmla="*/ 1899548 w 2796018"/>
                  <a:gd name="connsiteY4" fmla="*/ 0 h 1236730"/>
                  <a:gd name="connsiteX5" fmla="*/ 2432689 w 2796018"/>
                  <a:gd name="connsiteY5" fmla="*/ 244875 h 1236730"/>
                  <a:gd name="connsiteX6" fmla="*/ 2758079 w 2796018"/>
                  <a:gd name="connsiteY6" fmla="*/ 1032296 h 1236730"/>
                  <a:gd name="connsiteX7" fmla="*/ 1388602 w 2796018"/>
                  <a:gd name="connsiteY7" fmla="*/ 1236730 h 1236730"/>
                  <a:gd name="connsiteX8" fmla="*/ 37723 w 2796018"/>
                  <a:gd name="connsiteY8" fmla="*/ 1022997 h 1236730"/>
                  <a:gd name="connsiteX0" fmla="*/ 37723 w 2796018"/>
                  <a:gd name="connsiteY0" fmla="*/ 1022997 h 1237125"/>
                  <a:gd name="connsiteX1" fmla="*/ 380713 w 2796018"/>
                  <a:gd name="connsiteY1" fmla="*/ 251073 h 1237125"/>
                  <a:gd name="connsiteX2" fmla="*/ 913855 w 2796018"/>
                  <a:gd name="connsiteY2" fmla="*/ 12398 h 1237125"/>
                  <a:gd name="connsiteX3" fmla="*/ 1406576 w 2796018"/>
                  <a:gd name="connsiteY3" fmla="*/ 1076715 h 1237125"/>
                  <a:gd name="connsiteX4" fmla="*/ 1899548 w 2796018"/>
                  <a:gd name="connsiteY4" fmla="*/ 0 h 1237125"/>
                  <a:gd name="connsiteX5" fmla="*/ 2432689 w 2796018"/>
                  <a:gd name="connsiteY5" fmla="*/ 244875 h 1237125"/>
                  <a:gd name="connsiteX6" fmla="*/ 2758079 w 2796018"/>
                  <a:gd name="connsiteY6" fmla="*/ 1032296 h 1237125"/>
                  <a:gd name="connsiteX7" fmla="*/ 1388602 w 2796018"/>
                  <a:gd name="connsiteY7" fmla="*/ 1236730 h 1237125"/>
                  <a:gd name="connsiteX8" fmla="*/ 37723 w 2796018"/>
                  <a:gd name="connsiteY8" fmla="*/ 1022997 h 1237125"/>
                  <a:gd name="connsiteX0" fmla="*/ 36243 w 2809965"/>
                  <a:gd name="connsiteY0" fmla="*/ 1031412 h 1236730"/>
                  <a:gd name="connsiteX1" fmla="*/ 394660 w 2809965"/>
                  <a:gd name="connsiteY1" fmla="*/ 251073 h 1236730"/>
                  <a:gd name="connsiteX2" fmla="*/ 927802 w 2809965"/>
                  <a:gd name="connsiteY2" fmla="*/ 12398 h 1236730"/>
                  <a:gd name="connsiteX3" fmla="*/ 1420523 w 2809965"/>
                  <a:gd name="connsiteY3" fmla="*/ 1076715 h 1236730"/>
                  <a:gd name="connsiteX4" fmla="*/ 1913495 w 2809965"/>
                  <a:gd name="connsiteY4" fmla="*/ 0 h 1236730"/>
                  <a:gd name="connsiteX5" fmla="*/ 2446636 w 2809965"/>
                  <a:gd name="connsiteY5" fmla="*/ 244875 h 1236730"/>
                  <a:gd name="connsiteX6" fmla="*/ 2772026 w 2809965"/>
                  <a:gd name="connsiteY6" fmla="*/ 1032296 h 1236730"/>
                  <a:gd name="connsiteX7" fmla="*/ 1402549 w 2809965"/>
                  <a:gd name="connsiteY7" fmla="*/ 1236730 h 1236730"/>
                  <a:gd name="connsiteX8" fmla="*/ 36243 w 2809965"/>
                  <a:gd name="connsiteY8" fmla="*/ 1031412 h 1236730"/>
                  <a:gd name="connsiteX0" fmla="*/ 36802 w 2804567"/>
                  <a:gd name="connsiteY0" fmla="*/ 1031412 h 1236730"/>
                  <a:gd name="connsiteX1" fmla="*/ 389262 w 2804567"/>
                  <a:gd name="connsiteY1" fmla="*/ 251073 h 1236730"/>
                  <a:gd name="connsiteX2" fmla="*/ 922404 w 2804567"/>
                  <a:gd name="connsiteY2" fmla="*/ 12398 h 1236730"/>
                  <a:gd name="connsiteX3" fmla="*/ 1415125 w 2804567"/>
                  <a:gd name="connsiteY3" fmla="*/ 1076715 h 1236730"/>
                  <a:gd name="connsiteX4" fmla="*/ 1908097 w 2804567"/>
                  <a:gd name="connsiteY4" fmla="*/ 0 h 1236730"/>
                  <a:gd name="connsiteX5" fmla="*/ 2441238 w 2804567"/>
                  <a:gd name="connsiteY5" fmla="*/ 244875 h 1236730"/>
                  <a:gd name="connsiteX6" fmla="*/ 2766628 w 2804567"/>
                  <a:gd name="connsiteY6" fmla="*/ 1032296 h 1236730"/>
                  <a:gd name="connsiteX7" fmla="*/ 1397151 w 2804567"/>
                  <a:gd name="connsiteY7" fmla="*/ 1236730 h 1236730"/>
                  <a:gd name="connsiteX8" fmla="*/ 36802 w 2804567"/>
                  <a:gd name="connsiteY8" fmla="*/ 1031412 h 1236730"/>
                  <a:gd name="connsiteX0" fmla="*/ 24375 w 2792140"/>
                  <a:gd name="connsiteY0" fmla="*/ 1031412 h 1236766"/>
                  <a:gd name="connsiteX1" fmla="*/ 376835 w 2792140"/>
                  <a:gd name="connsiteY1" fmla="*/ 251073 h 1236766"/>
                  <a:gd name="connsiteX2" fmla="*/ 909977 w 2792140"/>
                  <a:gd name="connsiteY2" fmla="*/ 12398 h 1236766"/>
                  <a:gd name="connsiteX3" fmla="*/ 1402698 w 2792140"/>
                  <a:gd name="connsiteY3" fmla="*/ 1076715 h 1236766"/>
                  <a:gd name="connsiteX4" fmla="*/ 1895670 w 2792140"/>
                  <a:gd name="connsiteY4" fmla="*/ 0 h 1236766"/>
                  <a:gd name="connsiteX5" fmla="*/ 2428811 w 2792140"/>
                  <a:gd name="connsiteY5" fmla="*/ 244875 h 1236766"/>
                  <a:gd name="connsiteX6" fmla="*/ 2754201 w 2792140"/>
                  <a:gd name="connsiteY6" fmla="*/ 1032296 h 1236766"/>
                  <a:gd name="connsiteX7" fmla="*/ 1384724 w 2792140"/>
                  <a:gd name="connsiteY7" fmla="*/ 1236730 h 1236766"/>
                  <a:gd name="connsiteX8" fmla="*/ 24375 w 2792140"/>
                  <a:gd name="connsiteY8" fmla="*/ 1031412 h 1236766"/>
                  <a:gd name="connsiteX0" fmla="*/ 24375 w 2792140"/>
                  <a:gd name="connsiteY0" fmla="*/ 1031412 h 1236730"/>
                  <a:gd name="connsiteX1" fmla="*/ 376835 w 2792140"/>
                  <a:gd name="connsiteY1" fmla="*/ 251073 h 1236730"/>
                  <a:gd name="connsiteX2" fmla="*/ 909977 w 2792140"/>
                  <a:gd name="connsiteY2" fmla="*/ 12398 h 1236730"/>
                  <a:gd name="connsiteX3" fmla="*/ 1402698 w 2792140"/>
                  <a:gd name="connsiteY3" fmla="*/ 1076715 h 1236730"/>
                  <a:gd name="connsiteX4" fmla="*/ 1895670 w 2792140"/>
                  <a:gd name="connsiteY4" fmla="*/ 0 h 1236730"/>
                  <a:gd name="connsiteX5" fmla="*/ 2428811 w 2792140"/>
                  <a:gd name="connsiteY5" fmla="*/ 244875 h 1236730"/>
                  <a:gd name="connsiteX6" fmla="*/ 2754201 w 2792140"/>
                  <a:gd name="connsiteY6" fmla="*/ 1032296 h 1236730"/>
                  <a:gd name="connsiteX7" fmla="*/ 1384724 w 2792140"/>
                  <a:gd name="connsiteY7" fmla="*/ 1236730 h 1236730"/>
                  <a:gd name="connsiteX8" fmla="*/ 24375 w 2792140"/>
                  <a:gd name="connsiteY8" fmla="*/ 1031412 h 1236730"/>
                  <a:gd name="connsiteX0" fmla="*/ 24375 w 2792140"/>
                  <a:gd name="connsiteY0" fmla="*/ 1031412 h 1236730"/>
                  <a:gd name="connsiteX1" fmla="*/ 376835 w 2792140"/>
                  <a:gd name="connsiteY1" fmla="*/ 251073 h 1236730"/>
                  <a:gd name="connsiteX2" fmla="*/ 909977 w 2792140"/>
                  <a:gd name="connsiteY2" fmla="*/ 12398 h 1236730"/>
                  <a:gd name="connsiteX3" fmla="*/ 1402698 w 2792140"/>
                  <a:gd name="connsiteY3" fmla="*/ 1076715 h 1236730"/>
                  <a:gd name="connsiteX4" fmla="*/ 1895670 w 2792140"/>
                  <a:gd name="connsiteY4" fmla="*/ 0 h 1236730"/>
                  <a:gd name="connsiteX5" fmla="*/ 2428811 w 2792140"/>
                  <a:gd name="connsiteY5" fmla="*/ 244875 h 1236730"/>
                  <a:gd name="connsiteX6" fmla="*/ 2754201 w 2792140"/>
                  <a:gd name="connsiteY6" fmla="*/ 1032296 h 1236730"/>
                  <a:gd name="connsiteX7" fmla="*/ 1384724 w 2792140"/>
                  <a:gd name="connsiteY7" fmla="*/ 1236730 h 1236730"/>
                  <a:gd name="connsiteX8" fmla="*/ 24375 w 2792140"/>
                  <a:gd name="connsiteY8" fmla="*/ 1031412 h 1236730"/>
                  <a:gd name="connsiteX0" fmla="*/ 24375 w 2792140"/>
                  <a:gd name="connsiteY0" fmla="*/ 1031412 h 1236730"/>
                  <a:gd name="connsiteX1" fmla="*/ 376835 w 2792140"/>
                  <a:gd name="connsiteY1" fmla="*/ 251073 h 1236730"/>
                  <a:gd name="connsiteX2" fmla="*/ 909977 w 2792140"/>
                  <a:gd name="connsiteY2" fmla="*/ 12398 h 1236730"/>
                  <a:gd name="connsiteX3" fmla="*/ 1402698 w 2792140"/>
                  <a:gd name="connsiteY3" fmla="*/ 1076715 h 1236730"/>
                  <a:gd name="connsiteX4" fmla="*/ 1895670 w 2792140"/>
                  <a:gd name="connsiteY4" fmla="*/ 0 h 1236730"/>
                  <a:gd name="connsiteX5" fmla="*/ 2428811 w 2792140"/>
                  <a:gd name="connsiteY5" fmla="*/ 244875 h 1236730"/>
                  <a:gd name="connsiteX6" fmla="*/ 2754201 w 2792140"/>
                  <a:gd name="connsiteY6" fmla="*/ 1032296 h 1236730"/>
                  <a:gd name="connsiteX7" fmla="*/ 1384724 w 2792140"/>
                  <a:gd name="connsiteY7" fmla="*/ 1236730 h 1236730"/>
                  <a:gd name="connsiteX8" fmla="*/ 24375 w 2792140"/>
                  <a:gd name="connsiteY8" fmla="*/ 1031412 h 1236730"/>
                  <a:gd name="connsiteX0" fmla="*/ 23490 w 2803406"/>
                  <a:gd name="connsiteY0" fmla="*/ 1037488 h 1236744"/>
                  <a:gd name="connsiteX1" fmla="*/ 388101 w 2803406"/>
                  <a:gd name="connsiteY1" fmla="*/ 251073 h 1236744"/>
                  <a:gd name="connsiteX2" fmla="*/ 921243 w 2803406"/>
                  <a:gd name="connsiteY2" fmla="*/ 12398 h 1236744"/>
                  <a:gd name="connsiteX3" fmla="*/ 1413964 w 2803406"/>
                  <a:gd name="connsiteY3" fmla="*/ 1076715 h 1236744"/>
                  <a:gd name="connsiteX4" fmla="*/ 1906936 w 2803406"/>
                  <a:gd name="connsiteY4" fmla="*/ 0 h 1236744"/>
                  <a:gd name="connsiteX5" fmla="*/ 2440077 w 2803406"/>
                  <a:gd name="connsiteY5" fmla="*/ 244875 h 1236744"/>
                  <a:gd name="connsiteX6" fmla="*/ 2765467 w 2803406"/>
                  <a:gd name="connsiteY6" fmla="*/ 1032296 h 1236744"/>
                  <a:gd name="connsiteX7" fmla="*/ 1395990 w 2803406"/>
                  <a:gd name="connsiteY7" fmla="*/ 1236730 h 1236744"/>
                  <a:gd name="connsiteX8" fmla="*/ 23490 w 2803406"/>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16055 w 2805497"/>
                  <a:gd name="connsiteY3" fmla="*/ 1076715 h 1236744"/>
                  <a:gd name="connsiteX4" fmla="*/ 1909027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16055 w 2805497"/>
                  <a:gd name="connsiteY3" fmla="*/ 1076715 h 1236744"/>
                  <a:gd name="connsiteX4" fmla="*/ 1886449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16055 w 2805497"/>
                  <a:gd name="connsiteY3" fmla="*/ 1076715 h 1236744"/>
                  <a:gd name="connsiteX4" fmla="*/ 1886449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16055 w 2805497"/>
                  <a:gd name="connsiteY3" fmla="*/ 1076715 h 1236744"/>
                  <a:gd name="connsiteX4" fmla="*/ 1886449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16055 w 2805497"/>
                  <a:gd name="connsiteY3" fmla="*/ 1076715 h 1236744"/>
                  <a:gd name="connsiteX4" fmla="*/ 1886449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16055 w 2805497"/>
                  <a:gd name="connsiteY3" fmla="*/ 1076715 h 1236744"/>
                  <a:gd name="connsiteX4" fmla="*/ 1886449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57614 w 2805497"/>
                  <a:gd name="connsiteY3" fmla="*/ 494854 h 1236744"/>
                  <a:gd name="connsiteX4" fmla="*/ 1886449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 name="connsiteX0" fmla="*/ 25581 w 2805497"/>
                  <a:gd name="connsiteY0" fmla="*/ 1037488 h 1236744"/>
                  <a:gd name="connsiteX1" fmla="*/ 390192 w 2805497"/>
                  <a:gd name="connsiteY1" fmla="*/ 251073 h 1236744"/>
                  <a:gd name="connsiteX2" fmla="*/ 923334 w 2805497"/>
                  <a:gd name="connsiteY2" fmla="*/ 12398 h 1236744"/>
                  <a:gd name="connsiteX3" fmla="*/ 1457614 w 2805497"/>
                  <a:gd name="connsiteY3" fmla="*/ 494854 h 1236744"/>
                  <a:gd name="connsiteX4" fmla="*/ 1886449 w 2805497"/>
                  <a:gd name="connsiteY4" fmla="*/ 0 h 1236744"/>
                  <a:gd name="connsiteX5" fmla="*/ 2442168 w 2805497"/>
                  <a:gd name="connsiteY5" fmla="*/ 244875 h 1236744"/>
                  <a:gd name="connsiteX6" fmla="*/ 2767558 w 2805497"/>
                  <a:gd name="connsiteY6" fmla="*/ 1032296 h 1236744"/>
                  <a:gd name="connsiteX7" fmla="*/ 1398081 w 2805497"/>
                  <a:gd name="connsiteY7" fmla="*/ 1236730 h 1236744"/>
                  <a:gd name="connsiteX8" fmla="*/ 25581 w 2805497"/>
                  <a:gd name="connsiteY8" fmla="*/ 1037488 h 123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5497" h="1236744">
                    <a:moveTo>
                      <a:pt x="25581" y="1037488"/>
                    </a:moveTo>
                    <a:cubicBezTo>
                      <a:pt x="-80126" y="786039"/>
                      <a:pt x="161429" y="403966"/>
                      <a:pt x="390192" y="251073"/>
                    </a:cubicBezTo>
                    <a:cubicBezTo>
                      <a:pt x="648835" y="116737"/>
                      <a:pt x="777567" y="102763"/>
                      <a:pt x="923334" y="12398"/>
                    </a:cubicBezTo>
                    <a:cubicBezTo>
                      <a:pt x="1024970" y="405207"/>
                      <a:pt x="982805" y="470379"/>
                      <a:pt x="1457614" y="494854"/>
                    </a:cubicBezTo>
                    <a:cubicBezTo>
                      <a:pt x="1932423" y="519329"/>
                      <a:pt x="1828663" y="320698"/>
                      <a:pt x="1886449" y="0"/>
                    </a:cubicBezTo>
                    <a:cubicBezTo>
                      <a:pt x="2010352" y="85200"/>
                      <a:pt x="2287197" y="137403"/>
                      <a:pt x="2442168" y="244875"/>
                    </a:cubicBezTo>
                    <a:cubicBezTo>
                      <a:pt x="2665331" y="374046"/>
                      <a:pt x="2898694" y="876286"/>
                      <a:pt x="2767558" y="1032296"/>
                    </a:cubicBezTo>
                    <a:cubicBezTo>
                      <a:pt x="2636422" y="1188306"/>
                      <a:pt x="1855077" y="1235865"/>
                      <a:pt x="1398081" y="1236730"/>
                    </a:cubicBezTo>
                    <a:cubicBezTo>
                      <a:pt x="941085" y="1237595"/>
                      <a:pt x="386468" y="1200839"/>
                      <a:pt x="25581" y="1037488"/>
                    </a:cubicBezTo>
                    <a:close/>
                  </a:path>
                </a:pathLst>
              </a:custGeom>
              <a:solidFill>
                <a:srgbClr val="243A5E">
                  <a:lumMod val="60000"/>
                  <a:lumOff val="40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2" name="Oval 131">
                <a:extLst>
                  <a:ext uri="{FF2B5EF4-FFF2-40B4-BE49-F238E27FC236}">
                    <a16:creationId xmlns:a16="http://schemas.microsoft.com/office/drawing/2014/main" id="{CDFB864E-5F63-42C0-85B8-BE19486A5C7D}"/>
                  </a:ext>
                </a:extLst>
              </p:cNvPr>
              <p:cNvSpPr/>
              <p:nvPr/>
            </p:nvSpPr>
            <p:spPr>
              <a:xfrm>
                <a:off x="213255" y="1835886"/>
                <a:ext cx="115498" cy="117565"/>
              </a:xfrm>
              <a:prstGeom prst="ellipse">
                <a:avLst/>
              </a:prstGeom>
              <a:grp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03" name="Group 102">
              <a:extLst>
                <a:ext uri="{FF2B5EF4-FFF2-40B4-BE49-F238E27FC236}">
                  <a16:creationId xmlns:a16="http://schemas.microsoft.com/office/drawing/2014/main" id="{50DA9BFC-59EC-44E9-8BB6-0787AC2F852D}"/>
                </a:ext>
              </a:extLst>
            </p:cNvPr>
            <p:cNvGrpSpPr/>
            <p:nvPr/>
          </p:nvGrpSpPr>
          <p:grpSpPr>
            <a:xfrm>
              <a:off x="4019391" y="1325161"/>
              <a:ext cx="301817" cy="346085"/>
              <a:chOff x="4276867" y="1469488"/>
              <a:chExt cx="301817" cy="346085"/>
            </a:xfrm>
          </p:grpSpPr>
          <p:grpSp>
            <p:nvGrpSpPr>
              <p:cNvPr id="104" name="Group 103">
                <a:extLst>
                  <a:ext uri="{FF2B5EF4-FFF2-40B4-BE49-F238E27FC236}">
                    <a16:creationId xmlns:a16="http://schemas.microsoft.com/office/drawing/2014/main" id="{190E6B7D-7821-4E7A-8DB5-5085FDD7CE99}"/>
                  </a:ext>
                </a:extLst>
              </p:cNvPr>
              <p:cNvGrpSpPr/>
              <p:nvPr/>
            </p:nvGrpSpPr>
            <p:grpSpPr>
              <a:xfrm>
                <a:off x="4327780" y="1507402"/>
                <a:ext cx="233098" cy="308171"/>
                <a:chOff x="4316706" y="1433073"/>
                <a:chExt cx="274722" cy="363201"/>
              </a:xfrm>
            </p:grpSpPr>
            <p:sp>
              <p:nvSpPr>
                <p:cNvPr id="106" name="Freeform: Shape 105">
                  <a:extLst>
                    <a:ext uri="{FF2B5EF4-FFF2-40B4-BE49-F238E27FC236}">
                      <a16:creationId xmlns:a16="http://schemas.microsoft.com/office/drawing/2014/main" id="{525A81E8-8214-48EF-B646-41451DB35D7A}"/>
                    </a:ext>
                  </a:extLst>
                </p:cNvPr>
                <p:cNvSpPr/>
                <p:nvPr/>
              </p:nvSpPr>
              <p:spPr>
                <a:xfrm>
                  <a:off x="4316706" y="1433073"/>
                  <a:ext cx="274722" cy="363201"/>
                </a:xfrm>
                <a:custGeom>
                  <a:avLst/>
                  <a:gdLst>
                    <a:gd name="connsiteX0" fmla="*/ 603050 w 1460635"/>
                    <a:gd name="connsiteY0" fmla="*/ 0 h 1931059"/>
                    <a:gd name="connsiteX1" fmla="*/ 855015 w 1460635"/>
                    <a:gd name="connsiteY1" fmla="*/ 0 h 1931059"/>
                    <a:gd name="connsiteX2" fmla="*/ 1378827 w 1460635"/>
                    <a:gd name="connsiteY2" fmla="*/ 523812 h 1931059"/>
                    <a:gd name="connsiteX3" fmla="*/ 1378827 w 1460635"/>
                    <a:gd name="connsiteY3" fmla="*/ 863539 h 1931059"/>
                    <a:gd name="connsiteX4" fmla="*/ 1397780 w 1460635"/>
                    <a:gd name="connsiteY4" fmla="*/ 861872 h 1931059"/>
                    <a:gd name="connsiteX5" fmla="*/ 1259675 w 1460635"/>
                    <a:gd name="connsiteY5" fmla="*/ 1421036 h 1931059"/>
                    <a:gd name="connsiteX6" fmla="*/ 728741 w 1460635"/>
                    <a:gd name="connsiteY6" fmla="*/ 1931059 h 1931059"/>
                    <a:gd name="connsiteX7" fmla="*/ 183733 w 1460635"/>
                    <a:gd name="connsiteY7" fmla="*/ 1428441 h 1931059"/>
                    <a:gd name="connsiteX8" fmla="*/ 67243 w 1460635"/>
                    <a:gd name="connsiteY8" fmla="*/ 857644 h 1931059"/>
                    <a:gd name="connsiteX9" fmla="*/ 79238 w 1460635"/>
                    <a:gd name="connsiteY9" fmla="*/ 857733 h 1931059"/>
                    <a:gd name="connsiteX10" fmla="*/ 79238 w 1460635"/>
                    <a:gd name="connsiteY10" fmla="*/ 523812 h 1931059"/>
                    <a:gd name="connsiteX11" fmla="*/ 603050 w 1460635"/>
                    <a:gd name="connsiteY11" fmla="*/ 0 h 193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0635" h="1931059">
                      <a:moveTo>
                        <a:pt x="603050" y="0"/>
                      </a:moveTo>
                      <a:lnTo>
                        <a:pt x="855015" y="0"/>
                      </a:lnTo>
                      <a:cubicBezTo>
                        <a:pt x="1144308" y="0"/>
                        <a:pt x="1378827" y="234519"/>
                        <a:pt x="1378827" y="523812"/>
                      </a:cubicBezTo>
                      <a:lnTo>
                        <a:pt x="1378827" y="863539"/>
                      </a:lnTo>
                      <a:lnTo>
                        <a:pt x="1397780" y="861872"/>
                      </a:lnTo>
                      <a:cubicBezTo>
                        <a:pt x="1546782" y="944307"/>
                        <a:pt x="1402403" y="1318211"/>
                        <a:pt x="1259675" y="1421036"/>
                      </a:cubicBezTo>
                      <a:cubicBezTo>
                        <a:pt x="1259675" y="1655147"/>
                        <a:pt x="962852" y="1931059"/>
                        <a:pt x="728741" y="1931059"/>
                      </a:cubicBezTo>
                      <a:cubicBezTo>
                        <a:pt x="494630" y="1931059"/>
                        <a:pt x="271566" y="1675099"/>
                        <a:pt x="183733" y="1428441"/>
                      </a:cubicBezTo>
                      <a:cubicBezTo>
                        <a:pt x="61776" y="1286797"/>
                        <a:pt x="-89982" y="928708"/>
                        <a:pt x="67243" y="857644"/>
                      </a:cubicBezTo>
                      <a:lnTo>
                        <a:pt x="79238" y="857733"/>
                      </a:lnTo>
                      <a:lnTo>
                        <a:pt x="79238" y="523812"/>
                      </a:lnTo>
                      <a:cubicBezTo>
                        <a:pt x="79238" y="234519"/>
                        <a:pt x="313757" y="0"/>
                        <a:pt x="603050" y="0"/>
                      </a:cubicBezTo>
                      <a:close/>
                    </a:path>
                  </a:pathLst>
                </a:custGeom>
                <a:solidFill>
                  <a:srgbClr val="243A5E">
                    <a:lumMod val="60000"/>
                    <a:lumOff val="40000"/>
                  </a:srgbClr>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a:ea typeface="+mn-ea"/>
                    <a:cs typeface="+mn-cs"/>
                  </a:endParaRPr>
                </a:p>
              </p:txBody>
            </p:sp>
            <p:grpSp>
              <p:nvGrpSpPr>
                <p:cNvPr id="107" name="Group 106">
                  <a:extLst>
                    <a:ext uri="{FF2B5EF4-FFF2-40B4-BE49-F238E27FC236}">
                      <a16:creationId xmlns:a16="http://schemas.microsoft.com/office/drawing/2014/main" id="{2DC9B2AB-479E-4B83-9CF4-261B216CA51B}"/>
                    </a:ext>
                  </a:extLst>
                </p:cNvPr>
                <p:cNvGrpSpPr/>
                <p:nvPr/>
              </p:nvGrpSpPr>
              <p:grpSpPr>
                <a:xfrm>
                  <a:off x="4353438" y="1575436"/>
                  <a:ext cx="200600" cy="81125"/>
                  <a:chOff x="4468482" y="2997679"/>
                  <a:chExt cx="1066539" cy="431321"/>
                </a:xfrm>
              </p:grpSpPr>
              <p:grpSp>
                <p:nvGrpSpPr>
                  <p:cNvPr id="108" name="Group 107">
                    <a:extLst>
                      <a:ext uri="{FF2B5EF4-FFF2-40B4-BE49-F238E27FC236}">
                        <a16:creationId xmlns:a16="http://schemas.microsoft.com/office/drawing/2014/main" id="{B8336C8D-919C-4498-80A1-812485C5237B}"/>
                      </a:ext>
                    </a:extLst>
                  </p:cNvPr>
                  <p:cNvGrpSpPr/>
                  <p:nvPr/>
                </p:nvGrpSpPr>
                <p:grpSpPr>
                  <a:xfrm>
                    <a:off x="4468482" y="2997679"/>
                    <a:ext cx="431321" cy="431321"/>
                    <a:chOff x="4468482" y="2997679"/>
                    <a:chExt cx="431321" cy="431321"/>
                  </a:xfrm>
                </p:grpSpPr>
                <p:sp>
                  <p:nvSpPr>
                    <p:cNvPr id="129" name="Oval 128">
                      <a:extLst>
                        <a:ext uri="{FF2B5EF4-FFF2-40B4-BE49-F238E27FC236}">
                          <a16:creationId xmlns:a16="http://schemas.microsoft.com/office/drawing/2014/main" id="{6034D06A-1B1D-4B42-9465-F97E63E71170}"/>
                        </a:ext>
                      </a:extLst>
                    </p:cNvPr>
                    <p:cNvSpPr/>
                    <p:nvPr/>
                  </p:nvSpPr>
                  <p:spPr>
                    <a:xfrm>
                      <a:off x="4483382" y="3012579"/>
                      <a:ext cx="401520" cy="401520"/>
                    </a:xfrm>
                    <a:prstGeom prst="ellipse">
                      <a:avLst/>
                    </a:prstGeom>
                    <a:solidFill>
                      <a:srgbClr val="000000"/>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Calibri"/>
                        <a:ea typeface="+mn-ea"/>
                        <a:cs typeface="+mn-cs"/>
                      </a:endParaRPr>
                    </a:p>
                  </p:txBody>
                </p:sp>
                <p:sp>
                  <p:nvSpPr>
                    <p:cNvPr id="130" name="Circle: Hollow 129">
                      <a:extLst>
                        <a:ext uri="{FF2B5EF4-FFF2-40B4-BE49-F238E27FC236}">
                          <a16:creationId xmlns:a16="http://schemas.microsoft.com/office/drawing/2014/main" id="{02454B51-6038-413E-AC54-7CBE2BFC0DA2}"/>
                        </a:ext>
                      </a:extLst>
                    </p:cNvPr>
                    <p:cNvSpPr/>
                    <p:nvPr/>
                  </p:nvSpPr>
                  <p:spPr>
                    <a:xfrm>
                      <a:off x="4468482" y="2997679"/>
                      <a:ext cx="431321" cy="431321"/>
                    </a:xfrm>
                    <a:prstGeom prst="donut">
                      <a:avLst>
                        <a:gd name="adj" fmla="val 11552"/>
                      </a:avLst>
                    </a:prstGeom>
                    <a:solidFill>
                      <a:srgbClr val="000000"/>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Calibri"/>
                        <a:ea typeface="+mn-ea"/>
                        <a:cs typeface="+mn-cs"/>
                      </a:endParaRPr>
                    </a:p>
                  </p:txBody>
                </p:sp>
              </p:grpSp>
              <p:grpSp>
                <p:nvGrpSpPr>
                  <p:cNvPr id="109" name="Group 108">
                    <a:extLst>
                      <a:ext uri="{FF2B5EF4-FFF2-40B4-BE49-F238E27FC236}">
                        <a16:creationId xmlns:a16="http://schemas.microsoft.com/office/drawing/2014/main" id="{D4CEC3BA-24DA-461F-A105-CBF825F171FE}"/>
                      </a:ext>
                    </a:extLst>
                  </p:cNvPr>
                  <p:cNvGrpSpPr/>
                  <p:nvPr/>
                </p:nvGrpSpPr>
                <p:grpSpPr>
                  <a:xfrm>
                    <a:off x="5103700" y="2997679"/>
                    <a:ext cx="431321" cy="431321"/>
                    <a:chOff x="4468482" y="2997679"/>
                    <a:chExt cx="431321" cy="431321"/>
                  </a:xfrm>
                </p:grpSpPr>
                <p:sp>
                  <p:nvSpPr>
                    <p:cNvPr id="125" name="Oval 124">
                      <a:extLst>
                        <a:ext uri="{FF2B5EF4-FFF2-40B4-BE49-F238E27FC236}">
                          <a16:creationId xmlns:a16="http://schemas.microsoft.com/office/drawing/2014/main" id="{30445041-9029-40B3-BDAD-5C080AA2E85B}"/>
                        </a:ext>
                      </a:extLst>
                    </p:cNvPr>
                    <p:cNvSpPr/>
                    <p:nvPr/>
                  </p:nvSpPr>
                  <p:spPr>
                    <a:xfrm>
                      <a:off x="4483382" y="3012579"/>
                      <a:ext cx="401520" cy="401520"/>
                    </a:xfrm>
                    <a:prstGeom prst="ellipse">
                      <a:avLst/>
                    </a:prstGeom>
                    <a:solidFill>
                      <a:srgbClr val="000000"/>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Calibri"/>
                        <a:ea typeface="+mn-ea"/>
                        <a:cs typeface="+mn-cs"/>
                      </a:endParaRPr>
                    </a:p>
                  </p:txBody>
                </p:sp>
                <p:sp>
                  <p:nvSpPr>
                    <p:cNvPr id="126" name="Circle: Hollow 125">
                      <a:extLst>
                        <a:ext uri="{FF2B5EF4-FFF2-40B4-BE49-F238E27FC236}">
                          <a16:creationId xmlns:a16="http://schemas.microsoft.com/office/drawing/2014/main" id="{1C855BC9-D54D-4108-9DA7-30B461067C23}"/>
                        </a:ext>
                      </a:extLst>
                    </p:cNvPr>
                    <p:cNvSpPr/>
                    <p:nvPr/>
                  </p:nvSpPr>
                  <p:spPr>
                    <a:xfrm>
                      <a:off x="4468482" y="2997679"/>
                      <a:ext cx="431321" cy="431321"/>
                    </a:xfrm>
                    <a:prstGeom prst="donut">
                      <a:avLst>
                        <a:gd name="adj" fmla="val 11552"/>
                      </a:avLst>
                    </a:prstGeom>
                    <a:solidFill>
                      <a:srgbClr val="000000"/>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Calibri"/>
                        <a:ea typeface="+mn-ea"/>
                        <a:cs typeface="+mn-cs"/>
                      </a:endParaRPr>
                    </a:p>
                  </p:txBody>
                </p:sp>
              </p:grpSp>
              <p:sp>
                <p:nvSpPr>
                  <p:cNvPr id="110" name="Rectangle 109">
                    <a:extLst>
                      <a:ext uri="{FF2B5EF4-FFF2-40B4-BE49-F238E27FC236}">
                        <a16:creationId xmlns:a16="http://schemas.microsoft.com/office/drawing/2014/main" id="{96EFC340-7E45-4F26-B95D-FFD9F572584E}"/>
                      </a:ext>
                    </a:extLst>
                  </p:cNvPr>
                  <p:cNvSpPr/>
                  <p:nvPr/>
                </p:nvSpPr>
                <p:spPr>
                  <a:xfrm>
                    <a:off x="4854319" y="3096099"/>
                    <a:ext cx="280751" cy="64306"/>
                  </a:xfrm>
                  <a:prstGeom prst="rect">
                    <a:avLst/>
                  </a:prstGeom>
                  <a:solidFill>
                    <a:srgbClr val="000000"/>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a:ea typeface="+mn-ea"/>
                      <a:cs typeface="+mn-cs"/>
                    </a:endParaRPr>
                  </a:p>
                </p:txBody>
              </p:sp>
            </p:grpSp>
          </p:grpSp>
          <p:sp>
            <p:nvSpPr>
              <p:cNvPr id="105" name="Freeform: Shape 104">
                <a:extLst>
                  <a:ext uri="{FF2B5EF4-FFF2-40B4-BE49-F238E27FC236}">
                    <a16:creationId xmlns:a16="http://schemas.microsoft.com/office/drawing/2014/main" id="{D4296620-E316-4D5B-906A-64644900EB23}"/>
                  </a:ext>
                </a:extLst>
              </p:cNvPr>
              <p:cNvSpPr/>
              <p:nvPr/>
            </p:nvSpPr>
            <p:spPr>
              <a:xfrm flipH="1">
                <a:off x="4276867" y="1469488"/>
                <a:ext cx="301817" cy="195094"/>
              </a:xfrm>
              <a:custGeom>
                <a:avLst/>
                <a:gdLst>
                  <a:gd name="connsiteX0" fmla="*/ 569027 w 676275"/>
                  <a:gd name="connsiteY0" fmla="*/ 288800 h 419100"/>
                  <a:gd name="connsiteX1" fmla="*/ 675707 w 676275"/>
                  <a:gd name="connsiteY1" fmla="*/ 157355 h 419100"/>
                  <a:gd name="connsiteX2" fmla="*/ 541405 w 676275"/>
                  <a:gd name="connsiteY2" fmla="*/ 23053 h 419100"/>
                  <a:gd name="connsiteX3" fmla="*/ 448060 w 676275"/>
                  <a:gd name="connsiteY3" fmla="*/ 60200 h 419100"/>
                  <a:gd name="connsiteX4" fmla="*/ 335665 w 676275"/>
                  <a:gd name="connsiteY4" fmla="*/ 16385 h 419100"/>
                  <a:gd name="connsiteX5" fmla="*/ 12767 w 676275"/>
                  <a:gd name="connsiteY5" fmla="*/ 270703 h 419100"/>
                  <a:gd name="connsiteX6" fmla="*/ 191837 w 676275"/>
                  <a:gd name="connsiteY6" fmla="*/ 173548 h 419100"/>
                  <a:gd name="connsiteX7" fmla="*/ 298517 w 676275"/>
                  <a:gd name="connsiteY7" fmla="*/ 308803 h 419100"/>
                  <a:gd name="connsiteX8" fmla="*/ 257560 w 676275"/>
                  <a:gd name="connsiteY8" fmla="*/ 324043 h 419100"/>
                  <a:gd name="connsiteX9" fmla="*/ 254702 w 676275"/>
                  <a:gd name="connsiteY9" fmla="*/ 337378 h 419100"/>
                  <a:gd name="connsiteX10" fmla="*/ 268037 w 676275"/>
                  <a:gd name="connsiteY10" fmla="*/ 340235 h 419100"/>
                  <a:gd name="connsiteX11" fmla="*/ 355667 w 676275"/>
                  <a:gd name="connsiteY11" fmla="*/ 351665 h 419100"/>
                  <a:gd name="connsiteX12" fmla="*/ 363287 w 676275"/>
                  <a:gd name="connsiteY12" fmla="*/ 355475 h 419100"/>
                  <a:gd name="connsiteX13" fmla="*/ 369955 w 676275"/>
                  <a:gd name="connsiteY13" fmla="*/ 353570 h 419100"/>
                  <a:gd name="connsiteX14" fmla="*/ 372812 w 676275"/>
                  <a:gd name="connsiteY14" fmla="*/ 349760 h 419100"/>
                  <a:gd name="connsiteX15" fmla="*/ 431867 w 676275"/>
                  <a:gd name="connsiteY15" fmla="*/ 368810 h 419100"/>
                  <a:gd name="connsiteX16" fmla="*/ 489970 w 676275"/>
                  <a:gd name="connsiteY16" fmla="*/ 327853 h 419100"/>
                  <a:gd name="connsiteX17" fmla="*/ 530927 w 676275"/>
                  <a:gd name="connsiteY17" fmla="*/ 382145 h 419100"/>
                  <a:gd name="connsiteX18" fmla="*/ 543310 w 676275"/>
                  <a:gd name="connsiteY18" fmla="*/ 383098 h 419100"/>
                  <a:gd name="connsiteX19" fmla="*/ 549977 w 676275"/>
                  <a:gd name="connsiteY19" fmla="*/ 357380 h 419100"/>
                  <a:gd name="connsiteX20" fmla="*/ 644275 w 676275"/>
                  <a:gd name="connsiteY20" fmla="*/ 417388 h 419100"/>
                  <a:gd name="connsiteX21" fmla="*/ 569027 w 676275"/>
                  <a:gd name="connsiteY21" fmla="*/ 288800 h 419100"/>
                  <a:gd name="connsiteX0" fmla="*/ 561884 w 668564"/>
                  <a:gd name="connsiteY0" fmla="*/ 281657 h 411420"/>
                  <a:gd name="connsiteX1" fmla="*/ 668564 w 668564"/>
                  <a:gd name="connsiteY1" fmla="*/ 150212 h 411420"/>
                  <a:gd name="connsiteX2" fmla="*/ 534262 w 668564"/>
                  <a:gd name="connsiteY2" fmla="*/ 15910 h 411420"/>
                  <a:gd name="connsiteX3" fmla="*/ 440917 w 668564"/>
                  <a:gd name="connsiteY3" fmla="*/ 53057 h 411420"/>
                  <a:gd name="connsiteX4" fmla="*/ 328522 w 668564"/>
                  <a:gd name="connsiteY4" fmla="*/ 9242 h 411420"/>
                  <a:gd name="connsiteX5" fmla="*/ 5624 w 668564"/>
                  <a:gd name="connsiteY5" fmla="*/ 263560 h 411420"/>
                  <a:gd name="connsiteX6" fmla="*/ 184694 w 668564"/>
                  <a:gd name="connsiteY6" fmla="*/ 166405 h 411420"/>
                  <a:gd name="connsiteX7" fmla="*/ 291374 w 668564"/>
                  <a:gd name="connsiteY7" fmla="*/ 301660 h 411420"/>
                  <a:gd name="connsiteX8" fmla="*/ 250417 w 668564"/>
                  <a:gd name="connsiteY8" fmla="*/ 316900 h 411420"/>
                  <a:gd name="connsiteX9" fmla="*/ 260894 w 668564"/>
                  <a:gd name="connsiteY9" fmla="*/ 333092 h 411420"/>
                  <a:gd name="connsiteX10" fmla="*/ 348524 w 668564"/>
                  <a:gd name="connsiteY10" fmla="*/ 344522 h 411420"/>
                  <a:gd name="connsiteX11" fmla="*/ 356144 w 668564"/>
                  <a:gd name="connsiteY11" fmla="*/ 348332 h 411420"/>
                  <a:gd name="connsiteX12" fmla="*/ 362812 w 668564"/>
                  <a:gd name="connsiteY12" fmla="*/ 346427 h 411420"/>
                  <a:gd name="connsiteX13" fmla="*/ 365669 w 668564"/>
                  <a:gd name="connsiteY13" fmla="*/ 342617 h 411420"/>
                  <a:gd name="connsiteX14" fmla="*/ 424724 w 668564"/>
                  <a:gd name="connsiteY14" fmla="*/ 361667 h 411420"/>
                  <a:gd name="connsiteX15" fmla="*/ 482827 w 668564"/>
                  <a:gd name="connsiteY15" fmla="*/ 320710 h 411420"/>
                  <a:gd name="connsiteX16" fmla="*/ 523784 w 668564"/>
                  <a:gd name="connsiteY16" fmla="*/ 375002 h 411420"/>
                  <a:gd name="connsiteX17" fmla="*/ 536167 w 668564"/>
                  <a:gd name="connsiteY17" fmla="*/ 375955 h 411420"/>
                  <a:gd name="connsiteX18" fmla="*/ 542834 w 668564"/>
                  <a:gd name="connsiteY18" fmla="*/ 350237 h 411420"/>
                  <a:gd name="connsiteX19" fmla="*/ 637132 w 668564"/>
                  <a:gd name="connsiteY19" fmla="*/ 410245 h 411420"/>
                  <a:gd name="connsiteX20" fmla="*/ 561884 w 668564"/>
                  <a:gd name="connsiteY20" fmla="*/ 281657 h 411420"/>
                  <a:gd name="connsiteX0" fmla="*/ 561884 w 668564"/>
                  <a:gd name="connsiteY0" fmla="*/ 281657 h 411421"/>
                  <a:gd name="connsiteX1" fmla="*/ 668564 w 668564"/>
                  <a:gd name="connsiteY1" fmla="*/ 150212 h 411421"/>
                  <a:gd name="connsiteX2" fmla="*/ 534262 w 668564"/>
                  <a:gd name="connsiteY2" fmla="*/ 15910 h 411421"/>
                  <a:gd name="connsiteX3" fmla="*/ 440917 w 668564"/>
                  <a:gd name="connsiteY3" fmla="*/ 53057 h 411421"/>
                  <a:gd name="connsiteX4" fmla="*/ 328522 w 668564"/>
                  <a:gd name="connsiteY4" fmla="*/ 9242 h 411421"/>
                  <a:gd name="connsiteX5" fmla="*/ 5624 w 668564"/>
                  <a:gd name="connsiteY5" fmla="*/ 263560 h 411421"/>
                  <a:gd name="connsiteX6" fmla="*/ 184694 w 668564"/>
                  <a:gd name="connsiteY6" fmla="*/ 166405 h 411421"/>
                  <a:gd name="connsiteX7" fmla="*/ 291374 w 668564"/>
                  <a:gd name="connsiteY7" fmla="*/ 301660 h 411421"/>
                  <a:gd name="connsiteX8" fmla="*/ 260894 w 668564"/>
                  <a:gd name="connsiteY8" fmla="*/ 333092 h 411421"/>
                  <a:gd name="connsiteX9" fmla="*/ 348524 w 668564"/>
                  <a:gd name="connsiteY9" fmla="*/ 344522 h 411421"/>
                  <a:gd name="connsiteX10" fmla="*/ 356144 w 668564"/>
                  <a:gd name="connsiteY10" fmla="*/ 348332 h 411421"/>
                  <a:gd name="connsiteX11" fmla="*/ 362812 w 668564"/>
                  <a:gd name="connsiteY11" fmla="*/ 346427 h 411421"/>
                  <a:gd name="connsiteX12" fmla="*/ 365669 w 668564"/>
                  <a:gd name="connsiteY12" fmla="*/ 342617 h 411421"/>
                  <a:gd name="connsiteX13" fmla="*/ 424724 w 668564"/>
                  <a:gd name="connsiteY13" fmla="*/ 361667 h 411421"/>
                  <a:gd name="connsiteX14" fmla="*/ 482827 w 668564"/>
                  <a:gd name="connsiteY14" fmla="*/ 320710 h 411421"/>
                  <a:gd name="connsiteX15" fmla="*/ 523784 w 668564"/>
                  <a:gd name="connsiteY15" fmla="*/ 375002 h 411421"/>
                  <a:gd name="connsiteX16" fmla="*/ 536167 w 668564"/>
                  <a:gd name="connsiteY16" fmla="*/ 375955 h 411421"/>
                  <a:gd name="connsiteX17" fmla="*/ 542834 w 668564"/>
                  <a:gd name="connsiteY17" fmla="*/ 350237 h 411421"/>
                  <a:gd name="connsiteX18" fmla="*/ 637132 w 668564"/>
                  <a:gd name="connsiteY18" fmla="*/ 410245 h 411421"/>
                  <a:gd name="connsiteX19" fmla="*/ 561884 w 668564"/>
                  <a:gd name="connsiteY19" fmla="*/ 281657 h 411421"/>
                  <a:gd name="connsiteX0" fmla="*/ 561884 w 668564"/>
                  <a:gd name="connsiteY0" fmla="*/ 281657 h 411421"/>
                  <a:gd name="connsiteX1" fmla="*/ 668564 w 668564"/>
                  <a:gd name="connsiteY1" fmla="*/ 150212 h 411421"/>
                  <a:gd name="connsiteX2" fmla="*/ 534262 w 668564"/>
                  <a:gd name="connsiteY2" fmla="*/ 15910 h 411421"/>
                  <a:gd name="connsiteX3" fmla="*/ 440917 w 668564"/>
                  <a:gd name="connsiteY3" fmla="*/ 53057 h 411421"/>
                  <a:gd name="connsiteX4" fmla="*/ 328522 w 668564"/>
                  <a:gd name="connsiteY4" fmla="*/ 9242 h 411421"/>
                  <a:gd name="connsiteX5" fmla="*/ 5624 w 668564"/>
                  <a:gd name="connsiteY5" fmla="*/ 263560 h 411421"/>
                  <a:gd name="connsiteX6" fmla="*/ 184694 w 668564"/>
                  <a:gd name="connsiteY6" fmla="*/ 166405 h 411421"/>
                  <a:gd name="connsiteX7" fmla="*/ 291374 w 668564"/>
                  <a:gd name="connsiteY7" fmla="*/ 301660 h 411421"/>
                  <a:gd name="connsiteX8" fmla="*/ 348524 w 668564"/>
                  <a:gd name="connsiteY8" fmla="*/ 344522 h 411421"/>
                  <a:gd name="connsiteX9" fmla="*/ 356144 w 668564"/>
                  <a:gd name="connsiteY9" fmla="*/ 348332 h 411421"/>
                  <a:gd name="connsiteX10" fmla="*/ 362812 w 668564"/>
                  <a:gd name="connsiteY10" fmla="*/ 346427 h 411421"/>
                  <a:gd name="connsiteX11" fmla="*/ 365669 w 668564"/>
                  <a:gd name="connsiteY11" fmla="*/ 342617 h 411421"/>
                  <a:gd name="connsiteX12" fmla="*/ 424724 w 668564"/>
                  <a:gd name="connsiteY12" fmla="*/ 361667 h 411421"/>
                  <a:gd name="connsiteX13" fmla="*/ 482827 w 668564"/>
                  <a:gd name="connsiteY13" fmla="*/ 320710 h 411421"/>
                  <a:gd name="connsiteX14" fmla="*/ 523784 w 668564"/>
                  <a:gd name="connsiteY14" fmla="*/ 375002 h 411421"/>
                  <a:gd name="connsiteX15" fmla="*/ 536167 w 668564"/>
                  <a:gd name="connsiteY15" fmla="*/ 375955 h 411421"/>
                  <a:gd name="connsiteX16" fmla="*/ 542834 w 668564"/>
                  <a:gd name="connsiteY16" fmla="*/ 350237 h 411421"/>
                  <a:gd name="connsiteX17" fmla="*/ 637132 w 668564"/>
                  <a:gd name="connsiteY17" fmla="*/ 410245 h 411421"/>
                  <a:gd name="connsiteX18" fmla="*/ 561884 w 668564"/>
                  <a:gd name="connsiteY18" fmla="*/ 281657 h 411421"/>
                  <a:gd name="connsiteX0" fmla="*/ 561884 w 668564"/>
                  <a:gd name="connsiteY0" fmla="*/ 281657 h 411421"/>
                  <a:gd name="connsiteX1" fmla="*/ 668564 w 668564"/>
                  <a:gd name="connsiteY1" fmla="*/ 150212 h 411421"/>
                  <a:gd name="connsiteX2" fmla="*/ 534262 w 668564"/>
                  <a:gd name="connsiteY2" fmla="*/ 15910 h 411421"/>
                  <a:gd name="connsiteX3" fmla="*/ 440917 w 668564"/>
                  <a:gd name="connsiteY3" fmla="*/ 53057 h 411421"/>
                  <a:gd name="connsiteX4" fmla="*/ 328522 w 668564"/>
                  <a:gd name="connsiteY4" fmla="*/ 9242 h 411421"/>
                  <a:gd name="connsiteX5" fmla="*/ 5624 w 668564"/>
                  <a:gd name="connsiteY5" fmla="*/ 263560 h 411421"/>
                  <a:gd name="connsiteX6" fmla="*/ 184694 w 668564"/>
                  <a:gd name="connsiteY6" fmla="*/ 166405 h 411421"/>
                  <a:gd name="connsiteX7" fmla="*/ 291374 w 668564"/>
                  <a:gd name="connsiteY7" fmla="*/ 301660 h 411421"/>
                  <a:gd name="connsiteX8" fmla="*/ 348524 w 668564"/>
                  <a:gd name="connsiteY8" fmla="*/ 344522 h 411421"/>
                  <a:gd name="connsiteX9" fmla="*/ 356144 w 668564"/>
                  <a:gd name="connsiteY9" fmla="*/ 348332 h 411421"/>
                  <a:gd name="connsiteX10" fmla="*/ 362812 w 668564"/>
                  <a:gd name="connsiteY10" fmla="*/ 346427 h 411421"/>
                  <a:gd name="connsiteX11" fmla="*/ 365669 w 668564"/>
                  <a:gd name="connsiteY11" fmla="*/ 342617 h 411421"/>
                  <a:gd name="connsiteX12" fmla="*/ 424724 w 668564"/>
                  <a:gd name="connsiteY12" fmla="*/ 361667 h 411421"/>
                  <a:gd name="connsiteX13" fmla="*/ 523784 w 668564"/>
                  <a:gd name="connsiteY13" fmla="*/ 375002 h 411421"/>
                  <a:gd name="connsiteX14" fmla="*/ 536167 w 668564"/>
                  <a:gd name="connsiteY14" fmla="*/ 375955 h 411421"/>
                  <a:gd name="connsiteX15" fmla="*/ 542834 w 668564"/>
                  <a:gd name="connsiteY15" fmla="*/ 350237 h 411421"/>
                  <a:gd name="connsiteX16" fmla="*/ 637132 w 668564"/>
                  <a:gd name="connsiteY16" fmla="*/ 410245 h 411421"/>
                  <a:gd name="connsiteX17" fmla="*/ 561884 w 668564"/>
                  <a:gd name="connsiteY17" fmla="*/ 281657 h 411421"/>
                  <a:gd name="connsiteX0" fmla="*/ 523784 w 668564"/>
                  <a:gd name="connsiteY0" fmla="*/ 375002 h 432158"/>
                  <a:gd name="connsiteX1" fmla="*/ 536167 w 668564"/>
                  <a:gd name="connsiteY1" fmla="*/ 375955 h 432158"/>
                  <a:gd name="connsiteX2" fmla="*/ 542834 w 668564"/>
                  <a:gd name="connsiteY2" fmla="*/ 350237 h 432158"/>
                  <a:gd name="connsiteX3" fmla="*/ 637132 w 668564"/>
                  <a:gd name="connsiteY3" fmla="*/ 410245 h 432158"/>
                  <a:gd name="connsiteX4" fmla="*/ 561884 w 668564"/>
                  <a:gd name="connsiteY4" fmla="*/ 281657 h 432158"/>
                  <a:gd name="connsiteX5" fmla="*/ 668564 w 668564"/>
                  <a:gd name="connsiteY5" fmla="*/ 150212 h 432158"/>
                  <a:gd name="connsiteX6" fmla="*/ 534262 w 668564"/>
                  <a:gd name="connsiteY6" fmla="*/ 15910 h 432158"/>
                  <a:gd name="connsiteX7" fmla="*/ 440917 w 668564"/>
                  <a:gd name="connsiteY7" fmla="*/ 53057 h 432158"/>
                  <a:gd name="connsiteX8" fmla="*/ 328522 w 668564"/>
                  <a:gd name="connsiteY8" fmla="*/ 9242 h 432158"/>
                  <a:gd name="connsiteX9" fmla="*/ 5624 w 668564"/>
                  <a:gd name="connsiteY9" fmla="*/ 263560 h 432158"/>
                  <a:gd name="connsiteX10" fmla="*/ 184694 w 668564"/>
                  <a:gd name="connsiteY10" fmla="*/ 166405 h 432158"/>
                  <a:gd name="connsiteX11" fmla="*/ 291374 w 668564"/>
                  <a:gd name="connsiteY11" fmla="*/ 301660 h 432158"/>
                  <a:gd name="connsiteX12" fmla="*/ 348524 w 668564"/>
                  <a:gd name="connsiteY12" fmla="*/ 344522 h 432158"/>
                  <a:gd name="connsiteX13" fmla="*/ 356144 w 668564"/>
                  <a:gd name="connsiteY13" fmla="*/ 348332 h 432158"/>
                  <a:gd name="connsiteX14" fmla="*/ 362812 w 668564"/>
                  <a:gd name="connsiteY14" fmla="*/ 346427 h 432158"/>
                  <a:gd name="connsiteX15" fmla="*/ 365669 w 668564"/>
                  <a:gd name="connsiteY15" fmla="*/ 342617 h 432158"/>
                  <a:gd name="connsiteX16" fmla="*/ 424724 w 668564"/>
                  <a:gd name="connsiteY16" fmla="*/ 361667 h 432158"/>
                  <a:gd name="connsiteX17" fmla="*/ 580940 w 668564"/>
                  <a:gd name="connsiteY17" fmla="*/ 432158 h 432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8564" h="432158">
                    <a:moveTo>
                      <a:pt x="523784" y="375002"/>
                    </a:moveTo>
                    <a:cubicBezTo>
                      <a:pt x="527594" y="375002"/>
                      <a:pt x="532357" y="375002"/>
                      <a:pt x="536167" y="375955"/>
                    </a:cubicBezTo>
                    <a:cubicBezTo>
                      <a:pt x="538072" y="368335"/>
                      <a:pt x="540929" y="358810"/>
                      <a:pt x="542834" y="350237"/>
                    </a:cubicBezTo>
                    <a:cubicBezTo>
                      <a:pt x="552359" y="387385"/>
                      <a:pt x="586649" y="417865"/>
                      <a:pt x="637132" y="410245"/>
                    </a:cubicBezTo>
                    <a:cubicBezTo>
                      <a:pt x="563789" y="389290"/>
                      <a:pt x="561884" y="310232"/>
                      <a:pt x="561884" y="281657"/>
                    </a:cubicBezTo>
                    <a:cubicBezTo>
                      <a:pt x="622844" y="268322"/>
                      <a:pt x="668564" y="214982"/>
                      <a:pt x="668564" y="150212"/>
                    </a:cubicBezTo>
                    <a:cubicBezTo>
                      <a:pt x="668564" y="75917"/>
                      <a:pt x="608557" y="15910"/>
                      <a:pt x="534262" y="15910"/>
                    </a:cubicBezTo>
                    <a:cubicBezTo>
                      <a:pt x="498067" y="15910"/>
                      <a:pt x="465682" y="30197"/>
                      <a:pt x="440917" y="53057"/>
                    </a:cubicBezTo>
                    <a:cubicBezTo>
                      <a:pt x="411389" y="34960"/>
                      <a:pt x="374242" y="20672"/>
                      <a:pt x="328522" y="9242"/>
                    </a:cubicBezTo>
                    <a:cubicBezTo>
                      <a:pt x="66584" y="-52670"/>
                      <a:pt x="-24856" y="214982"/>
                      <a:pt x="5624" y="263560"/>
                    </a:cubicBezTo>
                    <a:cubicBezTo>
                      <a:pt x="103732" y="229270"/>
                      <a:pt x="184694" y="166405"/>
                      <a:pt x="184694" y="166405"/>
                    </a:cubicBezTo>
                    <a:cubicBezTo>
                      <a:pt x="184694" y="166405"/>
                      <a:pt x="207554" y="241652"/>
                      <a:pt x="291374" y="301660"/>
                    </a:cubicBezTo>
                    <a:cubicBezTo>
                      <a:pt x="318679" y="331346"/>
                      <a:pt x="337729" y="336743"/>
                      <a:pt x="348524" y="344522"/>
                    </a:cubicBezTo>
                    <a:cubicBezTo>
                      <a:pt x="350429" y="347380"/>
                      <a:pt x="353287" y="348332"/>
                      <a:pt x="356144" y="348332"/>
                    </a:cubicBezTo>
                    <a:cubicBezTo>
                      <a:pt x="358049" y="348332"/>
                      <a:pt x="360907" y="347380"/>
                      <a:pt x="362812" y="346427"/>
                    </a:cubicBezTo>
                    <a:cubicBezTo>
                      <a:pt x="363764" y="345475"/>
                      <a:pt x="364717" y="343570"/>
                      <a:pt x="365669" y="342617"/>
                    </a:cubicBezTo>
                    <a:cubicBezTo>
                      <a:pt x="383767" y="350237"/>
                      <a:pt x="402817" y="355952"/>
                      <a:pt x="424724" y="361667"/>
                    </a:cubicBezTo>
                    <a:cubicBezTo>
                      <a:pt x="451077" y="367065"/>
                      <a:pt x="505210" y="372621"/>
                      <a:pt x="580940" y="432158"/>
                    </a:cubicBezTo>
                  </a:path>
                </a:pathLst>
              </a:custGeom>
              <a:solidFill>
                <a:srgbClr val="243A5E">
                  <a:lumMod val="60000"/>
                  <a:lumOff val="4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143" name="Group 142">
            <a:extLst>
              <a:ext uri="{FF2B5EF4-FFF2-40B4-BE49-F238E27FC236}">
                <a16:creationId xmlns:a16="http://schemas.microsoft.com/office/drawing/2014/main" id="{C1CE75E3-F74A-43CA-B413-7A90B89C41BB}"/>
              </a:ext>
            </a:extLst>
          </p:cNvPr>
          <p:cNvGrpSpPr/>
          <p:nvPr/>
        </p:nvGrpSpPr>
        <p:grpSpPr>
          <a:xfrm>
            <a:off x="3153187" y="1427580"/>
            <a:ext cx="1200898" cy="525071"/>
            <a:chOff x="4155380" y="1450561"/>
            <a:chExt cx="1389623" cy="607587"/>
          </a:xfrm>
        </p:grpSpPr>
        <p:sp>
          <p:nvSpPr>
            <p:cNvPr id="147" name="Title 1">
              <a:extLst>
                <a:ext uri="{FF2B5EF4-FFF2-40B4-BE49-F238E27FC236}">
                  <a16:creationId xmlns:a16="http://schemas.microsoft.com/office/drawing/2014/main" id="{DA887E55-D118-40F9-BA79-DE199A706A7F}"/>
                </a:ext>
              </a:extLst>
            </p:cNvPr>
            <p:cNvSpPr txBox="1">
              <a:spLocks/>
            </p:cNvSpPr>
            <p:nvPr/>
          </p:nvSpPr>
          <p:spPr>
            <a:xfrm>
              <a:off x="4651792" y="1534433"/>
              <a:ext cx="893211" cy="24622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gradFill>
                    <a:gsLst>
                      <a:gs pos="0">
                        <a:srgbClr val="FFFFFF"/>
                      </a:gs>
                      <a:gs pos="100000">
                        <a:srgbClr val="FFFFFF"/>
                      </a:gs>
                    </a:gsLst>
                    <a:lin ang="5400000" scaled="1"/>
                  </a:gradFill>
                  <a:effectLst/>
                  <a:uLnTx/>
                  <a:uFillTx/>
                  <a:latin typeface="Segoe UI"/>
                  <a:ea typeface="+mn-ea"/>
                  <a:cs typeface="Segoe UI Semilight" panose="020B0402040204020203" pitchFamily="34" charset="0"/>
                </a:rPr>
                <a:t>Users</a:t>
              </a:r>
            </a:p>
          </p:txBody>
        </p:sp>
        <p:sp>
          <p:nvSpPr>
            <p:cNvPr id="148" name="Freeform: Shape 147">
              <a:extLst>
                <a:ext uri="{FF2B5EF4-FFF2-40B4-BE49-F238E27FC236}">
                  <a16:creationId xmlns:a16="http://schemas.microsoft.com/office/drawing/2014/main" id="{739D42B4-F625-4E77-B8C8-F21A12FCB9D8}"/>
                </a:ext>
              </a:extLst>
            </p:cNvPr>
            <p:cNvSpPr/>
            <p:nvPr/>
          </p:nvSpPr>
          <p:spPr>
            <a:xfrm>
              <a:off x="4310042" y="1450561"/>
              <a:ext cx="274722" cy="363201"/>
            </a:xfrm>
            <a:custGeom>
              <a:avLst/>
              <a:gdLst>
                <a:gd name="connsiteX0" fmla="*/ 603050 w 1460635"/>
                <a:gd name="connsiteY0" fmla="*/ 0 h 1931059"/>
                <a:gd name="connsiteX1" fmla="*/ 855015 w 1460635"/>
                <a:gd name="connsiteY1" fmla="*/ 0 h 1931059"/>
                <a:gd name="connsiteX2" fmla="*/ 1378827 w 1460635"/>
                <a:gd name="connsiteY2" fmla="*/ 523812 h 1931059"/>
                <a:gd name="connsiteX3" fmla="*/ 1378827 w 1460635"/>
                <a:gd name="connsiteY3" fmla="*/ 863539 h 1931059"/>
                <a:gd name="connsiteX4" fmla="*/ 1397780 w 1460635"/>
                <a:gd name="connsiteY4" fmla="*/ 861872 h 1931059"/>
                <a:gd name="connsiteX5" fmla="*/ 1259675 w 1460635"/>
                <a:gd name="connsiteY5" fmla="*/ 1421036 h 1931059"/>
                <a:gd name="connsiteX6" fmla="*/ 728741 w 1460635"/>
                <a:gd name="connsiteY6" fmla="*/ 1931059 h 1931059"/>
                <a:gd name="connsiteX7" fmla="*/ 183733 w 1460635"/>
                <a:gd name="connsiteY7" fmla="*/ 1428441 h 1931059"/>
                <a:gd name="connsiteX8" fmla="*/ 67243 w 1460635"/>
                <a:gd name="connsiteY8" fmla="*/ 857644 h 1931059"/>
                <a:gd name="connsiteX9" fmla="*/ 79238 w 1460635"/>
                <a:gd name="connsiteY9" fmla="*/ 857733 h 1931059"/>
                <a:gd name="connsiteX10" fmla="*/ 79238 w 1460635"/>
                <a:gd name="connsiteY10" fmla="*/ 523812 h 1931059"/>
                <a:gd name="connsiteX11" fmla="*/ 603050 w 1460635"/>
                <a:gd name="connsiteY11" fmla="*/ 0 h 193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0635" h="1931059">
                  <a:moveTo>
                    <a:pt x="603050" y="0"/>
                  </a:moveTo>
                  <a:lnTo>
                    <a:pt x="855015" y="0"/>
                  </a:lnTo>
                  <a:cubicBezTo>
                    <a:pt x="1144308" y="0"/>
                    <a:pt x="1378827" y="234519"/>
                    <a:pt x="1378827" y="523812"/>
                  </a:cubicBezTo>
                  <a:lnTo>
                    <a:pt x="1378827" y="863539"/>
                  </a:lnTo>
                  <a:lnTo>
                    <a:pt x="1397780" y="861872"/>
                  </a:lnTo>
                  <a:cubicBezTo>
                    <a:pt x="1546782" y="944307"/>
                    <a:pt x="1402403" y="1318211"/>
                    <a:pt x="1259675" y="1421036"/>
                  </a:cubicBezTo>
                  <a:cubicBezTo>
                    <a:pt x="1259675" y="1655147"/>
                    <a:pt x="962852" y="1931059"/>
                    <a:pt x="728741" y="1931059"/>
                  </a:cubicBezTo>
                  <a:cubicBezTo>
                    <a:pt x="494630" y="1931059"/>
                    <a:pt x="271566" y="1675099"/>
                    <a:pt x="183733" y="1428441"/>
                  </a:cubicBezTo>
                  <a:cubicBezTo>
                    <a:pt x="61776" y="1286797"/>
                    <a:pt x="-89982" y="928708"/>
                    <a:pt x="67243" y="857644"/>
                  </a:cubicBezTo>
                  <a:lnTo>
                    <a:pt x="79238" y="857733"/>
                  </a:lnTo>
                  <a:lnTo>
                    <a:pt x="79238" y="523812"/>
                  </a:lnTo>
                  <a:cubicBezTo>
                    <a:pt x="79238" y="234519"/>
                    <a:pt x="313757" y="0"/>
                    <a:pt x="603050" y="0"/>
                  </a:cubicBezTo>
                  <a:close/>
                </a:path>
              </a:pathLst>
            </a:custGeom>
            <a:solidFill>
              <a:srgbClr val="243A5E"/>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a:ea typeface="+mn-ea"/>
                <a:cs typeface="+mn-cs"/>
              </a:endParaRPr>
            </a:p>
          </p:txBody>
        </p:sp>
        <p:sp>
          <p:nvSpPr>
            <p:cNvPr id="155" name="Freeform: Shape 154">
              <a:extLst>
                <a:ext uri="{FF2B5EF4-FFF2-40B4-BE49-F238E27FC236}">
                  <a16:creationId xmlns:a16="http://schemas.microsoft.com/office/drawing/2014/main" id="{373C1634-D92D-49B9-919E-D690F73EF197}"/>
                </a:ext>
              </a:extLst>
            </p:cNvPr>
            <p:cNvSpPr/>
            <p:nvPr/>
          </p:nvSpPr>
          <p:spPr>
            <a:xfrm rot="10800000" flipV="1">
              <a:off x="4418930" y="1843844"/>
              <a:ext cx="57634" cy="155812"/>
            </a:xfrm>
            <a:custGeom>
              <a:avLst/>
              <a:gdLst>
                <a:gd name="connsiteX0" fmla="*/ 261737 w 306427"/>
                <a:gd name="connsiteY0" fmla="*/ 299979 h 828419"/>
                <a:gd name="connsiteX1" fmla="*/ 39926 w 306427"/>
                <a:gd name="connsiteY1" fmla="*/ 299979 h 828419"/>
                <a:gd name="connsiteX2" fmla="*/ 1051 w 306427"/>
                <a:gd name="connsiteY2" fmla="*/ 554460 h 828419"/>
                <a:gd name="connsiteX3" fmla="*/ 0 w 306427"/>
                <a:gd name="connsiteY3" fmla="*/ 554456 h 828419"/>
                <a:gd name="connsiteX4" fmla="*/ 814 w 306427"/>
                <a:gd name="connsiteY4" fmla="*/ 556012 h 828419"/>
                <a:gd name="connsiteX5" fmla="*/ 0 w 306427"/>
                <a:gd name="connsiteY5" fmla="*/ 561340 h 828419"/>
                <a:gd name="connsiteX6" fmla="*/ 3594 w 306427"/>
                <a:gd name="connsiteY6" fmla="*/ 561326 h 828419"/>
                <a:gd name="connsiteX7" fmla="*/ 142319 w 306427"/>
                <a:gd name="connsiteY7" fmla="*/ 826533 h 828419"/>
                <a:gd name="connsiteX8" fmla="*/ 178394 w 306427"/>
                <a:gd name="connsiteY8" fmla="*/ 815817 h 828419"/>
                <a:gd name="connsiteX9" fmla="*/ 304208 w 306427"/>
                <a:gd name="connsiteY9" fmla="*/ 560158 h 828419"/>
                <a:gd name="connsiteX10" fmla="*/ 306427 w 306427"/>
                <a:gd name="connsiteY10" fmla="*/ 560149 h 828419"/>
                <a:gd name="connsiteX11" fmla="*/ 305854 w 306427"/>
                <a:gd name="connsiteY11" fmla="*/ 556812 h 828419"/>
                <a:gd name="connsiteX12" fmla="*/ 306427 w 306427"/>
                <a:gd name="connsiteY12" fmla="*/ 555647 h 828419"/>
                <a:gd name="connsiteX13" fmla="*/ 305653 w 306427"/>
                <a:gd name="connsiteY13" fmla="*/ 555644 h 828419"/>
                <a:gd name="connsiteX14" fmla="*/ 0 w 306427"/>
                <a:gd name="connsiteY14" fmla="*/ 0 h 828419"/>
                <a:gd name="connsiteX15" fmla="*/ 39926 w 306427"/>
                <a:gd name="connsiteY15" fmla="*/ 261361 h 828419"/>
                <a:gd name="connsiteX16" fmla="*/ 261737 w 306427"/>
                <a:gd name="connsiteY16" fmla="*/ 261361 h 828419"/>
                <a:gd name="connsiteX17" fmla="*/ 306427 w 306427"/>
                <a:gd name="connsiteY17" fmla="*/ 1191 h 82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6427" h="828419">
                  <a:moveTo>
                    <a:pt x="261737" y="299979"/>
                  </a:moveTo>
                  <a:lnTo>
                    <a:pt x="39926" y="299979"/>
                  </a:lnTo>
                  <a:lnTo>
                    <a:pt x="1051" y="554460"/>
                  </a:lnTo>
                  <a:lnTo>
                    <a:pt x="0" y="554456"/>
                  </a:lnTo>
                  <a:lnTo>
                    <a:pt x="814" y="556012"/>
                  </a:lnTo>
                  <a:lnTo>
                    <a:pt x="0" y="561340"/>
                  </a:lnTo>
                  <a:lnTo>
                    <a:pt x="3594" y="561326"/>
                  </a:lnTo>
                  <a:lnTo>
                    <a:pt x="142319" y="826533"/>
                  </a:lnTo>
                  <a:cubicBezTo>
                    <a:pt x="154344" y="822961"/>
                    <a:pt x="165179" y="838439"/>
                    <a:pt x="178394" y="815817"/>
                  </a:cubicBezTo>
                  <a:lnTo>
                    <a:pt x="304208" y="560158"/>
                  </a:lnTo>
                  <a:lnTo>
                    <a:pt x="306427" y="560149"/>
                  </a:lnTo>
                  <a:lnTo>
                    <a:pt x="305854" y="556812"/>
                  </a:lnTo>
                  <a:lnTo>
                    <a:pt x="306427" y="555647"/>
                  </a:lnTo>
                  <a:lnTo>
                    <a:pt x="305653" y="555644"/>
                  </a:lnTo>
                  <a:close/>
                  <a:moveTo>
                    <a:pt x="0" y="0"/>
                  </a:moveTo>
                  <a:lnTo>
                    <a:pt x="39926" y="261361"/>
                  </a:lnTo>
                  <a:lnTo>
                    <a:pt x="261737" y="261361"/>
                  </a:lnTo>
                  <a:lnTo>
                    <a:pt x="306427" y="1191"/>
                  </a:ln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a:ea typeface="+mn-ea"/>
                <a:cs typeface="+mn-cs"/>
              </a:endParaRPr>
            </a:p>
          </p:txBody>
        </p:sp>
        <p:sp>
          <p:nvSpPr>
            <p:cNvPr id="157" name="Freeform: Shape 156">
              <a:extLst>
                <a:ext uri="{FF2B5EF4-FFF2-40B4-BE49-F238E27FC236}">
                  <a16:creationId xmlns:a16="http://schemas.microsoft.com/office/drawing/2014/main" id="{E6D4B0FF-FC4B-4FEF-9372-3A7B1EA3545F}"/>
                </a:ext>
              </a:extLst>
            </p:cNvPr>
            <p:cNvSpPr/>
            <p:nvPr/>
          </p:nvSpPr>
          <p:spPr>
            <a:xfrm flipH="1">
              <a:off x="4155380" y="1798447"/>
              <a:ext cx="588605" cy="259701"/>
            </a:xfrm>
            <a:custGeom>
              <a:avLst/>
              <a:gdLst>
                <a:gd name="connsiteX0" fmla="*/ 2098502 w 3129479"/>
                <a:gd name="connsiteY0" fmla="*/ 0 h 1380774"/>
                <a:gd name="connsiteX1" fmla="*/ 2094768 w 3129479"/>
                <a:gd name="connsiteY1" fmla="*/ 17935 h 1380774"/>
                <a:gd name="connsiteX2" fmla="*/ 2086486 w 3129479"/>
                <a:gd name="connsiteY2" fmla="*/ 14142 h 1380774"/>
                <a:gd name="connsiteX3" fmla="*/ 2017232 w 3129479"/>
                <a:gd name="connsiteY3" fmla="*/ 346185 h 1380774"/>
                <a:gd name="connsiteX4" fmla="*/ 2015458 w 3129479"/>
                <a:gd name="connsiteY4" fmla="*/ 352987 h 1380774"/>
                <a:gd name="connsiteX5" fmla="*/ 2013217 w 3129479"/>
                <a:gd name="connsiteY5" fmla="*/ 360528 h 1380774"/>
                <a:gd name="connsiteX6" fmla="*/ 1956254 w 3129479"/>
                <a:gd name="connsiteY6" fmla="*/ 542588 h 1380774"/>
                <a:gd name="connsiteX7" fmla="*/ 1813603 w 3129479"/>
                <a:gd name="connsiteY7" fmla="*/ 890686 h 1380774"/>
                <a:gd name="connsiteX8" fmla="*/ 1812171 w 3129479"/>
                <a:gd name="connsiteY8" fmla="*/ 893379 h 1380774"/>
                <a:gd name="connsiteX9" fmla="*/ 1784654 w 3129479"/>
                <a:gd name="connsiteY9" fmla="*/ 942829 h 1380774"/>
                <a:gd name="connsiteX10" fmla="*/ 1687889 w 3129479"/>
                <a:gd name="connsiteY10" fmla="*/ 1077896 h 1380774"/>
                <a:gd name="connsiteX11" fmla="*/ 1579855 w 3129479"/>
                <a:gd name="connsiteY11" fmla="*/ 1196431 h 1380774"/>
                <a:gd name="connsiteX12" fmla="*/ 1564740 w 3129479"/>
                <a:gd name="connsiteY12" fmla="*/ 1205831 h 1380774"/>
                <a:gd name="connsiteX13" fmla="*/ 1549625 w 3129479"/>
                <a:gd name="connsiteY13" fmla="*/ 1196431 h 1380774"/>
                <a:gd name="connsiteX14" fmla="*/ 1441592 w 3129479"/>
                <a:gd name="connsiteY14" fmla="*/ 1077896 h 1380774"/>
                <a:gd name="connsiteX15" fmla="*/ 1344826 w 3129479"/>
                <a:gd name="connsiteY15" fmla="*/ 942829 h 1380774"/>
                <a:gd name="connsiteX16" fmla="*/ 1317310 w 3129479"/>
                <a:gd name="connsiteY16" fmla="*/ 893379 h 1380774"/>
                <a:gd name="connsiteX17" fmla="*/ 1315878 w 3129479"/>
                <a:gd name="connsiteY17" fmla="*/ 890686 h 1380774"/>
                <a:gd name="connsiteX18" fmla="*/ 1173226 w 3129479"/>
                <a:gd name="connsiteY18" fmla="*/ 542588 h 1380774"/>
                <a:gd name="connsiteX19" fmla="*/ 1116264 w 3129479"/>
                <a:gd name="connsiteY19" fmla="*/ 360528 h 1380774"/>
                <a:gd name="connsiteX20" fmla="*/ 1114022 w 3129479"/>
                <a:gd name="connsiteY20" fmla="*/ 352987 h 1380774"/>
                <a:gd name="connsiteX21" fmla="*/ 1112248 w 3129479"/>
                <a:gd name="connsiteY21" fmla="*/ 346185 h 1380774"/>
                <a:gd name="connsiteX22" fmla="*/ 1042994 w 3129479"/>
                <a:gd name="connsiteY22" fmla="*/ 14142 h 1380774"/>
                <a:gd name="connsiteX23" fmla="*/ 1034713 w 3129479"/>
                <a:gd name="connsiteY23" fmla="*/ 17935 h 1380774"/>
                <a:gd name="connsiteX24" fmla="*/ 1030978 w 3129479"/>
                <a:gd name="connsiteY24" fmla="*/ 0 h 1380774"/>
                <a:gd name="connsiteX25" fmla="*/ 79 w 3129479"/>
                <a:gd name="connsiteY25" fmla="*/ 1071910 h 1380774"/>
                <a:gd name="connsiteX26" fmla="*/ 694014 w 3129479"/>
                <a:gd name="connsiteY26" fmla="*/ 1347084 h 1380774"/>
                <a:gd name="connsiteX27" fmla="*/ 802045 w 3129479"/>
                <a:gd name="connsiteY27" fmla="*/ 1355098 h 1380774"/>
                <a:gd name="connsiteX28" fmla="*/ 800563 w 3129479"/>
                <a:gd name="connsiteY28" fmla="*/ 1356893 h 1380774"/>
                <a:gd name="connsiteX29" fmla="*/ 880988 w 3129479"/>
                <a:gd name="connsiteY29" fmla="*/ 1360953 h 1380774"/>
                <a:gd name="connsiteX30" fmla="*/ 1012529 w 3129479"/>
                <a:gd name="connsiteY30" fmla="*/ 1370710 h 1380774"/>
                <a:gd name="connsiteX31" fmla="*/ 1360135 w 3129479"/>
                <a:gd name="connsiteY31" fmla="*/ 1380774 h 1380774"/>
                <a:gd name="connsiteX32" fmla="*/ 1564740 w 3129479"/>
                <a:gd name="connsiteY32" fmla="*/ 1380069 h 1380774"/>
                <a:gd name="connsiteX33" fmla="*/ 1769346 w 3129479"/>
                <a:gd name="connsiteY33" fmla="*/ 1380774 h 1380774"/>
                <a:gd name="connsiteX34" fmla="*/ 2116952 w 3129479"/>
                <a:gd name="connsiteY34" fmla="*/ 1370710 h 1380774"/>
                <a:gd name="connsiteX35" fmla="*/ 2248493 w 3129479"/>
                <a:gd name="connsiteY35" fmla="*/ 1360953 h 1380774"/>
                <a:gd name="connsiteX36" fmla="*/ 2328917 w 3129479"/>
                <a:gd name="connsiteY36" fmla="*/ 1356893 h 1380774"/>
                <a:gd name="connsiteX37" fmla="*/ 2327436 w 3129479"/>
                <a:gd name="connsiteY37" fmla="*/ 1355098 h 1380774"/>
                <a:gd name="connsiteX38" fmla="*/ 2435466 w 3129479"/>
                <a:gd name="connsiteY38" fmla="*/ 1347084 h 1380774"/>
                <a:gd name="connsiteX39" fmla="*/ 3129401 w 3129479"/>
                <a:gd name="connsiteY39" fmla="*/ 1071910 h 1380774"/>
                <a:gd name="connsiteX40" fmla="*/ 2098502 w 3129479"/>
                <a:gd name="connsiteY40" fmla="*/ 0 h 138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129479" h="1380774">
                  <a:moveTo>
                    <a:pt x="2098502" y="0"/>
                  </a:moveTo>
                  <a:lnTo>
                    <a:pt x="2094768" y="17935"/>
                  </a:lnTo>
                  <a:lnTo>
                    <a:pt x="2086486" y="14142"/>
                  </a:lnTo>
                  <a:lnTo>
                    <a:pt x="2017232" y="346185"/>
                  </a:lnTo>
                  <a:lnTo>
                    <a:pt x="2015458" y="352987"/>
                  </a:lnTo>
                  <a:lnTo>
                    <a:pt x="2013217" y="360528"/>
                  </a:lnTo>
                  <a:lnTo>
                    <a:pt x="1956254" y="542588"/>
                  </a:lnTo>
                  <a:cubicBezTo>
                    <a:pt x="1913991" y="666570"/>
                    <a:pt x="1865714" y="786691"/>
                    <a:pt x="1813603" y="890686"/>
                  </a:cubicBezTo>
                  <a:lnTo>
                    <a:pt x="1812171" y="893379"/>
                  </a:lnTo>
                  <a:lnTo>
                    <a:pt x="1784654" y="942829"/>
                  </a:lnTo>
                  <a:cubicBezTo>
                    <a:pt x="1755728" y="988653"/>
                    <a:pt x="1723659" y="1033652"/>
                    <a:pt x="1687889" y="1077896"/>
                  </a:cubicBezTo>
                  <a:lnTo>
                    <a:pt x="1579855" y="1196431"/>
                  </a:lnTo>
                  <a:lnTo>
                    <a:pt x="1564740" y="1205831"/>
                  </a:lnTo>
                  <a:lnTo>
                    <a:pt x="1549625" y="1196431"/>
                  </a:lnTo>
                  <a:lnTo>
                    <a:pt x="1441592" y="1077896"/>
                  </a:lnTo>
                  <a:cubicBezTo>
                    <a:pt x="1405822" y="1033652"/>
                    <a:pt x="1373753" y="988653"/>
                    <a:pt x="1344826" y="942829"/>
                  </a:cubicBezTo>
                  <a:lnTo>
                    <a:pt x="1317310" y="893379"/>
                  </a:lnTo>
                  <a:lnTo>
                    <a:pt x="1315878" y="890686"/>
                  </a:lnTo>
                  <a:cubicBezTo>
                    <a:pt x="1263766" y="786691"/>
                    <a:pt x="1215490" y="666570"/>
                    <a:pt x="1173226" y="542588"/>
                  </a:cubicBezTo>
                  <a:lnTo>
                    <a:pt x="1116264" y="360528"/>
                  </a:lnTo>
                  <a:lnTo>
                    <a:pt x="1114022" y="352987"/>
                  </a:lnTo>
                  <a:lnTo>
                    <a:pt x="1112248" y="346185"/>
                  </a:lnTo>
                  <a:lnTo>
                    <a:pt x="1042994" y="14142"/>
                  </a:lnTo>
                  <a:lnTo>
                    <a:pt x="1034713" y="17935"/>
                  </a:lnTo>
                  <a:lnTo>
                    <a:pt x="1030978" y="0"/>
                  </a:lnTo>
                  <a:cubicBezTo>
                    <a:pt x="847440" y="154959"/>
                    <a:pt x="-9446" y="230053"/>
                    <a:pt x="79" y="1071910"/>
                  </a:cubicBezTo>
                  <a:cubicBezTo>
                    <a:pt x="12421" y="1221822"/>
                    <a:pt x="295148" y="1305540"/>
                    <a:pt x="694014" y="1347084"/>
                  </a:cubicBezTo>
                  <a:lnTo>
                    <a:pt x="802045" y="1355098"/>
                  </a:lnTo>
                  <a:lnTo>
                    <a:pt x="800563" y="1356893"/>
                  </a:lnTo>
                  <a:lnTo>
                    <a:pt x="880988" y="1360953"/>
                  </a:lnTo>
                  <a:lnTo>
                    <a:pt x="1012529" y="1370710"/>
                  </a:lnTo>
                  <a:cubicBezTo>
                    <a:pt x="1124352" y="1376200"/>
                    <a:pt x="1241024" y="1379429"/>
                    <a:pt x="1360135" y="1380774"/>
                  </a:cubicBezTo>
                  <a:lnTo>
                    <a:pt x="1564740" y="1380069"/>
                  </a:lnTo>
                  <a:lnTo>
                    <a:pt x="1769346" y="1380774"/>
                  </a:lnTo>
                  <a:cubicBezTo>
                    <a:pt x="1888456" y="1379429"/>
                    <a:pt x="2005128" y="1376200"/>
                    <a:pt x="2116952" y="1370710"/>
                  </a:cubicBezTo>
                  <a:lnTo>
                    <a:pt x="2248493" y="1360953"/>
                  </a:lnTo>
                  <a:lnTo>
                    <a:pt x="2328917" y="1356893"/>
                  </a:lnTo>
                  <a:lnTo>
                    <a:pt x="2327436" y="1355098"/>
                  </a:lnTo>
                  <a:lnTo>
                    <a:pt x="2435466" y="1347084"/>
                  </a:lnTo>
                  <a:cubicBezTo>
                    <a:pt x="2834332" y="1305540"/>
                    <a:pt x="3117060" y="1221822"/>
                    <a:pt x="3129401" y="1071910"/>
                  </a:cubicBezTo>
                  <a:cubicBezTo>
                    <a:pt x="3138926" y="230053"/>
                    <a:pt x="2282040" y="154959"/>
                    <a:pt x="2098502" y="0"/>
                  </a:cubicBezTo>
                  <a:close/>
                </a:path>
              </a:pathLst>
            </a:custGeom>
            <a:solidFill>
              <a:srgbClr val="243A5E"/>
            </a:solidFill>
            <a:ln w="12700" cap="flat" cmpd="sng" algn="ctr">
              <a:noFill/>
              <a:prstDash val="solid"/>
              <a:miter lim="800000"/>
            </a:ln>
            <a:effectLst/>
          </p:spPr>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a:ea typeface="+mn-ea"/>
                <a:cs typeface="+mn-cs"/>
              </a:endParaRPr>
            </a:p>
          </p:txBody>
        </p:sp>
      </p:grpSp>
      <p:grpSp>
        <p:nvGrpSpPr>
          <p:cNvPr id="159" name="Group 158">
            <a:extLst>
              <a:ext uri="{FF2B5EF4-FFF2-40B4-BE49-F238E27FC236}">
                <a16:creationId xmlns:a16="http://schemas.microsoft.com/office/drawing/2014/main" id="{554CBEBE-3ED2-4190-A9CD-CAE118A1A6F8}"/>
              </a:ext>
            </a:extLst>
          </p:cNvPr>
          <p:cNvGrpSpPr/>
          <p:nvPr/>
        </p:nvGrpSpPr>
        <p:grpSpPr>
          <a:xfrm>
            <a:off x="4397868" y="5656960"/>
            <a:ext cx="3548419" cy="491520"/>
            <a:chOff x="4155380" y="4849673"/>
            <a:chExt cx="3548419" cy="491520"/>
          </a:xfrm>
        </p:grpSpPr>
        <p:pic>
          <p:nvPicPr>
            <p:cNvPr id="160" name="Picture 2">
              <a:extLst>
                <a:ext uri="{FF2B5EF4-FFF2-40B4-BE49-F238E27FC236}">
                  <a16:creationId xmlns:a16="http://schemas.microsoft.com/office/drawing/2014/main" id="{557CF4BA-F31F-4A31-BDD2-8B88DE01C5F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p:blipFill>
          <p:spPr bwMode="auto">
            <a:xfrm>
              <a:off x="4155380" y="4849673"/>
              <a:ext cx="1117538" cy="491520"/>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61" name="Group 160">
              <a:extLst>
                <a:ext uri="{FF2B5EF4-FFF2-40B4-BE49-F238E27FC236}">
                  <a16:creationId xmlns:a16="http://schemas.microsoft.com/office/drawing/2014/main" id="{8FECF214-2617-455F-BB74-F6D6550E9DEB}"/>
                </a:ext>
              </a:extLst>
            </p:cNvPr>
            <p:cNvGrpSpPr/>
            <p:nvPr/>
          </p:nvGrpSpPr>
          <p:grpSpPr>
            <a:xfrm>
              <a:off x="5918636" y="4923071"/>
              <a:ext cx="1089749" cy="337651"/>
              <a:chOff x="4917241" y="4543143"/>
              <a:chExt cx="956564" cy="296385"/>
            </a:xfrm>
          </p:grpSpPr>
          <p:pic>
            <p:nvPicPr>
              <p:cNvPr id="165" name="Graphic 164">
                <a:extLst>
                  <a:ext uri="{FF2B5EF4-FFF2-40B4-BE49-F238E27FC236}">
                    <a16:creationId xmlns:a16="http://schemas.microsoft.com/office/drawing/2014/main" id="{F5B15A1A-EEDF-4E5E-BBD3-DBAF47197BD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347799" y="4595413"/>
                <a:ext cx="191844" cy="191844"/>
              </a:xfrm>
              <a:prstGeom prst="rect">
                <a:avLst/>
              </a:prstGeom>
            </p:spPr>
          </p:pic>
          <p:pic>
            <p:nvPicPr>
              <p:cNvPr id="166" name="Graphic 165">
                <a:extLst>
                  <a:ext uri="{FF2B5EF4-FFF2-40B4-BE49-F238E27FC236}">
                    <a16:creationId xmlns:a16="http://schemas.microsoft.com/office/drawing/2014/main" id="{E6A9705C-CB58-4D35-8C7E-2075ED5B0B65}"/>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673808" y="4591337"/>
                <a:ext cx="199997" cy="199997"/>
              </a:xfrm>
              <a:prstGeom prst="rect">
                <a:avLst/>
              </a:prstGeom>
            </p:spPr>
          </p:pic>
          <p:grpSp>
            <p:nvGrpSpPr>
              <p:cNvPr id="167" name="Group 166">
                <a:extLst>
                  <a:ext uri="{FF2B5EF4-FFF2-40B4-BE49-F238E27FC236}">
                    <a16:creationId xmlns:a16="http://schemas.microsoft.com/office/drawing/2014/main" id="{6818F537-8D85-4160-AE28-97DEC1C805D5}"/>
                  </a:ext>
                </a:extLst>
              </p:cNvPr>
              <p:cNvGrpSpPr/>
              <p:nvPr/>
            </p:nvGrpSpPr>
            <p:grpSpPr>
              <a:xfrm>
                <a:off x="4917241" y="4543143"/>
                <a:ext cx="296384" cy="296385"/>
                <a:chOff x="3784827" y="4214946"/>
                <a:chExt cx="457550" cy="457550"/>
              </a:xfrm>
            </p:grpSpPr>
            <p:sp>
              <p:nvSpPr>
                <p:cNvPr id="168" name="Rectangle 167">
                  <a:extLst>
                    <a:ext uri="{FF2B5EF4-FFF2-40B4-BE49-F238E27FC236}">
                      <a16:creationId xmlns:a16="http://schemas.microsoft.com/office/drawing/2014/main" id="{B52CF950-5E3B-4630-8AEF-73744D6B4CBC}"/>
                    </a:ext>
                  </a:extLst>
                </p:cNvPr>
                <p:cNvSpPr/>
                <p:nvPr/>
              </p:nvSpPr>
              <p:spPr bwMode="auto">
                <a:xfrm>
                  <a:off x="3893349" y="4320027"/>
                  <a:ext cx="240506" cy="24765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9" name="Graphic 168" descr="Azure Storage">
                  <a:extLst>
                    <a:ext uri="{FF2B5EF4-FFF2-40B4-BE49-F238E27FC236}">
                      <a16:creationId xmlns:a16="http://schemas.microsoft.com/office/drawing/2014/main" id="{AFE130BA-2C6B-40BB-9726-D962BD2FC45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784827" y="4214946"/>
                  <a:ext cx="457550" cy="457550"/>
                </a:xfrm>
                <a:prstGeom prst="rect">
                  <a:avLst/>
                </a:prstGeom>
              </p:spPr>
            </p:pic>
          </p:grpSp>
        </p:grpSp>
        <p:pic>
          <p:nvPicPr>
            <p:cNvPr id="162" name="Picture 10" descr="See the source image">
              <a:extLst>
                <a:ext uri="{FF2B5EF4-FFF2-40B4-BE49-F238E27FC236}">
                  <a16:creationId xmlns:a16="http://schemas.microsoft.com/office/drawing/2014/main" id="{3611DFEC-8BD1-442D-AF36-ABC29FABC54F}"/>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356032" y="5005244"/>
              <a:ext cx="399232" cy="195945"/>
            </a:xfrm>
            <a:prstGeom prst="rect">
              <a:avLst/>
            </a:prstGeom>
            <a:noFill/>
            <a:extLst>
              <a:ext uri="{909E8E84-426E-40DD-AFC4-6F175D3DCCD1}">
                <a14:hiddenFill xmlns:a14="http://schemas.microsoft.com/office/drawing/2010/main">
                  <a:solidFill>
                    <a:srgbClr val="FFFFFF"/>
                  </a:solidFill>
                </a14:hiddenFill>
              </a:ext>
            </a:extLst>
          </p:spPr>
        </p:pic>
        <p:pic>
          <p:nvPicPr>
            <p:cNvPr id="163" name="Databricks" descr=" Databricks">
              <a:extLst>
                <a:ext uri="{FF2B5EF4-FFF2-40B4-BE49-F238E27FC236}">
                  <a16:creationId xmlns:a16="http://schemas.microsoft.com/office/drawing/2014/main" id="{E7D36CC1-F61C-4023-8F2B-195B9F06BCB8}"/>
                </a:ext>
              </a:extLst>
            </p:cNvPr>
            <p:cNvPicPr>
              <a:picLocks noChangeAspect="1"/>
            </p:cNvPicPr>
            <p:nvPr/>
          </p:nvPicPr>
          <p:blipFill>
            <a:blip r:embed="rId19"/>
            <a:stretch>
              <a:fillRect/>
            </a:stretch>
          </p:blipFill>
          <p:spPr>
            <a:xfrm>
              <a:off x="7508536" y="4998005"/>
              <a:ext cx="195263" cy="187782"/>
            </a:xfrm>
            <a:prstGeom prst="rect">
              <a:avLst/>
            </a:prstGeom>
          </p:spPr>
        </p:pic>
        <p:pic>
          <p:nvPicPr>
            <p:cNvPr id="164" name="Graphic 163">
              <a:extLst>
                <a:ext uri="{FF2B5EF4-FFF2-40B4-BE49-F238E27FC236}">
                  <a16:creationId xmlns:a16="http://schemas.microsoft.com/office/drawing/2014/main" id="{1D886EC6-65B5-41BB-8465-FD6904B7EFE3}"/>
                </a:ext>
              </a:extLst>
            </p:cNvPr>
            <p:cNvPicPr>
              <a:picLocks noChangeAspect="1"/>
            </p:cNvPicPr>
            <p:nvPr/>
          </p:nvPicPr>
          <p:blipFill>
            <a:blip r:embed="rId20">
              <a:extLst>
                <a:ext uri="{28A0092B-C50C-407E-A947-70E740481C1C}">
                  <a14:useLocalDpi xmlns:a14="http://schemas.microsoft.com/office/drawing/2010/main"/>
                </a:ext>
                <a:ext uri="{96DAC541-7B7A-43D3-8B79-37D633B846F1}">
                  <asvg:svgBlip xmlns:asvg="http://schemas.microsoft.com/office/drawing/2016/SVG/main" r:embed="rId21"/>
                </a:ext>
              </a:extLst>
            </a:blip>
            <a:srcRect/>
            <a:stretch/>
          </p:blipFill>
          <p:spPr>
            <a:xfrm>
              <a:off x="7146414" y="4977975"/>
              <a:ext cx="218555" cy="209371"/>
            </a:xfrm>
            <a:prstGeom prst="rect">
              <a:avLst/>
            </a:prstGeom>
          </p:spPr>
        </p:pic>
      </p:grpSp>
      <p:sp>
        <p:nvSpPr>
          <p:cNvPr id="16" name="Title 15">
            <a:extLst>
              <a:ext uri="{FF2B5EF4-FFF2-40B4-BE49-F238E27FC236}">
                <a16:creationId xmlns:a16="http://schemas.microsoft.com/office/drawing/2014/main" id="{47B4C548-8907-4050-A814-D4036FA7CE2A}"/>
              </a:ext>
            </a:extLst>
          </p:cNvPr>
          <p:cNvSpPr>
            <a:spLocks noGrp="1"/>
          </p:cNvSpPr>
          <p:nvPr>
            <p:ph type="title"/>
          </p:nvPr>
        </p:nvSpPr>
        <p:spPr/>
        <p:txBody>
          <a:bodyPr/>
          <a:lstStyle/>
          <a:p>
            <a:r>
              <a:rPr lang="en-US"/>
              <a:t>Building AI-powered apps</a:t>
            </a:r>
          </a:p>
        </p:txBody>
      </p:sp>
      <p:sp>
        <p:nvSpPr>
          <p:cNvPr id="127" name="TextBox 126">
            <a:extLst>
              <a:ext uri="{FF2B5EF4-FFF2-40B4-BE49-F238E27FC236}">
                <a16:creationId xmlns:a16="http://schemas.microsoft.com/office/drawing/2014/main" id="{00E20A98-52ED-4E22-9F26-CB7814DEA92F}"/>
              </a:ext>
            </a:extLst>
          </p:cNvPr>
          <p:cNvSpPr txBox="1"/>
          <p:nvPr/>
        </p:nvSpPr>
        <p:spPr>
          <a:xfrm>
            <a:off x="8343122" y="4432940"/>
            <a:ext cx="1165172"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Azure Machine Learning</a:t>
            </a:r>
          </a:p>
        </p:txBody>
      </p:sp>
      <p:grpSp>
        <p:nvGrpSpPr>
          <p:cNvPr id="128" name="Group 127">
            <a:extLst>
              <a:ext uri="{FF2B5EF4-FFF2-40B4-BE49-F238E27FC236}">
                <a16:creationId xmlns:a16="http://schemas.microsoft.com/office/drawing/2014/main" id="{4B1507CD-A21A-408A-9E59-4850D8C1602E}"/>
              </a:ext>
            </a:extLst>
          </p:cNvPr>
          <p:cNvGrpSpPr>
            <a:grpSpLocks noChangeAspect="1"/>
          </p:cNvGrpSpPr>
          <p:nvPr/>
        </p:nvGrpSpPr>
        <p:grpSpPr>
          <a:xfrm>
            <a:off x="8779692" y="4010782"/>
            <a:ext cx="292032" cy="308470"/>
            <a:chOff x="3778895" y="539838"/>
            <a:chExt cx="5288905" cy="5586594"/>
          </a:xfrm>
        </p:grpSpPr>
        <p:sp>
          <p:nvSpPr>
            <p:cNvPr id="141" name="Freeform: Shape 140">
              <a:extLst>
                <a:ext uri="{FF2B5EF4-FFF2-40B4-BE49-F238E27FC236}">
                  <a16:creationId xmlns:a16="http://schemas.microsoft.com/office/drawing/2014/main" id="{E8AEC22A-775A-49F1-AD51-DD61E3FB679D}"/>
                </a:ext>
              </a:extLst>
            </p:cNvPr>
            <p:cNvSpPr/>
            <p:nvPr/>
          </p:nvSpPr>
          <p:spPr bwMode="auto">
            <a:xfrm>
              <a:off x="3807487" y="4731642"/>
              <a:ext cx="5256129" cy="1364366"/>
            </a:xfrm>
            <a:custGeom>
              <a:avLst/>
              <a:gdLst>
                <a:gd name="connsiteX0" fmla="*/ 2122714 w 2277836"/>
                <a:gd name="connsiteY0" fmla="*/ 598714 h 598714"/>
                <a:gd name="connsiteX1" fmla="*/ 144236 w 2277836"/>
                <a:gd name="connsiteY1" fmla="*/ 598714 h 598714"/>
                <a:gd name="connsiteX2" fmla="*/ 0 w 2277836"/>
                <a:gd name="connsiteY2" fmla="*/ 0 h 598714"/>
                <a:gd name="connsiteX3" fmla="*/ 2277836 w 2277836"/>
                <a:gd name="connsiteY3" fmla="*/ 0 h 598714"/>
                <a:gd name="connsiteX4" fmla="*/ 2122714 w 2277836"/>
                <a:gd name="connsiteY4" fmla="*/ 598714 h 598714"/>
                <a:gd name="connsiteX0" fmla="*/ 2132773 w 2287895"/>
                <a:gd name="connsiteY0" fmla="*/ 598714 h 598714"/>
                <a:gd name="connsiteX1" fmla="*/ 154295 w 2287895"/>
                <a:gd name="connsiteY1" fmla="*/ 598714 h 598714"/>
                <a:gd name="connsiteX2" fmla="*/ 0 w 2287895"/>
                <a:gd name="connsiteY2" fmla="*/ 43268 h 598714"/>
                <a:gd name="connsiteX3" fmla="*/ 2287895 w 2287895"/>
                <a:gd name="connsiteY3" fmla="*/ 0 h 598714"/>
                <a:gd name="connsiteX4" fmla="*/ 2132773 w 2287895"/>
                <a:gd name="connsiteY4" fmla="*/ 598714 h 598714"/>
                <a:gd name="connsiteX0" fmla="*/ 2132773 w 2321424"/>
                <a:gd name="connsiteY0" fmla="*/ 555446 h 555446"/>
                <a:gd name="connsiteX1" fmla="*/ 154295 w 2321424"/>
                <a:gd name="connsiteY1" fmla="*/ 555446 h 555446"/>
                <a:gd name="connsiteX2" fmla="*/ 0 w 2321424"/>
                <a:gd name="connsiteY2" fmla="*/ 0 h 555446"/>
                <a:gd name="connsiteX3" fmla="*/ 2321424 w 2321424"/>
                <a:gd name="connsiteY3" fmla="*/ 21637 h 555446"/>
                <a:gd name="connsiteX4" fmla="*/ 2132773 w 2321424"/>
                <a:gd name="connsiteY4" fmla="*/ 555446 h 555446"/>
                <a:gd name="connsiteX0" fmla="*/ 2132773 w 2321424"/>
                <a:gd name="connsiteY0" fmla="*/ 555446 h 555446"/>
                <a:gd name="connsiteX1" fmla="*/ 154295 w 2321424"/>
                <a:gd name="connsiteY1" fmla="*/ 555446 h 555446"/>
                <a:gd name="connsiteX2" fmla="*/ 0 w 2321424"/>
                <a:gd name="connsiteY2" fmla="*/ 0 h 555446"/>
                <a:gd name="connsiteX3" fmla="*/ 2321424 w 2321424"/>
                <a:gd name="connsiteY3" fmla="*/ 9272 h 555446"/>
                <a:gd name="connsiteX4" fmla="*/ 2132773 w 2321424"/>
                <a:gd name="connsiteY4" fmla="*/ 555446 h 555446"/>
                <a:gd name="connsiteX0" fmla="*/ 2132774 w 2321424"/>
                <a:gd name="connsiteY0" fmla="*/ 555446 h 555446"/>
                <a:gd name="connsiteX1" fmla="*/ 154295 w 2321424"/>
                <a:gd name="connsiteY1" fmla="*/ 555446 h 555446"/>
                <a:gd name="connsiteX2" fmla="*/ 0 w 2321424"/>
                <a:gd name="connsiteY2" fmla="*/ 0 h 555446"/>
                <a:gd name="connsiteX3" fmla="*/ 2321424 w 2321424"/>
                <a:gd name="connsiteY3" fmla="*/ 9272 h 555446"/>
                <a:gd name="connsiteX4" fmla="*/ 2132774 w 2321424"/>
                <a:gd name="connsiteY4" fmla="*/ 555446 h 555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1424" h="555446">
                  <a:moveTo>
                    <a:pt x="2132774" y="555446"/>
                  </a:moveTo>
                  <a:lnTo>
                    <a:pt x="154295" y="555446"/>
                  </a:lnTo>
                  <a:lnTo>
                    <a:pt x="0" y="0"/>
                  </a:lnTo>
                  <a:lnTo>
                    <a:pt x="2321424" y="9272"/>
                  </a:lnTo>
                  <a:lnTo>
                    <a:pt x="2132774" y="555446"/>
                  </a:lnTo>
                  <a:close/>
                </a:path>
              </a:pathLst>
            </a:custGeom>
            <a:solidFill>
              <a:srgbClr val="153C63"/>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Freeform: Shape 141">
              <a:extLst>
                <a:ext uri="{FF2B5EF4-FFF2-40B4-BE49-F238E27FC236}">
                  <a16:creationId xmlns:a16="http://schemas.microsoft.com/office/drawing/2014/main" id="{FD1E6EB8-EE6B-444A-A99D-D90150100B7F}"/>
                </a:ext>
              </a:extLst>
            </p:cNvPr>
            <p:cNvSpPr/>
            <p:nvPr/>
          </p:nvSpPr>
          <p:spPr bwMode="auto">
            <a:xfrm>
              <a:off x="3778895" y="611998"/>
              <a:ext cx="3395182" cy="5490170"/>
            </a:xfrm>
            <a:custGeom>
              <a:avLst/>
              <a:gdLst>
                <a:gd name="connsiteX0" fmla="*/ 1453243 w 1453243"/>
                <a:gd name="connsiteY0" fmla="*/ 906235 h 2424792"/>
                <a:gd name="connsiteX1" fmla="*/ 1453243 w 1453243"/>
                <a:gd name="connsiteY1" fmla="*/ 0 h 2424792"/>
                <a:gd name="connsiteX2" fmla="*/ 846364 w 1453243"/>
                <a:gd name="connsiteY2" fmla="*/ 0 h 2424792"/>
                <a:gd name="connsiteX3" fmla="*/ 846364 w 1453243"/>
                <a:gd name="connsiteY3" fmla="*/ 911678 h 2424792"/>
                <a:gd name="connsiteX4" fmla="*/ 0 w 1453243"/>
                <a:gd name="connsiteY4" fmla="*/ 1758042 h 2424792"/>
                <a:gd name="connsiteX5" fmla="*/ 166007 w 1453243"/>
                <a:gd name="connsiteY5" fmla="*/ 2424792 h 2424792"/>
                <a:gd name="connsiteX6" fmla="*/ 1453243 w 1453243"/>
                <a:gd name="connsiteY6" fmla="*/ 906235 h 2424792"/>
                <a:gd name="connsiteX0" fmla="*/ 1453243 w 1453243"/>
                <a:gd name="connsiteY0" fmla="*/ 906235 h 2424792"/>
                <a:gd name="connsiteX1" fmla="*/ 1453243 w 1453243"/>
                <a:gd name="connsiteY1" fmla="*/ 0 h 2424792"/>
                <a:gd name="connsiteX2" fmla="*/ 846364 w 1453243"/>
                <a:gd name="connsiteY2" fmla="*/ 0 h 2424792"/>
                <a:gd name="connsiteX3" fmla="*/ 846364 w 1453243"/>
                <a:gd name="connsiteY3" fmla="*/ 911678 h 2424792"/>
                <a:gd name="connsiteX4" fmla="*/ 0 w 1453243"/>
                <a:gd name="connsiteY4" fmla="*/ 1820635 h 2424792"/>
                <a:gd name="connsiteX5" fmla="*/ 166007 w 1453243"/>
                <a:gd name="connsiteY5" fmla="*/ 2424792 h 2424792"/>
                <a:gd name="connsiteX6" fmla="*/ 1453243 w 1453243"/>
                <a:gd name="connsiteY6" fmla="*/ 906235 h 2424792"/>
                <a:gd name="connsiteX0" fmla="*/ 1447800 w 1447800"/>
                <a:gd name="connsiteY0" fmla="*/ 906235 h 2424792"/>
                <a:gd name="connsiteX1" fmla="*/ 1447800 w 1447800"/>
                <a:gd name="connsiteY1" fmla="*/ 0 h 2424792"/>
                <a:gd name="connsiteX2" fmla="*/ 840921 w 1447800"/>
                <a:gd name="connsiteY2" fmla="*/ 0 h 2424792"/>
                <a:gd name="connsiteX3" fmla="*/ 840921 w 1447800"/>
                <a:gd name="connsiteY3" fmla="*/ 911678 h 2424792"/>
                <a:gd name="connsiteX4" fmla="*/ 0 w 1447800"/>
                <a:gd name="connsiteY4" fmla="*/ 1839685 h 2424792"/>
                <a:gd name="connsiteX5" fmla="*/ 160564 w 1447800"/>
                <a:gd name="connsiteY5" fmla="*/ 2424792 h 2424792"/>
                <a:gd name="connsiteX6" fmla="*/ 1447800 w 1447800"/>
                <a:gd name="connsiteY6" fmla="*/ 906235 h 2424792"/>
                <a:gd name="connsiteX0" fmla="*/ 1447800 w 1447800"/>
                <a:gd name="connsiteY0" fmla="*/ 906235 h 2424792"/>
                <a:gd name="connsiteX1" fmla="*/ 1447800 w 1447800"/>
                <a:gd name="connsiteY1" fmla="*/ 0 h 2424792"/>
                <a:gd name="connsiteX2" fmla="*/ 840921 w 1447800"/>
                <a:gd name="connsiteY2" fmla="*/ 0 h 2424792"/>
                <a:gd name="connsiteX3" fmla="*/ 840921 w 1447800"/>
                <a:gd name="connsiteY3" fmla="*/ 911678 h 2424792"/>
                <a:gd name="connsiteX4" fmla="*/ 0 w 1447800"/>
                <a:gd name="connsiteY4" fmla="*/ 1839685 h 2424792"/>
                <a:gd name="connsiteX5" fmla="*/ 160564 w 1447800"/>
                <a:gd name="connsiteY5" fmla="*/ 2424792 h 2424792"/>
                <a:gd name="connsiteX6" fmla="*/ 1447800 w 1447800"/>
                <a:gd name="connsiteY6" fmla="*/ 906235 h 2424792"/>
                <a:gd name="connsiteX0" fmla="*/ 1455803 w 1455803"/>
                <a:gd name="connsiteY0" fmla="*/ 906235 h 2424792"/>
                <a:gd name="connsiteX1" fmla="*/ 1455803 w 1455803"/>
                <a:gd name="connsiteY1" fmla="*/ 0 h 2424792"/>
                <a:gd name="connsiteX2" fmla="*/ 848924 w 1455803"/>
                <a:gd name="connsiteY2" fmla="*/ 0 h 2424792"/>
                <a:gd name="connsiteX3" fmla="*/ 848924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55803 w 1455803"/>
                <a:gd name="connsiteY0" fmla="*/ 906235 h 2424792"/>
                <a:gd name="connsiteX1" fmla="*/ 1455803 w 1455803"/>
                <a:gd name="connsiteY1" fmla="*/ 0 h 2424792"/>
                <a:gd name="connsiteX2" fmla="*/ 848924 w 1455803"/>
                <a:gd name="connsiteY2" fmla="*/ 0 h 2424792"/>
                <a:gd name="connsiteX3" fmla="*/ 816911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55803 w 1455803"/>
                <a:gd name="connsiteY0" fmla="*/ 906235 h 2424792"/>
                <a:gd name="connsiteX1" fmla="*/ 1455803 w 1455803"/>
                <a:gd name="connsiteY1" fmla="*/ 0 h 2424792"/>
                <a:gd name="connsiteX2" fmla="*/ 824914 w 1455803"/>
                <a:gd name="connsiteY2" fmla="*/ 8164 h 2424792"/>
                <a:gd name="connsiteX3" fmla="*/ 816911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69142 w 1469142"/>
                <a:gd name="connsiteY0" fmla="*/ 941614 h 2424792"/>
                <a:gd name="connsiteX1" fmla="*/ 1455803 w 1469142"/>
                <a:gd name="connsiteY1" fmla="*/ 0 h 2424792"/>
                <a:gd name="connsiteX2" fmla="*/ 824914 w 1469142"/>
                <a:gd name="connsiteY2" fmla="*/ 8164 h 2424792"/>
                <a:gd name="connsiteX3" fmla="*/ 816911 w 1469142"/>
                <a:gd name="connsiteY3" fmla="*/ 911678 h 2424792"/>
                <a:gd name="connsiteX4" fmla="*/ 0 w 1469142"/>
                <a:gd name="connsiteY4" fmla="*/ 1826078 h 2424792"/>
                <a:gd name="connsiteX5" fmla="*/ 168567 w 1469142"/>
                <a:gd name="connsiteY5" fmla="*/ 2424792 h 2424792"/>
                <a:gd name="connsiteX6" fmla="*/ 1469142 w 1469142"/>
                <a:gd name="connsiteY6" fmla="*/ 941614 h 2424792"/>
                <a:gd name="connsiteX0" fmla="*/ 1469977 w 1469977"/>
                <a:gd name="connsiteY0" fmla="*/ 913498 h 2424792"/>
                <a:gd name="connsiteX1" fmla="*/ 1455803 w 1469977"/>
                <a:gd name="connsiteY1" fmla="*/ 0 h 2424792"/>
                <a:gd name="connsiteX2" fmla="*/ 824914 w 1469977"/>
                <a:gd name="connsiteY2" fmla="*/ 8164 h 2424792"/>
                <a:gd name="connsiteX3" fmla="*/ 816911 w 1469977"/>
                <a:gd name="connsiteY3" fmla="*/ 911678 h 2424792"/>
                <a:gd name="connsiteX4" fmla="*/ 0 w 1469977"/>
                <a:gd name="connsiteY4" fmla="*/ 1826078 h 2424792"/>
                <a:gd name="connsiteX5" fmla="*/ 168567 w 1469977"/>
                <a:gd name="connsiteY5" fmla="*/ 2424792 h 2424792"/>
                <a:gd name="connsiteX6" fmla="*/ 1469977 w 1469977"/>
                <a:gd name="connsiteY6" fmla="*/ 913498 h 2424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9977" h="2424792">
                  <a:moveTo>
                    <a:pt x="1469977" y="913498"/>
                  </a:moveTo>
                  <a:lnTo>
                    <a:pt x="1455803" y="0"/>
                  </a:lnTo>
                  <a:lnTo>
                    <a:pt x="824914" y="8164"/>
                  </a:lnTo>
                  <a:cubicBezTo>
                    <a:pt x="822246" y="309335"/>
                    <a:pt x="819579" y="610507"/>
                    <a:pt x="816911" y="911678"/>
                  </a:cubicBezTo>
                  <a:lnTo>
                    <a:pt x="0" y="1826078"/>
                  </a:lnTo>
                  <a:lnTo>
                    <a:pt x="168567" y="2424792"/>
                  </a:lnTo>
                  <a:lnTo>
                    <a:pt x="1469977" y="913498"/>
                  </a:lnTo>
                  <a:close/>
                </a:path>
              </a:pathLst>
            </a:custGeom>
            <a:gradFill flip="none" rotWithShape="1">
              <a:gsLst>
                <a:gs pos="0">
                  <a:srgbClr val="006DAA"/>
                </a:gs>
                <a:gs pos="50000">
                  <a:srgbClr val="0476B4"/>
                </a:gs>
                <a:gs pos="100000">
                  <a:srgbClr val="33A8E0"/>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Freeform: Shape 143">
              <a:extLst>
                <a:ext uri="{FF2B5EF4-FFF2-40B4-BE49-F238E27FC236}">
                  <a16:creationId xmlns:a16="http://schemas.microsoft.com/office/drawing/2014/main" id="{70DAA559-B7CC-4349-9979-649D57931157}"/>
                </a:ext>
              </a:extLst>
            </p:cNvPr>
            <p:cNvSpPr/>
            <p:nvPr/>
          </p:nvSpPr>
          <p:spPr bwMode="auto">
            <a:xfrm>
              <a:off x="6584972" y="3095203"/>
              <a:ext cx="2482828" cy="3031229"/>
            </a:xfrm>
            <a:custGeom>
              <a:avLst/>
              <a:gdLst>
                <a:gd name="connsiteX0" fmla="*/ 922565 w 1085850"/>
                <a:gd name="connsiteY0" fmla="*/ 1309007 h 1309007"/>
                <a:gd name="connsiteX1" fmla="*/ 922565 w 1085850"/>
                <a:gd name="connsiteY1" fmla="*/ 1309007 h 1309007"/>
                <a:gd name="connsiteX2" fmla="*/ 1085850 w 1085850"/>
                <a:gd name="connsiteY2" fmla="*/ 732065 h 1309007"/>
                <a:gd name="connsiteX3" fmla="*/ 367393 w 1085850"/>
                <a:gd name="connsiteY3" fmla="*/ 0 h 1309007"/>
                <a:gd name="connsiteX4" fmla="*/ 0 w 1085850"/>
                <a:gd name="connsiteY4" fmla="*/ 443593 h 1309007"/>
                <a:gd name="connsiteX5" fmla="*/ 922565 w 1085850"/>
                <a:gd name="connsiteY5" fmla="*/ 1309007 h 1309007"/>
                <a:gd name="connsiteX0" fmla="*/ 0 w 1085850"/>
                <a:gd name="connsiteY0" fmla="*/ 443593 h 1309007"/>
                <a:gd name="connsiteX1" fmla="*/ 922565 w 1085850"/>
                <a:gd name="connsiteY1" fmla="*/ 1309007 h 1309007"/>
                <a:gd name="connsiteX2" fmla="*/ 1085850 w 1085850"/>
                <a:gd name="connsiteY2" fmla="*/ 732065 h 1309007"/>
                <a:gd name="connsiteX3" fmla="*/ 367393 w 1085850"/>
                <a:gd name="connsiteY3" fmla="*/ 0 h 1309007"/>
                <a:gd name="connsiteX4" fmla="*/ 0 w 1085850"/>
                <a:gd name="connsiteY4" fmla="*/ 443593 h 1309007"/>
                <a:gd name="connsiteX0" fmla="*/ 0 w 1085850"/>
                <a:gd name="connsiteY0" fmla="*/ 443593 h 1338773"/>
                <a:gd name="connsiteX1" fmla="*/ 910659 w 1085850"/>
                <a:gd name="connsiteY1" fmla="*/ 1338773 h 1338773"/>
                <a:gd name="connsiteX2" fmla="*/ 1085850 w 1085850"/>
                <a:gd name="connsiteY2" fmla="*/ 732065 h 1338773"/>
                <a:gd name="connsiteX3" fmla="*/ 367393 w 1085850"/>
                <a:gd name="connsiteY3" fmla="*/ 0 h 1338773"/>
                <a:gd name="connsiteX4" fmla="*/ 0 w 1085850"/>
                <a:gd name="connsiteY4" fmla="*/ 443593 h 1338773"/>
                <a:gd name="connsiteX0" fmla="*/ 0 w 1085850"/>
                <a:gd name="connsiteY0" fmla="*/ 443593 h 1338773"/>
                <a:gd name="connsiteX1" fmla="*/ 910659 w 1085850"/>
                <a:gd name="connsiteY1" fmla="*/ 1338773 h 1338773"/>
                <a:gd name="connsiteX2" fmla="*/ 1085850 w 1085850"/>
                <a:gd name="connsiteY2" fmla="*/ 732065 h 1338773"/>
                <a:gd name="connsiteX3" fmla="*/ 367393 w 1085850"/>
                <a:gd name="connsiteY3" fmla="*/ 0 h 1338773"/>
                <a:gd name="connsiteX4" fmla="*/ 0 w 1085850"/>
                <a:gd name="connsiteY4" fmla="*/ 443593 h 1338773"/>
                <a:gd name="connsiteX0" fmla="*/ 0 w 1096566"/>
                <a:gd name="connsiteY0" fmla="*/ 455500 h 1338773"/>
                <a:gd name="connsiteX1" fmla="*/ 921375 w 1096566"/>
                <a:gd name="connsiteY1" fmla="*/ 1338773 h 1338773"/>
                <a:gd name="connsiteX2" fmla="*/ 1096566 w 1096566"/>
                <a:gd name="connsiteY2" fmla="*/ 732065 h 1338773"/>
                <a:gd name="connsiteX3" fmla="*/ 378109 w 1096566"/>
                <a:gd name="connsiteY3" fmla="*/ 0 h 1338773"/>
                <a:gd name="connsiteX4" fmla="*/ 0 w 1096566"/>
                <a:gd name="connsiteY4" fmla="*/ 455500 h 1338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566" h="1338773">
                  <a:moveTo>
                    <a:pt x="0" y="455500"/>
                  </a:moveTo>
                  <a:lnTo>
                    <a:pt x="921375" y="1338773"/>
                  </a:lnTo>
                  <a:lnTo>
                    <a:pt x="1096566" y="732065"/>
                  </a:lnTo>
                  <a:lnTo>
                    <a:pt x="378109" y="0"/>
                  </a:lnTo>
                  <a:lnTo>
                    <a:pt x="0" y="455500"/>
                  </a:lnTo>
                  <a:close/>
                </a:path>
              </a:pathLst>
            </a:custGeom>
            <a:solidFill>
              <a:srgbClr val="006DA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Freeform: Shape 144">
              <a:extLst>
                <a:ext uri="{FF2B5EF4-FFF2-40B4-BE49-F238E27FC236}">
                  <a16:creationId xmlns:a16="http://schemas.microsoft.com/office/drawing/2014/main" id="{1F7761CB-9658-4CDD-BB0D-3BF4A1459D7B}"/>
                </a:ext>
              </a:extLst>
            </p:cNvPr>
            <p:cNvSpPr/>
            <p:nvPr/>
          </p:nvSpPr>
          <p:spPr bwMode="auto">
            <a:xfrm>
              <a:off x="5672594" y="539838"/>
              <a:ext cx="1499553" cy="2131982"/>
            </a:xfrm>
            <a:custGeom>
              <a:avLst/>
              <a:gdLst>
                <a:gd name="connsiteX0" fmla="*/ 1453243 w 1453243"/>
                <a:gd name="connsiteY0" fmla="*/ 906235 h 2424792"/>
                <a:gd name="connsiteX1" fmla="*/ 1453243 w 1453243"/>
                <a:gd name="connsiteY1" fmla="*/ 0 h 2424792"/>
                <a:gd name="connsiteX2" fmla="*/ 846364 w 1453243"/>
                <a:gd name="connsiteY2" fmla="*/ 0 h 2424792"/>
                <a:gd name="connsiteX3" fmla="*/ 846364 w 1453243"/>
                <a:gd name="connsiteY3" fmla="*/ 911678 h 2424792"/>
                <a:gd name="connsiteX4" fmla="*/ 0 w 1453243"/>
                <a:gd name="connsiteY4" fmla="*/ 1758042 h 2424792"/>
                <a:gd name="connsiteX5" fmla="*/ 166007 w 1453243"/>
                <a:gd name="connsiteY5" fmla="*/ 2424792 h 2424792"/>
                <a:gd name="connsiteX6" fmla="*/ 1453243 w 1453243"/>
                <a:gd name="connsiteY6" fmla="*/ 906235 h 2424792"/>
                <a:gd name="connsiteX0" fmla="*/ 1453243 w 1453243"/>
                <a:gd name="connsiteY0" fmla="*/ 906235 h 2424792"/>
                <a:gd name="connsiteX1" fmla="*/ 1453243 w 1453243"/>
                <a:gd name="connsiteY1" fmla="*/ 0 h 2424792"/>
                <a:gd name="connsiteX2" fmla="*/ 846364 w 1453243"/>
                <a:gd name="connsiteY2" fmla="*/ 0 h 2424792"/>
                <a:gd name="connsiteX3" fmla="*/ 846364 w 1453243"/>
                <a:gd name="connsiteY3" fmla="*/ 911678 h 2424792"/>
                <a:gd name="connsiteX4" fmla="*/ 0 w 1453243"/>
                <a:gd name="connsiteY4" fmla="*/ 1820635 h 2424792"/>
                <a:gd name="connsiteX5" fmla="*/ 166007 w 1453243"/>
                <a:gd name="connsiteY5" fmla="*/ 2424792 h 2424792"/>
                <a:gd name="connsiteX6" fmla="*/ 1453243 w 1453243"/>
                <a:gd name="connsiteY6" fmla="*/ 906235 h 2424792"/>
                <a:gd name="connsiteX0" fmla="*/ 1447800 w 1447800"/>
                <a:gd name="connsiteY0" fmla="*/ 906235 h 2424792"/>
                <a:gd name="connsiteX1" fmla="*/ 1447800 w 1447800"/>
                <a:gd name="connsiteY1" fmla="*/ 0 h 2424792"/>
                <a:gd name="connsiteX2" fmla="*/ 840921 w 1447800"/>
                <a:gd name="connsiteY2" fmla="*/ 0 h 2424792"/>
                <a:gd name="connsiteX3" fmla="*/ 840921 w 1447800"/>
                <a:gd name="connsiteY3" fmla="*/ 911678 h 2424792"/>
                <a:gd name="connsiteX4" fmla="*/ 0 w 1447800"/>
                <a:gd name="connsiteY4" fmla="*/ 1839685 h 2424792"/>
                <a:gd name="connsiteX5" fmla="*/ 160564 w 1447800"/>
                <a:gd name="connsiteY5" fmla="*/ 2424792 h 2424792"/>
                <a:gd name="connsiteX6" fmla="*/ 1447800 w 1447800"/>
                <a:gd name="connsiteY6" fmla="*/ 906235 h 2424792"/>
                <a:gd name="connsiteX0" fmla="*/ 1447800 w 1447800"/>
                <a:gd name="connsiteY0" fmla="*/ 906235 h 2424792"/>
                <a:gd name="connsiteX1" fmla="*/ 1447800 w 1447800"/>
                <a:gd name="connsiteY1" fmla="*/ 0 h 2424792"/>
                <a:gd name="connsiteX2" fmla="*/ 840921 w 1447800"/>
                <a:gd name="connsiteY2" fmla="*/ 0 h 2424792"/>
                <a:gd name="connsiteX3" fmla="*/ 840921 w 1447800"/>
                <a:gd name="connsiteY3" fmla="*/ 911678 h 2424792"/>
                <a:gd name="connsiteX4" fmla="*/ 0 w 1447800"/>
                <a:gd name="connsiteY4" fmla="*/ 1839685 h 2424792"/>
                <a:gd name="connsiteX5" fmla="*/ 160564 w 1447800"/>
                <a:gd name="connsiteY5" fmla="*/ 2424792 h 2424792"/>
                <a:gd name="connsiteX6" fmla="*/ 1447800 w 1447800"/>
                <a:gd name="connsiteY6" fmla="*/ 906235 h 2424792"/>
                <a:gd name="connsiteX0" fmla="*/ 1455803 w 1455803"/>
                <a:gd name="connsiteY0" fmla="*/ 906235 h 2424792"/>
                <a:gd name="connsiteX1" fmla="*/ 1455803 w 1455803"/>
                <a:gd name="connsiteY1" fmla="*/ 0 h 2424792"/>
                <a:gd name="connsiteX2" fmla="*/ 848924 w 1455803"/>
                <a:gd name="connsiteY2" fmla="*/ 0 h 2424792"/>
                <a:gd name="connsiteX3" fmla="*/ 848924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55803 w 1455803"/>
                <a:gd name="connsiteY0" fmla="*/ 906235 h 2424792"/>
                <a:gd name="connsiteX1" fmla="*/ 1455803 w 1455803"/>
                <a:gd name="connsiteY1" fmla="*/ 0 h 2424792"/>
                <a:gd name="connsiteX2" fmla="*/ 848924 w 1455803"/>
                <a:gd name="connsiteY2" fmla="*/ 0 h 2424792"/>
                <a:gd name="connsiteX3" fmla="*/ 816911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55803 w 1455803"/>
                <a:gd name="connsiteY0" fmla="*/ 906235 h 2424792"/>
                <a:gd name="connsiteX1" fmla="*/ 1455803 w 1455803"/>
                <a:gd name="connsiteY1" fmla="*/ 0 h 2424792"/>
                <a:gd name="connsiteX2" fmla="*/ 824914 w 1455803"/>
                <a:gd name="connsiteY2" fmla="*/ 8164 h 2424792"/>
                <a:gd name="connsiteX3" fmla="*/ 816911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69142 w 1469142"/>
                <a:gd name="connsiteY0" fmla="*/ 941614 h 2424792"/>
                <a:gd name="connsiteX1" fmla="*/ 1455803 w 1469142"/>
                <a:gd name="connsiteY1" fmla="*/ 0 h 2424792"/>
                <a:gd name="connsiteX2" fmla="*/ 824914 w 1469142"/>
                <a:gd name="connsiteY2" fmla="*/ 8164 h 2424792"/>
                <a:gd name="connsiteX3" fmla="*/ 816911 w 1469142"/>
                <a:gd name="connsiteY3" fmla="*/ 911678 h 2424792"/>
                <a:gd name="connsiteX4" fmla="*/ 0 w 1469142"/>
                <a:gd name="connsiteY4" fmla="*/ 1826078 h 2424792"/>
                <a:gd name="connsiteX5" fmla="*/ 168567 w 1469142"/>
                <a:gd name="connsiteY5" fmla="*/ 2424792 h 2424792"/>
                <a:gd name="connsiteX6" fmla="*/ 1469142 w 1469142"/>
                <a:gd name="connsiteY6" fmla="*/ 941614 h 2424792"/>
                <a:gd name="connsiteX0" fmla="*/ 1469142 w 1469142"/>
                <a:gd name="connsiteY0" fmla="*/ 941614 h 1826078"/>
                <a:gd name="connsiteX1" fmla="*/ 1455803 w 1469142"/>
                <a:gd name="connsiteY1" fmla="*/ 0 h 1826078"/>
                <a:gd name="connsiteX2" fmla="*/ 824914 w 1469142"/>
                <a:gd name="connsiteY2" fmla="*/ 8164 h 1826078"/>
                <a:gd name="connsiteX3" fmla="*/ 816911 w 1469142"/>
                <a:gd name="connsiteY3" fmla="*/ 911678 h 1826078"/>
                <a:gd name="connsiteX4" fmla="*/ 0 w 1469142"/>
                <a:gd name="connsiteY4" fmla="*/ 1826078 h 1826078"/>
                <a:gd name="connsiteX5" fmla="*/ 1469142 w 1469142"/>
                <a:gd name="connsiteY5" fmla="*/ 941614 h 1826078"/>
                <a:gd name="connsiteX0" fmla="*/ 652232 w 652232"/>
                <a:gd name="connsiteY0" fmla="*/ 941614 h 941613"/>
                <a:gd name="connsiteX1" fmla="*/ 638893 w 652232"/>
                <a:gd name="connsiteY1" fmla="*/ 0 h 941613"/>
                <a:gd name="connsiteX2" fmla="*/ 8004 w 652232"/>
                <a:gd name="connsiteY2" fmla="*/ 8164 h 941613"/>
                <a:gd name="connsiteX3" fmla="*/ 1 w 652232"/>
                <a:gd name="connsiteY3" fmla="*/ 911678 h 941613"/>
                <a:gd name="connsiteX4" fmla="*/ 652232 w 652232"/>
                <a:gd name="connsiteY4" fmla="*/ 941614 h 941613"/>
                <a:gd name="connsiteX0" fmla="*/ 652232 w 652232"/>
                <a:gd name="connsiteY0" fmla="*/ 941614 h 951293"/>
                <a:gd name="connsiteX1" fmla="*/ 638893 w 652232"/>
                <a:gd name="connsiteY1" fmla="*/ 0 h 951293"/>
                <a:gd name="connsiteX2" fmla="*/ 8004 w 652232"/>
                <a:gd name="connsiteY2" fmla="*/ 8164 h 951293"/>
                <a:gd name="connsiteX3" fmla="*/ 0 w 652232"/>
                <a:gd name="connsiteY3" fmla="*/ 951293 h 951293"/>
                <a:gd name="connsiteX4" fmla="*/ 652232 w 652232"/>
                <a:gd name="connsiteY4" fmla="*/ 941614 h 951293"/>
                <a:gd name="connsiteX0" fmla="*/ 649246 w 649246"/>
                <a:gd name="connsiteY0" fmla="*/ 941614 h 941613"/>
                <a:gd name="connsiteX1" fmla="*/ 635907 w 649246"/>
                <a:gd name="connsiteY1" fmla="*/ 0 h 941613"/>
                <a:gd name="connsiteX2" fmla="*/ 5018 w 649246"/>
                <a:gd name="connsiteY2" fmla="*/ 8164 h 941613"/>
                <a:gd name="connsiteX3" fmla="*/ 0 w 649246"/>
                <a:gd name="connsiteY3" fmla="*/ 920820 h 941613"/>
                <a:gd name="connsiteX4" fmla="*/ 649246 w 649246"/>
                <a:gd name="connsiteY4" fmla="*/ 941614 h 941613"/>
                <a:gd name="connsiteX0" fmla="*/ 649246 w 649246"/>
                <a:gd name="connsiteY0" fmla="*/ 941614 h 941613"/>
                <a:gd name="connsiteX1" fmla="*/ 635907 w 649246"/>
                <a:gd name="connsiteY1" fmla="*/ 0 h 941613"/>
                <a:gd name="connsiteX2" fmla="*/ 5018 w 649246"/>
                <a:gd name="connsiteY2" fmla="*/ 8164 h 941613"/>
                <a:gd name="connsiteX3" fmla="*/ 0 w 649246"/>
                <a:gd name="connsiteY3" fmla="*/ 936056 h 941613"/>
                <a:gd name="connsiteX4" fmla="*/ 649246 w 649246"/>
                <a:gd name="connsiteY4" fmla="*/ 941614 h 94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9246" h="941613">
                  <a:moveTo>
                    <a:pt x="649246" y="941614"/>
                  </a:moveTo>
                  <a:lnTo>
                    <a:pt x="635907" y="0"/>
                  </a:lnTo>
                  <a:lnTo>
                    <a:pt x="5018" y="8164"/>
                  </a:lnTo>
                  <a:cubicBezTo>
                    <a:pt x="2350" y="309335"/>
                    <a:pt x="2668" y="634885"/>
                    <a:pt x="0" y="936056"/>
                  </a:cubicBezTo>
                  <a:lnTo>
                    <a:pt x="649246" y="941614"/>
                  </a:lnTo>
                  <a:close/>
                </a:path>
              </a:pathLst>
            </a:custGeom>
            <a:gradFill flip="none" rotWithShape="1">
              <a:gsLst>
                <a:gs pos="0">
                  <a:srgbClr val="006DAA"/>
                </a:gs>
                <a:gs pos="50000">
                  <a:srgbClr val="0476B4"/>
                </a:gs>
                <a:gs pos="100000">
                  <a:srgbClr val="0C8BCA"/>
                </a:gs>
              </a:gsLst>
              <a:lin ang="162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9" name="TextBox 148">
            <a:extLst>
              <a:ext uri="{FF2B5EF4-FFF2-40B4-BE49-F238E27FC236}">
                <a16:creationId xmlns:a16="http://schemas.microsoft.com/office/drawing/2014/main" id="{140F0E75-B070-42EF-BA27-ECA063A99B51}"/>
              </a:ext>
            </a:extLst>
          </p:cNvPr>
          <p:cNvSpPr txBox="1"/>
          <p:nvPr/>
        </p:nvSpPr>
        <p:spPr>
          <a:xfrm>
            <a:off x="8561827" y="4793288"/>
            <a:ext cx="727763"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a:ln>
                  <a:noFill/>
                </a:ln>
                <a:solidFill>
                  <a:srgbClr val="00B0F0"/>
                </a:solidFill>
                <a:effectLst/>
                <a:uLnTx/>
                <a:uFillTx/>
                <a:latin typeface="Segoe UI Semibold" panose="020B0702040204020203" pitchFamily="34" charset="0"/>
                <a:ea typeface="+mn-ea"/>
                <a:cs typeface="Segoe UI Semibold" panose="020B0702040204020203" pitchFamily="34" charset="0"/>
              </a:rPr>
              <a:t>Custom models</a:t>
            </a:r>
          </a:p>
        </p:txBody>
      </p:sp>
      <p:sp>
        <p:nvSpPr>
          <p:cNvPr id="150" name="TextBox 149">
            <a:extLst>
              <a:ext uri="{FF2B5EF4-FFF2-40B4-BE49-F238E27FC236}">
                <a16:creationId xmlns:a16="http://schemas.microsoft.com/office/drawing/2014/main" id="{370D011E-73BC-495C-AAE1-FC36AB66833F}"/>
              </a:ext>
            </a:extLst>
          </p:cNvPr>
          <p:cNvSpPr txBox="1"/>
          <p:nvPr/>
        </p:nvSpPr>
        <p:spPr>
          <a:xfrm>
            <a:off x="7438495" y="4793288"/>
            <a:ext cx="777457"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a:ln>
                  <a:noFill/>
                </a:ln>
                <a:solidFill>
                  <a:srgbClr val="00B0F0"/>
                </a:solidFill>
                <a:effectLst/>
                <a:uLnTx/>
                <a:uFillTx/>
                <a:latin typeface="Segoe UI Semibold" panose="020B0702040204020203" pitchFamily="34" charset="0"/>
                <a:ea typeface="+mn-ea"/>
                <a:cs typeface="Segoe UI Semibold" panose="020B0702040204020203" pitchFamily="34" charset="0"/>
              </a:rPr>
              <a:t>Pre-built models</a:t>
            </a:r>
          </a:p>
        </p:txBody>
      </p:sp>
      <p:pic>
        <p:nvPicPr>
          <p:cNvPr id="152" name="Graphic 151">
            <a:extLst>
              <a:ext uri="{FF2B5EF4-FFF2-40B4-BE49-F238E27FC236}">
                <a16:creationId xmlns:a16="http://schemas.microsoft.com/office/drawing/2014/main" id="{2933D3AA-6D54-49CA-8C91-910EFF93DF9A}"/>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7606216" y="3944011"/>
            <a:ext cx="442014" cy="442012"/>
          </a:xfrm>
          <a:prstGeom prst="rect">
            <a:avLst/>
          </a:prstGeom>
        </p:spPr>
      </p:pic>
      <p:sp>
        <p:nvSpPr>
          <p:cNvPr id="153" name="TextBox 152">
            <a:extLst>
              <a:ext uri="{FF2B5EF4-FFF2-40B4-BE49-F238E27FC236}">
                <a16:creationId xmlns:a16="http://schemas.microsoft.com/office/drawing/2014/main" id="{9C3AAB1F-77A3-4562-ACAF-F86F121B2353}"/>
              </a:ext>
            </a:extLst>
          </p:cNvPr>
          <p:cNvSpPr txBox="1"/>
          <p:nvPr/>
        </p:nvSpPr>
        <p:spPr>
          <a:xfrm>
            <a:off x="7512633" y="4432940"/>
            <a:ext cx="629180"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Cognitive Services</a:t>
            </a:r>
          </a:p>
        </p:txBody>
      </p:sp>
      <p:sp>
        <p:nvSpPr>
          <p:cNvPr id="172" name="TextBox 171">
            <a:extLst>
              <a:ext uri="{FF2B5EF4-FFF2-40B4-BE49-F238E27FC236}">
                <a16:creationId xmlns:a16="http://schemas.microsoft.com/office/drawing/2014/main" id="{5FCA0AE5-D80D-4F45-BED7-0B72C0F3434F}"/>
              </a:ext>
            </a:extLst>
          </p:cNvPr>
          <p:cNvSpPr txBox="1"/>
          <p:nvPr/>
        </p:nvSpPr>
        <p:spPr>
          <a:xfrm>
            <a:off x="7991262" y="3744956"/>
            <a:ext cx="703719"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50E6FF"/>
                </a:solidFill>
                <a:effectLst/>
                <a:uLnTx/>
                <a:uFillTx/>
                <a:latin typeface="Segoe UI Semibold" panose="020B0702040204020203" pitchFamily="34" charset="0"/>
                <a:ea typeface="+mn-ea"/>
                <a:cs typeface="Segoe UI Semibold" panose="020B0702040204020203" pitchFamily="34" charset="0"/>
              </a:rPr>
              <a:t>AI Models</a:t>
            </a:r>
          </a:p>
        </p:txBody>
      </p:sp>
      <p:sp>
        <p:nvSpPr>
          <p:cNvPr id="47" name="Rectangle 46">
            <a:extLst>
              <a:ext uri="{FF2B5EF4-FFF2-40B4-BE49-F238E27FC236}">
                <a16:creationId xmlns:a16="http://schemas.microsoft.com/office/drawing/2014/main" id="{06A0ADFA-3EC8-4AEF-BD5C-EABFF9900B15}"/>
              </a:ext>
            </a:extLst>
          </p:cNvPr>
          <p:cNvSpPr/>
          <p:nvPr/>
        </p:nvSpPr>
        <p:spPr bwMode="auto">
          <a:xfrm>
            <a:off x="3297436" y="3592329"/>
            <a:ext cx="2254135" cy="1494368"/>
          </a:xfrm>
          <a:prstGeom prst="rect">
            <a:avLst/>
          </a:prstGeom>
          <a:solidFill>
            <a:srgbClr val="001F36"/>
          </a:solidFill>
          <a:ln w="10795" cap="flat" cmpd="sng" algn="ctr">
            <a:solidFill>
              <a:schemeClr val="accent1"/>
            </a:solidFill>
            <a:prstDash val="dash"/>
          </a:ln>
          <a:effectLst>
            <a:outerShdw blurRad="190500" dist="38100" dir="2700000" algn="tl" rotWithShape="0">
              <a:prstClr val="black">
                <a:alpha val="15000"/>
              </a:prstClr>
            </a:outerShdw>
          </a:effectLst>
        </p:spPr>
        <p:txBody>
          <a:bodyPr rot="0" spcFirstLastPara="0" vertOverflow="overflow" horzOverflow="overflow" vert="horz" wrap="square" lIns="0" tIns="292608"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err="1">
              <a:ln>
                <a:noFill/>
              </a:ln>
              <a:gradFill>
                <a:gsLst>
                  <a:gs pos="7207">
                    <a:srgbClr val="1A1A1A"/>
                  </a:gs>
                  <a:gs pos="22523">
                    <a:srgbClr val="1A1A1A"/>
                  </a:gs>
                </a:gsLst>
                <a:lin ang="5400000" scaled="0"/>
              </a:gradFill>
              <a:effectLst/>
              <a:uLnTx/>
              <a:uFillTx/>
              <a:latin typeface="Segoe UI Semibold"/>
              <a:ea typeface="+mn-ea"/>
              <a:cs typeface="+mn-cs"/>
            </a:endParaRPr>
          </a:p>
        </p:txBody>
      </p:sp>
      <p:sp>
        <p:nvSpPr>
          <p:cNvPr id="151" name="TextBox 150">
            <a:extLst>
              <a:ext uri="{FF2B5EF4-FFF2-40B4-BE49-F238E27FC236}">
                <a16:creationId xmlns:a16="http://schemas.microsoft.com/office/drawing/2014/main" id="{B9349BD3-D3EF-456D-87C5-B7CEB2833C84}"/>
              </a:ext>
            </a:extLst>
          </p:cNvPr>
          <p:cNvSpPr txBox="1"/>
          <p:nvPr/>
        </p:nvSpPr>
        <p:spPr>
          <a:xfrm>
            <a:off x="3835399" y="4274776"/>
            <a:ext cx="1178208"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50E6FF"/>
                </a:solidFill>
                <a:effectLst/>
                <a:uLnTx/>
                <a:uFillTx/>
                <a:latin typeface="Segoe UI Semibold" panose="020B0702040204020203" pitchFamily="34" charset="0"/>
                <a:ea typeface="+mn-ea"/>
                <a:cs typeface="Segoe UI Semibold" panose="020B0702040204020203" pitchFamily="34" charset="0"/>
              </a:rPr>
              <a:t>Application code</a:t>
            </a:r>
          </a:p>
        </p:txBody>
      </p:sp>
    </p:spTree>
    <p:extLst>
      <p:ext uri="{BB962C8B-B14F-4D97-AF65-F5344CB8AC3E}">
        <p14:creationId xmlns:p14="http://schemas.microsoft.com/office/powerpoint/2010/main" val="35024460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94"/>
                                        </p:tgtEl>
                                        <p:attrNameLst>
                                          <p:attrName>style.visibility</p:attrName>
                                        </p:attrNameLst>
                                      </p:cBhvr>
                                      <p:to>
                                        <p:strVal val="visible"/>
                                      </p:to>
                                    </p:set>
                                    <p:animEffect transition="in" filter="fade">
                                      <p:cBhvr>
                                        <p:cTn id="7" dur="1000"/>
                                        <p:tgtEl>
                                          <p:spTgt spid="94"/>
                                        </p:tgtEl>
                                      </p:cBhvr>
                                    </p:animEffect>
                                    <p:anim calcmode="lin" valueType="num">
                                      <p:cBhvr>
                                        <p:cTn id="8" dur="1000" fill="hold"/>
                                        <p:tgtEl>
                                          <p:spTgt spid="94"/>
                                        </p:tgtEl>
                                        <p:attrNameLst>
                                          <p:attrName>ppt_x</p:attrName>
                                        </p:attrNameLst>
                                      </p:cBhvr>
                                      <p:tavLst>
                                        <p:tav tm="0">
                                          <p:val>
                                            <p:strVal val="#ppt_x"/>
                                          </p:val>
                                        </p:tav>
                                        <p:tav tm="100000">
                                          <p:val>
                                            <p:strVal val="#ppt_x"/>
                                          </p:val>
                                        </p:tav>
                                      </p:tavLst>
                                    </p:anim>
                                    <p:anim calcmode="lin" valueType="num">
                                      <p:cBhvr>
                                        <p:cTn id="9" dur="1000" fill="hold"/>
                                        <p:tgtEl>
                                          <p:spTgt spid="9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1"/>
                                        </p:tgtEl>
                                        <p:attrNameLst>
                                          <p:attrName>style.visibility</p:attrName>
                                        </p:attrNameLst>
                                      </p:cBhvr>
                                      <p:to>
                                        <p:strVal val="visible"/>
                                      </p:to>
                                    </p:set>
                                    <p:animEffect transition="in" filter="fade">
                                      <p:cBhvr>
                                        <p:cTn id="12" dur="1000"/>
                                        <p:tgtEl>
                                          <p:spTgt spid="111"/>
                                        </p:tgtEl>
                                      </p:cBhvr>
                                    </p:animEffect>
                                    <p:anim calcmode="lin" valueType="num">
                                      <p:cBhvr>
                                        <p:cTn id="13" dur="1000" fill="hold"/>
                                        <p:tgtEl>
                                          <p:spTgt spid="111"/>
                                        </p:tgtEl>
                                        <p:attrNameLst>
                                          <p:attrName>ppt_x</p:attrName>
                                        </p:attrNameLst>
                                      </p:cBhvr>
                                      <p:tavLst>
                                        <p:tav tm="0">
                                          <p:val>
                                            <p:strVal val="#ppt_x"/>
                                          </p:val>
                                        </p:tav>
                                        <p:tav tm="100000">
                                          <p:val>
                                            <p:strVal val="#ppt_x"/>
                                          </p:val>
                                        </p:tav>
                                      </p:tavLst>
                                    </p:anim>
                                    <p:anim calcmode="lin" valueType="num">
                                      <p:cBhvr>
                                        <p:cTn id="14" dur="1000" fill="hold"/>
                                        <p:tgtEl>
                                          <p:spTgt spid="1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692301-9D57-4E6E-A4D3-9284F8BC03EE}"/>
              </a:ext>
            </a:extLst>
          </p:cNvPr>
          <p:cNvSpPr>
            <a:spLocks noGrp="1"/>
          </p:cNvSpPr>
          <p:nvPr>
            <p:ph type="title"/>
          </p:nvPr>
        </p:nvSpPr>
        <p:spPr/>
        <p:txBody>
          <a:bodyPr/>
          <a:lstStyle/>
          <a:p>
            <a:r>
              <a:rPr lang="en-US" dirty="0"/>
              <a:t>AI in Action: AI for Good – Workplace Safety</a:t>
            </a:r>
          </a:p>
        </p:txBody>
      </p:sp>
      <p:pic>
        <p:nvPicPr>
          <p:cNvPr id="4" name="Picture 3" descr="A desk with a computer in an office&#10;&#10;Description automatically generated">
            <a:extLst>
              <a:ext uri="{FF2B5EF4-FFF2-40B4-BE49-F238E27FC236}">
                <a16:creationId xmlns:a16="http://schemas.microsoft.com/office/drawing/2014/main" id="{5C7336C6-CE3F-492A-8873-F438C8B403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6423" y="1362393"/>
            <a:ext cx="6333295" cy="4749971"/>
          </a:xfrm>
          <a:prstGeom prst="rect">
            <a:avLst/>
          </a:prstGeom>
        </p:spPr>
      </p:pic>
      <p:pic>
        <p:nvPicPr>
          <p:cNvPr id="6" name="Picture 5" descr="A cluttered kitchen&#10;&#10;Description automatically generated">
            <a:extLst>
              <a:ext uri="{FF2B5EF4-FFF2-40B4-BE49-F238E27FC236}">
                <a16:creationId xmlns:a16="http://schemas.microsoft.com/office/drawing/2014/main" id="{3331C2C2-B6DA-4B3E-BB52-EB8198395F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0066" y="1181525"/>
            <a:ext cx="4146891" cy="5529188"/>
          </a:xfrm>
          <a:prstGeom prst="rect">
            <a:avLst/>
          </a:prstGeom>
        </p:spPr>
      </p:pic>
    </p:spTree>
    <p:extLst>
      <p:ext uri="{BB962C8B-B14F-4D97-AF65-F5344CB8AC3E}">
        <p14:creationId xmlns:p14="http://schemas.microsoft.com/office/powerpoint/2010/main" val="73692613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8D201-DE7F-495C-8627-12EC5D0ED883}"/>
              </a:ext>
            </a:extLst>
          </p:cNvPr>
          <p:cNvSpPr>
            <a:spLocks noGrp="1"/>
          </p:cNvSpPr>
          <p:nvPr>
            <p:ph type="title"/>
          </p:nvPr>
        </p:nvSpPr>
        <p:spPr>
          <a:xfrm>
            <a:off x="2370667" y="2187743"/>
            <a:ext cx="6683881" cy="2482515"/>
          </a:xfrm>
        </p:spPr>
        <p:txBody>
          <a:bodyPr vert="horz" lIns="91440" tIns="45720" rIns="91440" bIns="45720" rtlCol="0" anchor="ctr">
            <a:normAutofit/>
          </a:bodyPr>
          <a:lstStyle/>
          <a:p>
            <a:r>
              <a:rPr lang="en-US" sz="6000" kern="1200" dirty="0">
                <a:solidFill>
                  <a:schemeClr val="tx1"/>
                </a:solidFill>
                <a:latin typeface="+mj-lt"/>
                <a:ea typeface="+mj-ea"/>
                <a:cs typeface="+mj-cs"/>
                <a:hlinkClick r:id="rId2"/>
              </a:rPr>
              <a:t>Workplace Safety</a:t>
            </a:r>
            <a:endParaRPr lang="en-US" sz="6000" kern="1200" dirty="0">
              <a:solidFill>
                <a:schemeClr val="tx1"/>
              </a:solidFill>
              <a:latin typeface="+mj-lt"/>
              <a:ea typeface="+mj-ea"/>
              <a:cs typeface="+mj-cs"/>
            </a:endParaRPr>
          </a:p>
        </p:txBody>
      </p:sp>
      <p:pic>
        <p:nvPicPr>
          <p:cNvPr id="22" name="Graphic 5" descr="Play">
            <a:extLst>
              <a:ext uri="{FF2B5EF4-FFF2-40B4-BE49-F238E27FC236}">
                <a16:creationId xmlns:a16="http://schemas.microsoft.com/office/drawing/2014/main" id="{D8C70D86-807D-43BB-9731-F233DD8FE1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8201" y="2743201"/>
            <a:ext cx="1371600" cy="1371600"/>
          </a:xfrm>
          <a:prstGeom prst="rect">
            <a:avLst/>
          </a:prstGeom>
        </p:spPr>
      </p:pic>
    </p:spTree>
    <p:extLst>
      <p:ext uri="{BB962C8B-B14F-4D97-AF65-F5344CB8AC3E}">
        <p14:creationId xmlns:p14="http://schemas.microsoft.com/office/powerpoint/2010/main" val="2742996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95"/>
        <p:cNvGrpSpPr/>
        <p:nvPr/>
      </p:nvGrpSpPr>
      <p:grpSpPr>
        <a:xfrm>
          <a:off x="0" y="0"/>
          <a:ext cx="0" cy="0"/>
          <a:chOff x="0" y="0"/>
          <a:chExt cx="0" cy="0"/>
        </a:xfrm>
      </p:grpSpPr>
      <p:pic>
        <p:nvPicPr>
          <p:cNvPr id="97" name="Google Shape;97;p17"/>
          <p:cNvPicPr preferRelativeResize="0"/>
          <p:nvPr/>
        </p:nvPicPr>
        <p:blipFill rotWithShape="1">
          <a:blip r:embed="rId3">
            <a:alphaModFix/>
          </a:blip>
          <a:srcRect l="8580" t="40240" r="7378" b="13207"/>
          <a:stretch/>
        </p:blipFill>
        <p:spPr>
          <a:xfrm>
            <a:off x="2" y="985315"/>
            <a:ext cx="11087100" cy="4052821"/>
          </a:xfrm>
          <a:prstGeom prst="rect">
            <a:avLst/>
          </a:prstGeom>
          <a:noFill/>
          <a:ln>
            <a:noFill/>
          </a:ln>
        </p:spPr>
      </p:pic>
      <p:sp>
        <p:nvSpPr>
          <p:cNvPr id="98" name="Google Shape;98;p17"/>
          <p:cNvSpPr/>
          <p:nvPr/>
        </p:nvSpPr>
        <p:spPr>
          <a:xfrm>
            <a:off x="0" y="4202616"/>
            <a:ext cx="6680363" cy="1449269"/>
          </a:xfrm>
          <a:prstGeom prst="rect">
            <a:avLst/>
          </a:prstGeom>
          <a:solidFill>
            <a:srgbClr val="2A61E2"/>
          </a:solidFill>
          <a:ln>
            <a:noFill/>
          </a:ln>
        </p:spPr>
        <p:txBody>
          <a:bodyPr spcFirstLastPara="1" wrap="square" lIns="121900" tIns="121900" rIns="121900" bIns="121900" anchor="ctr" anchorCtr="0">
            <a:noAutofit/>
          </a:bodyPr>
          <a:lstStyle/>
          <a:p>
            <a:endParaRPr sz="2400"/>
          </a:p>
        </p:txBody>
      </p:sp>
      <p:sp>
        <p:nvSpPr>
          <p:cNvPr id="3" name="Rectangle 2">
            <a:extLst>
              <a:ext uri="{FF2B5EF4-FFF2-40B4-BE49-F238E27FC236}">
                <a16:creationId xmlns:a16="http://schemas.microsoft.com/office/drawing/2014/main" id="{714E6A81-F086-4B5D-8125-AFB8DB2CD513}"/>
              </a:ext>
            </a:extLst>
          </p:cNvPr>
          <p:cNvSpPr/>
          <p:nvPr/>
        </p:nvSpPr>
        <p:spPr>
          <a:xfrm>
            <a:off x="200981" y="4414289"/>
            <a:ext cx="6278400" cy="995209"/>
          </a:xfrm>
          <a:prstGeom prst="rect">
            <a:avLst/>
          </a:prstGeom>
        </p:spPr>
        <p:txBody>
          <a:bodyPr wrap="square">
            <a:spAutoFit/>
          </a:bodyPr>
          <a:lstStyle/>
          <a:p>
            <a:r>
              <a:rPr lang="en" sz="5867">
                <a:solidFill>
                  <a:srgbClr val="FFFFFF"/>
                </a:solidFill>
                <a:latin typeface="Segoe UI Bold" panose="020B0802040204020203" pitchFamily="34" charset="0"/>
                <a:cs typeface="Segoe UI Bold" panose="020B0802040204020203" pitchFamily="34" charset="0"/>
              </a:rPr>
              <a:t>But </a:t>
            </a:r>
            <a:r>
              <a:rPr lang="en" sz="5867">
                <a:solidFill>
                  <a:schemeClr val="lt1"/>
                </a:solidFill>
                <a:latin typeface="Segoe UI Bold" panose="020B0802040204020203" pitchFamily="34" charset="0"/>
                <a:cs typeface="Segoe UI Bold" panose="020B0802040204020203" pitchFamily="34" charset="0"/>
              </a:rPr>
              <a:t>ML is </a:t>
            </a:r>
            <a:r>
              <a:rPr lang="en-US" sz="5867">
                <a:solidFill>
                  <a:schemeClr val="lt1"/>
                </a:solidFill>
                <a:latin typeface="Segoe UI Bold" panose="020B0802040204020203" pitchFamily="34" charset="0"/>
                <a:cs typeface="Segoe UI Bold" panose="020B0802040204020203" pitchFamily="34" charset="0"/>
              </a:rPr>
              <a:t>HARD</a:t>
            </a:r>
            <a:r>
              <a:rPr lang="en" sz="5867">
                <a:solidFill>
                  <a:schemeClr val="lt1"/>
                </a:solidFill>
                <a:latin typeface="Segoe UI Bold" panose="020B0802040204020203" pitchFamily="34" charset="0"/>
                <a:cs typeface="Segoe UI Bold" panose="020B0802040204020203" pitchFamily="34" charset="0"/>
              </a:rPr>
              <a:t>!</a:t>
            </a:r>
            <a:endParaRPr lang="en-US" sz="5867">
              <a:latin typeface="Segoe UI Bold" panose="020B0802040204020203" pitchFamily="34" charset="0"/>
              <a:cs typeface="Segoe UI Bold" panose="020B0802040204020203" pitchFamily="34" charset="0"/>
            </a:endParaRPr>
          </a:p>
        </p:txBody>
      </p:sp>
    </p:spTree>
    <p:extLst>
      <p:ext uri="{BB962C8B-B14F-4D97-AF65-F5344CB8AC3E}">
        <p14:creationId xmlns:p14="http://schemas.microsoft.com/office/powerpoint/2010/main" val="31501022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20"/>
        <p:cNvGrpSpPr/>
        <p:nvPr/>
      </p:nvGrpSpPr>
      <p:grpSpPr>
        <a:xfrm>
          <a:off x="0" y="0"/>
          <a:ext cx="0" cy="0"/>
          <a:chOff x="0" y="0"/>
          <a:chExt cx="0" cy="0"/>
        </a:xfrm>
      </p:grpSpPr>
      <p:sp>
        <p:nvSpPr>
          <p:cNvPr id="122" name="Google Shape;122;p21"/>
          <p:cNvSpPr/>
          <p:nvPr/>
        </p:nvSpPr>
        <p:spPr>
          <a:xfrm>
            <a:off x="2183100" y="2062475"/>
            <a:ext cx="7826000" cy="2373200"/>
          </a:xfrm>
          <a:prstGeom prst="rect">
            <a:avLst/>
          </a:prstGeom>
          <a:solidFill>
            <a:srgbClr val="052CA3"/>
          </a:solidFill>
          <a:ln>
            <a:noFill/>
          </a:ln>
        </p:spPr>
        <p:txBody>
          <a:bodyPr spcFirstLastPara="1" wrap="square" lIns="91433" tIns="91433" rIns="91433" bIns="91433" anchor="ctr" anchorCtr="0">
            <a:noAutofit/>
          </a:bodyPr>
          <a:lstStyle/>
          <a:p>
            <a:pPr algn="ctr"/>
            <a:r>
              <a:rPr lang="en" sz="4800" b="1">
                <a:solidFill>
                  <a:schemeClr val="lt1"/>
                </a:solidFill>
                <a:latin typeface="Google Sans"/>
                <a:ea typeface="Google Sans"/>
                <a:cs typeface="Google Sans"/>
                <a:sym typeface="Google Sans"/>
              </a:rPr>
              <a:t>Building a model</a:t>
            </a:r>
            <a:endParaRPr sz="4800" b="1">
              <a:solidFill>
                <a:schemeClr val="lt1"/>
              </a:solidFill>
              <a:latin typeface="Google Sans"/>
              <a:ea typeface="Google Sans"/>
              <a:cs typeface="Google Sans"/>
              <a:sym typeface="Google Sans"/>
            </a:endParaRPr>
          </a:p>
        </p:txBody>
      </p:sp>
    </p:spTree>
    <p:extLst>
      <p:ext uri="{BB962C8B-B14F-4D97-AF65-F5344CB8AC3E}">
        <p14:creationId xmlns:p14="http://schemas.microsoft.com/office/powerpoint/2010/main" val="35776610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D24A84-C164-4BE5-98EA-B20A00FDA067}"/>
              </a:ext>
            </a:extLst>
          </p:cNvPr>
          <p:cNvSpPr>
            <a:spLocks noGrp="1"/>
          </p:cNvSpPr>
          <p:nvPr>
            <p:ph type="title"/>
          </p:nvPr>
        </p:nvSpPr>
        <p:spPr/>
        <p:txBody>
          <a:bodyPr/>
          <a:lstStyle/>
          <a:p>
            <a:r>
              <a:rPr lang="en-US"/>
              <a:t>Building blocks for a Data Science Project</a:t>
            </a:r>
          </a:p>
        </p:txBody>
      </p:sp>
      <p:cxnSp>
        <p:nvCxnSpPr>
          <p:cNvPr id="81" name="Straight Arrow Connector 80">
            <a:extLst>
              <a:ext uri="{FF2B5EF4-FFF2-40B4-BE49-F238E27FC236}">
                <a16:creationId xmlns:a16="http://schemas.microsoft.com/office/drawing/2014/main" id="{24A747A7-FE44-45A8-94D3-B5D3BCF96544}"/>
              </a:ext>
            </a:extLst>
          </p:cNvPr>
          <p:cNvCxnSpPr>
            <a:cxnSpLocks/>
          </p:cNvCxnSpPr>
          <p:nvPr/>
        </p:nvCxnSpPr>
        <p:spPr>
          <a:xfrm>
            <a:off x="2993867" y="3945256"/>
            <a:ext cx="319297"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35038E9B-577C-4712-9A55-31085DF490DD}"/>
              </a:ext>
            </a:extLst>
          </p:cNvPr>
          <p:cNvCxnSpPr>
            <a:cxnSpLocks/>
          </p:cNvCxnSpPr>
          <p:nvPr/>
        </p:nvCxnSpPr>
        <p:spPr>
          <a:xfrm>
            <a:off x="5104059" y="3945256"/>
            <a:ext cx="319297"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FED5DCB4-E541-4A4C-8C8E-18580073F554}"/>
              </a:ext>
            </a:extLst>
          </p:cNvPr>
          <p:cNvCxnSpPr>
            <a:cxnSpLocks/>
          </p:cNvCxnSpPr>
          <p:nvPr/>
        </p:nvCxnSpPr>
        <p:spPr>
          <a:xfrm>
            <a:off x="7225772" y="3927258"/>
            <a:ext cx="319297"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7313D4B8-44D4-4119-9670-573BD8BDD19C}"/>
              </a:ext>
            </a:extLst>
          </p:cNvPr>
          <p:cNvCxnSpPr>
            <a:cxnSpLocks/>
          </p:cNvCxnSpPr>
          <p:nvPr/>
        </p:nvCxnSpPr>
        <p:spPr>
          <a:xfrm>
            <a:off x="9364327" y="3919720"/>
            <a:ext cx="319297"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E01BBAB0-3D78-42A0-82F3-BC88A51CF2DD}"/>
              </a:ext>
            </a:extLst>
          </p:cNvPr>
          <p:cNvCxnSpPr>
            <a:cxnSpLocks/>
            <a:stCxn id="78" idx="2"/>
            <a:endCxn id="9" idx="2"/>
          </p:cNvCxnSpPr>
          <p:nvPr/>
        </p:nvCxnSpPr>
        <p:spPr>
          <a:xfrm rot="5400000">
            <a:off x="6441709" y="928212"/>
            <a:ext cx="12450" cy="8462189"/>
          </a:xfrm>
          <a:prstGeom prst="bentConnector3">
            <a:avLst>
              <a:gd name="adj1" fmla="val 3285717"/>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3" name="Group 282">
            <a:extLst>
              <a:ext uri="{FF2B5EF4-FFF2-40B4-BE49-F238E27FC236}">
                <a16:creationId xmlns:a16="http://schemas.microsoft.com/office/drawing/2014/main" id="{A4D0372B-BC89-4EED-8564-DDAC0BE8A516}"/>
              </a:ext>
            </a:extLst>
          </p:cNvPr>
          <p:cNvGrpSpPr/>
          <p:nvPr/>
        </p:nvGrpSpPr>
        <p:grpSpPr>
          <a:xfrm>
            <a:off x="208593" y="3534139"/>
            <a:ext cx="1046890" cy="1027013"/>
            <a:chOff x="212775" y="3604509"/>
            <a:chExt cx="1067882" cy="1047607"/>
          </a:xfrm>
        </p:grpSpPr>
        <p:sp>
          <p:nvSpPr>
            <p:cNvPr id="93" name="Rectangle 92">
              <a:extLst>
                <a:ext uri="{FF2B5EF4-FFF2-40B4-BE49-F238E27FC236}">
                  <a16:creationId xmlns:a16="http://schemas.microsoft.com/office/drawing/2014/main" id="{19888860-1BF3-4A90-99DF-7FE502089451}"/>
                </a:ext>
              </a:extLst>
            </p:cNvPr>
            <p:cNvSpPr/>
            <p:nvPr/>
          </p:nvSpPr>
          <p:spPr>
            <a:xfrm>
              <a:off x="212775" y="4119385"/>
              <a:ext cx="1067882" cy="5327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13" rtlCol="0" anchor="t">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Data sources</a:t>
              </a:r>
            </a:p>
          </p:txBody>
        </p:sp>
        <p:grpSp>
          <p:nvGrpSpPr>
            <p:cNvPr id="94" name="Group 20">
              <a:extLst>
                <a:ext uri="{FF2B5EF4-FFF2-40B4-BE49-F238E27FC236}">
                  <a16:creationId xmlns:a16="http://schemas.microsoft.com/office/drawing/2014/main" id="{C11C2493-B16E-42A0-B345-98647238D8F3}"/>
                </a:ext>
              </a:extLst>
            </p:cNvPr>
            <p:cNvGrpSpPr>
              <a:grpSpLocks noChangeAspect="1"/>
            </p:cNvGrpSpPr>
            <p:nvPr/>
          </p:nvGrpSpPr>
          <p:grpSpPr bwMode="auto">
            <a:xfrm>
              <a:off x="496516" y="3604509"/>
              <a:ext cx="508369" cy="445002"/>
              <a:chOff x="3764" y="3313"/>
              <a:chExt cx="353" cy="309"/>
            </a:xfrm>
            <a:noFill/>
          </p:grpSpPr>
          <p:sp>
            <p:nvSpPr>
              <p:cNvPr id="95" name="Freeform 21">
                <a:extLst>
                  <a:ext uri="{FF2B5EF4-FFF2-40B4-BE49-F238E27FC236}">
                    <a16:creationId xmlns:a16="http://schemas.microsoft.com/office/drawing/2014/main" id="{A1A15F1A-9BE8-49E0-A67C-979D8C37E1B2}"/>
                  </a:ext>
                </a:extLst>
              </p:cNvPr>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6" name="Freeform 22">
                <a:extLst>
                  <a:ext uri="{FF2B5EF4-FFF2-40B4-BE49-F238E27FC236}">
                    <a16:creationId xmlns:a16="http://schemas.microsoft.com/office/drawing/2014/main" id="{2055A2A4-7698-4C40-8086-0FA30B397950}"/>
                  </a:ext>
                </a:extLst>
              </p:cNvPr>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7" name="Freeform 23">
                <a:extLst>
                  <a:ext uri="{FF2B5EF4-FFF2-40B4-BE49-F238E27FC236}">
                    <a16:creationId xmlns:a16="http://schemas.microsoft.com/office/drawing/2014/main" id="{B6B9EC88-EEE8-41A5-978B-AA56CBD4600C}"/>
                  </a:ext>
                </a:extLst>
              </p:cNvPr>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8" name="Freeform 24">
                <a:extLst>
                  <a:ext uri="{FF2B5EF4-FFF2-40B4-BE49-F238E27FC236}">
                    <a16:creationId xmlns:a16="http://schemas.microsoft.com/office/drawing/2014/main" id="{F10AA1AC-9A74-4167-9BBB-F5F2A3C3F74C}"/>
                  </a:ext>
                </a:extLst>
              </p:cNvPr>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9" name="Freeform 25">
                <a:extLst>
                  <a:ext uri="{FF2B5EF4-FFF2-40B4-BE49-F238E27FC236}">
                    <a16:creationId xmlns:a16="http://schemas.microsoft.com/office/drawing/2014/main" id="{CBBBAFC4-EE6F-491D-A1AB-9F80297B20B8}"/>
                  </a:ext>
                </a:extLst>
              </p:cNvPr>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0" name="Freeform 26">
                <a:extLst>
                  <a:ext uri="{FF2B5EF4-FFF2-40B4-BE49-F238E27FC236}">
                    <a16:creationId xmlns:a16="http://schemas.microsoft.com/office/drawing/2014/main" id="{9BCA1333-6B31-414D-8214-1DA282536E18}"/>
                  </a:ext>
                </a:extLst>
              </p:cNvPr>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Freeform 27">
                <a:extLst>
                  <a:ext uri="{FF2B5EF4-FFF2-40B4-BE49-F238E27FC236}">
                    <a16:creationId xmlns:a16="http://schemas.microsoft.com/office/drawing/2014/main" id="{F5401820-80BC-4A1A-B4A7-8A738D8C8AF6}"/>
                  </a:ext>
                </a:extLst>
              </p:cNvPr>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28">
                <a:extLst>
                  <a:ext uri="{FF2B5EF4-FFF2-40B4-BE49-F238E27FC236}">
                    <a16:creationId xmlns:a16="http://schemas.microsoft.com/office/drawing/2014/main" id="{351DAC64-765B-491B-97D4-BA394467AA5D}"/>
                  </a:ext>
                </a:extLst>
              </p:cNvPr>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29">
                <a:extLst>
                  <a:ext uri="{FF2B5EF4-FFF2-40B4-BE49-F238E27FC236}">
                    <a16:creationId xmlns:a16="http://schemas.microsoft.com/office/drawing/2014/main" id="{63F0DE9B-56C6-49AA-B809-8958687B91A2}"/>
                  </a:ext>
                </a:extLst>
              </p:cNvPr>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4" name="Freeform 30">
                <a:extLst>
                  <a:ext uri="{FF2B5EF4-FFF2-40B4-BE49-F238E27FC236}">
                    <a16:creationId xmlns:a16="http://schemas.microsoft.com/office/drawing/2014/main" id="{C8EABEB9-DEDD-4606-BE2C-422BDC665324}"/>
                  </a:ext>
                </a:extLst>
              </p:cNvPr>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5" name="Freeform 31">
                <a:extLst>
                  <a:ext uri="{FF2B5EF4-FFF2-40B4-BE49-F238E27FC236}">
                    <a16:creationId xmlns:a16="http://schemas.microsoft.com/office/drawing/2014/main" id="{435A1456-264C-455D-9B1A-C7D8C632826D}"/>
                  </a:ext>
                </a:extLst>
              </p:cNvPr>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6" name="Freeform 32">
                <a:extLst>
                  <a:ext uri="{FF2B5EF4-FFF2-40B4-BE49-F238E27FC236}">
                    <a16:creationId xmlns:a16="http://schemas.microsoft.com/office/drawing/2014/main" id="{704FA7DF-654D-4CA1-89B2-60AB7EF8CBC6}"/>
                  </a:ext>
                </a:extLst>
              </p:cNvPr>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7" name="Freeform 33">
                <a:extLst>
                  <a:ext uri="{FF2B5EF4-FFF2-40B4-BE49-F238E27FC236}">
                    <a16:creationId xmlns:a16="http://schemas.microsoft.com/office/drawing/2014/main" id="{809E5023-79B9-4D9E-9C80-A79B374E58E7}"/>
                  </a:ext>
                </a:extLst>
              </p:cNvPr>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8" name="Freeform 34">
                <a:extLst>
                  <a:ext uri="{FF2B5EF4-FFF2-40B4-BE49-F238E27FC236}">
                    <a16:creationId xmlns:a16="http://schemas.microsoft.com/office/drawing/2014/main" id="{FABC8410-0D83-43D4-B52A-52ACE393D280}"/>
                  </a:ext>
                </a:extLst>
              </p:cNvPr>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9" name="Freeform 35">
                <a:extLst>
                  <a:ext uri="{FF2B5EF4-FFF2-40B4-BE49-F238E27FC236}">
                    <a16:creationId xmlns:a16="http://schemas.microsoft.com/office/drawing/2014/main" id="{9547E65E-7170-464D-89C1-96883D781184}"/>
                  </a:ext>
                </a:extLst>
              </p:cNvPr>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0" name="Freeform 36">
                <a:extLst>
                  <a:ext uri="{FF2B5EF4-FFF2-40B4-BE49-F238E27FC236}">
                    <a16:creationId xmlns:a16="http://schemas.microsoft.com/office/drawing/2014/main" id="{750A041D-9DA1-4E8D-B3D2-84076CB88162}"/>
                  </a:ext>
                </a:extLst>
              </p:cNvPr>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Freeform 37">
                <a:extLst>
                  <a:ext uri="{FF2B5EF4-FFF2-40B4-BE49-F238E27FC236}">
                    <a16:creationId xmlns:a16="http://schemas.microsoft.com/office/drawing/2014/main" id="{6AB331B9-A44E-473B-BB29-76F5DACBD00B}"/>
                  </a:ext>
                </a:extLst>
              </p:cNvPr>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Freeform 38">
                <a:extLst>
                  <a:ext uri="{FF2B5EF4-FFF2-40B4-BE49-F238E27FC236}">
                    <a16:creationId xmlns:a16="http://schemas.microsoft.com/office/drawing/2014/main" id="{68B5B64F-383D-4CB6-950C-0641C9E8732A}"/>
                  </a:ext>
                </a:extLst>
              </p:cNvPr>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13" name="Left Brace 112">
            <a:extLst>
              <a:ext uri="{FF2B5EF4-FFF2-40B4-BE49-F238E27FC236}">
                <a16:creationId xmlns:a16="http://schemas.microsoft.com/office/drawing/2014/main" id="{893EA38A-3513-4FA6-9A9E-4501A9B59F61}"/>
              </a:ext>
            </a:extLst>
          </p:cNvPr>
          <p:cNvSpPr/>
          <p:nvPr/>
        </p:nvSpPr>
        <p:spPr>
          <a:xfrm flipH="1">
            <a:off x="1001324" y="3287378"/>
            <a:ext cx="422553" cy="1316459"/>
          </a:xfrm>
          <a:prstGeom prst="leftBrace">
            <a:avLst>
              <a:gd name="adj1" fmla="val 0"/>
              <a:gd name="adj2" fmla="val 49033"/>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nvGrpSpPr>
          <p:cNvPr id="284" name="Group 283">
            <a:extLst>
              <a:ext uri="{FF2B5EF4-FFF2-40B4-BE49-F238E27FC236}">
                <a16:creationId xmlns:a16="http://schemas.microsoft.com/office/drawing/2014/main" id="{A5FF9EF8-86B8-4FEF-B7F6-648AF7466B14}"/>
              </a:ext>
            </a:extLst>
          </p:cNvPr>
          <p:cNvGrpSpPr/>
          <p:nvPr/>
        </p:nvGrpSpPr>
        <p:grpSpPr>
          <a:xfrm>
            <a:off x="1163091" y="2403299"/>
            <a:ext cx="2009401" cy="2768945"/>
            <a:chOff x="1186413" y="2450994"/>
            <a:chExt cx="2049694" cy="2824468"/>
          </a:xfrm>
        </p:grpSpPr>
        <p:sp>
          <p:nvSpPr>
            <p:cNvPr id="114" name="TextBox 113">
              <a:extLst>
                <a:ext uri="{FF2B5EF4-FFF2-40B4-BE49-F238E27FC236}">
                  <a16:creationId xmlns:a16="http://schemas.microsoft.com/office/drawing/2014/main" id="{0075502D-4CE5-4706-82B0-EE40DEA0FB89}"/>
                </a:ext>
              </a:extLst>
            </p:cNvPr>
            <p:cNvSpPr txBox="1"/>
            <p:nvPr/>
          </p:nvSpPr>
          <p:spPr>
            <a:xfrm>
              <a:off x="1186413" y="3765690"/>
              <a:ext cx="2015837" cy="440890"/>
            </a:xfrm>
            <a:prstGeom prst="rect">
              <a:avLst/>
            </a:prstGeom>
            <a:noFill/>
          </p:spPr>
          <p:txBody>
            <a:bodyPr wrap="square" lIns="179285" tIns="143428" rIns="179285" bIns="143428"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029" b="0"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Classical ML</a:t>
              </a:r>
            </a:p>
          </p:txBody>
        </p:sp>
        <p:sp>
          <p:nvSpPr>
            <p:cNvPr id="115" name="TextBox 114">
              <a:extLst>
                <a:ext uri="{FF2B5EF4-FFF2-40B4-BE49-F238E27FC236}">
                  <a16:creationId xmlns:a16="http://schemas.microsoft.com/office/drawing/2014/main" id="{5ADBA8F3-0C55-441D-AAEC-212E43983190}"/>
                </a:ext>
              </a:extLst>
            </p:cNvPr>
            <p:cNvSpPr txBox="1"/>
            <p:nvPr/>
          </p:nvSpPr>
          <p:spPr>
            <a:xfrm>
              <a:off x="1220270" y="4834572"/>
              <a:ext cx="2015837" cy="440890"/>
            </a:xfrm>
            <a:prstGeom prst="rect">
              <a:avLst/>
            </a:prstGeom>
            <a:noFill/>
          </p:spPr>
          <p:txBody>
            <a:bodyPr wrap="square" lIns="179285" tIns="143428" rIns="179285" bIns="143428"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029" b="0"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Deep learning</a:t>
              </a:r>
            </a:p>
          </p:txBody>
        </p:sp>
        <p:grpSp>
          <p:nvGrpSpPr>
            <p:cNvPr id="278" name="Group 277">
              <a:extLst>
                <a:ext uri="{FF2B5EF4-FFF2-40B4-BE49-F238E27FC236}">
                  <a16:creationId xmlns:a16="http://schemas.microsoft.com/office/drawing/2014/main" id="{469EAB50-EBA9-4DEE-90B7-4A9CF5B66647}"/>
                </a:ext>
              </a:extLst>
            </p:cNvPr>
            <p:cNvGrpSpPr/>
            <p:nvPr/>
          </p:nvGrpSpPr>
          <p:grpSpPr>
            <a:xfrm>
              <a:off x="1455981" y="2450994"/>
              <a:ext cx="1599571" cy="2811271"/>
              <a:chOff x="1455981" y="2450994"/>
              <a:chExt cx="1599571" cy="2811271"/>
            </a:xfrm>
          </p:grpSpPr>
          <p:sp>
            <p:nvSpPr>
              <p:cNvPr id="4" name="TextBox 3">
                <a:extLst>
                  <a:ext uri="{FF2B5EF4-FFF2-40B4-BE49-F238E27FC236}">
                    <a16:creationId xmlns:a16="http://schemas.microsoft.com/office/drawing/2014/main" id="{7F0406A5-EE37-49A6-9C8A-06AFEA379762}"/>
                  </a:ext>
                </a:extLst>
              </p:cNvPr>
              <p:cNvSpPr txBox="1"/>
              <p:nvPr/>
            </p:nvSpPr>
            <p:spPr>
              <a:xfrm>
                <a:off x="1455981" y="2450994"/>
                <a:ext cx="1597919" cy="55028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rPr>
                  <a:t>Build and train models </a:t>
                </a:r>
              </a:p>
            </p:txBody>
          </p:sp>
          <p:grpSp>
            <p:nvGrpSpPr>
              <p:cNvPr id="61" name="Group 60">
                <a:extLst>
                  <a:ext uri="{FF2B5EF4-FFF2-40B4-BE49-F238E27FC236}">
                    <a16:creationId xmlns:a16="http://schemas.microsoft.com/office/drawing/2014/main" id="{01595755-F460-4360-98F0-3CAFAAA91CF6}"/>
                  </a:ext>
                </a:extLst>
              </p:cNvPr>
              <p:cNvGrpSpPr/>
              <p:nvPr/>
            </p:nvGrpSpPr>
            <p:grpSpPr>
              <a:xfrm>
                <a:off x="1455981" y="2457539"/>
                <a:ext cx="1599571" cy="2804726"/>
                <a:chOff x="3208859" y="4070542"/>
                <a:chExt cx="1458309" cy="2411828"/>
              </a:xfrm>
            </p:grpSpPr>
            <p:sp>
              <p:nvSpPr>
                <p:cNvPr id="9" name="Rectangle 8">
                  <a:extLst>
                    <a:ext uri="{FF2B5EF4-FFF2-40B4-BE49-F238E27FC236}">
                      <a16:creationId xmlns:a16="http://schemas.microsoft.com/office/drawing/2014/main" id="{0C1F3467-7240-4443-9238-C1B9E33ADBA6}"/>
                    </a:ext>
                  </a:extLst>
                </p:cNvPr>
                <p:cNvSpPr/>
                <p:nvPr/>
              </p:nvSpPr>
              <p:spPr bwMode="auto">
                <a:xfrm>
                  <a:off x="3208859" y="4070542"/>
                  <a:ext cx="1456803" cy="241182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 name="Straight Connector 9">
                  <a:extLst>
                    <a:ext uri="{FF2B5EF4-FFF2-40B4-BE49-F238E27FC236}">
                      <a16:creationId xmlns:a16="http://schemas.microsoft.com/office/drawing/2014/main" id="{89135A93-B12F-461D-BD1D-B1A00D97B82F}"/>
                    </a:ext>
                  </a:extLst>
                </p:cNvPr>
                <p:cNvCxnSpPr>
                  <a:cxnSpLocks/>
                </p:cNvCxnSpPr>
                <p:nvPr/>
              </p:nvCxnSpPr>
              <p:spPr>
                <a:xfrm>
                  <a:off x="3208859" y="4541668"/>
                  <a:ext cx="1458309"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306D6DB3-B9D9-452E-A0D9-5D80F78F7CD0}"/>
                  </a:ext>
                </a:extLst>
              </p:cNvPr>
              <p:cNvGrpSpPr/>
              <p:nvPr/>
            </p:nvGrpSpPr>
            <p:grpSpPr>
              <a:xfrm>
                <a:off x="1977313" y="4260192"/>
                <a:ext cx="604535" cy="514992"/>
                <a:chOff x="3097731" y="3411002"/>
                <a:chExt cx="3912131" cy="3332680"/>
              </a:xfrm>
            </p:grpSpPr>
            <p:sp>
              <p:nvSpPr>
                <p:cNvPr id="117" name="Freeform: Shape 399">
                  <a:extLst>
                    <a:ext uri="{FF2B5EF4-FFF2-40B4-BE49-F238E27FC236}">
                      <a16:creationId xmlns:a16="http://schemas.microsoft.com/office/drawing/2014/main" id="{2FCFA153-7062-4ABB-8E36-6A7B9ABE3017}"/>
                    </a:ext>
                  </a:extLst>
                </p:cNvPr>
                <p:cNvSpPr/>
                <p:nvPr/>
              </p:nvSpPr>
              <p:spPr bwMode="auto">
                <a:xfrm>
                  <a:off x="3097731" y="3411002"/>
                  <a:ext cx="3912131" cy="3326728"/>
                </a:xfrm>
                <a:custGeom>
                  <a:avLst/>
                  <a:gdLst>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009850 w 4510936"/>
                    <a:gd name="connsiteY14" fmla="*/ 3835942 h 3835942"/>
                    <a:gd name="connsiteX15" fmla="*/ 1789458 w 4510936"/>
                    <a:gd name="connsiteY15" fmla="*/ 3835942 h 3835942"/>
                    <a:gd name="connsiteX16" fmla="*/ 1792429 w 4510936"/>
                    <a:gd name="connsiteY16" fmla="*/ 3610035 h 3835942"/>
                    <a:gd name="connsiteX17" fmla="*/ 1770743 w 4510936"/>
                    <a:gd name="connsiteY17" fmla="*/ 2832642 h 3835942"/>
                    <a:gd name="connsiteX18" fmla="*/ 1081314 w 4510936"/>
                    <a:gd name="connsiteY18" fmla="*/ 2061571 h 3835942"/>
                    <a:gd name="connsiteX19" fmla="*/ 1562100 w 4510936"/>
                    <a:gd name="connsiteY19" fmla="*/ 1896471 h 3835942"/>
                    <a:gd name="connsiteX20" fmla="*/ 1034142 w 4510936"/>
                    <a:gd name="connsiteY20" fmla="*/ 1807570 h 3835942"/>
                    <a:gd name="connsiteX21" fmla="*/ 1676400 w 4510936"/>
                    <a:gd name="connsiteY21" fmla="*/ 10963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2674257 w 4510936"/>
                    <a:gd name="connsiteY25" fmla="*/ 1626142 h 3835942"/>
                    <a:gd name="connsiteX26" fmla="*/ 2238828 w 4510936"/>
                    <a:gd name="connsiteY26" fmla="*/ 16515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458028 w 4510936"/>
                    <a:gd name="connsiteY30" fmla="*/ 1742256 h 3835942"/>
                    <a:gd name="connsiteX31" fmla="*/ 3721099 w 4510936"/>
                    <a:gd name="connsiteY31" fmla="*/ 2203084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010556 w 4510936"/>
                    <a:gd name="connsiteY42" fmla="*/ 677270 h 3835942"/>
                    <a:gd name="connsiteX43" fmla="*/ 1248228 w 4510936"/>
                    <a:gd name="connsiteY43" fmla="*/ 994770 h 3835942"/>
                    <a:gd name="connsiteX44" fmla="*/ 801914 w 4510936"/>
                    <a:gd name="connsiteY44" fmla="*/ 1571713 h 3835942"/>
                    <a:gd name="connsiteX45" fmla="*/ 542471 w 4510936"/>
                    <a:gd name="connsiteY45" fmla="*/ 1132656 h 3835942"/>
                    <a:gd name="connsiteX46" fmla="*/ 812800 w 4510936"/>
                    <a:gd name="connsiteY46" fmla="*/ 1843856 h 3835942"/>
                    <a:gd name="connsiteX47" fmla="*/ 925285 w 4510936"/>
                    <a:gd name="connsiteY47" fmla="*/ 2235742 h 3835942"/>
                    <a:gd name="connsiteX48" fmla="*/ 651328 w 4510936"/>
                    <a:gd name="connsiteY48" fmla="*/ 2607670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556657 w 4510936"/>
                    <a:gd name="connsiteY49" fmla="*/ 2852599 h 3835942"/>
                    <a:gd name="connsiteX50" fmla="*/ 1580115 w 4510936"/>
                    <a:gd name="connsiteY50" fmla="*/ 3729193 h 3835942"/>
                    <a:gd name="connsiteX51" fmla="*/ 1581642 w 4510936"/>
                    <a:gd name="connsiteY51" fmla="*/ 3835942 h 3835942"/>
                    <a:gd name="connsiteX52" fmla="*/ 1113971 w 4510936"/>
                    <a:gd name="connsiteY52" fmla="*/ 3835942 h 3835942"/>
                    <a:gd name="connsiteX53" fmla="*/ 836413 w 4510936"/>
                    <a:gd name="connsiteY53" fmla="*/ 3086585 h 3835942"/>
                    <a:gd name="connsiteX54" fmla="*/ 116170 w 4510936"/>
                    <a:gd name="connsiteY54" fmla="*/ 2308285 h 3835942"/>
                    <a:gd name="connsiteX55" fmla="*/ 118297 w 4510936"/>
                    <a:gd name="connsiteY55" fmla="*/ 2287181 h 3835942"/>
                    <a:gd name="connsiteX56" fmla="*/ 98842 w 4510936"/>
                    <a:gd name="connsiteY56" fmla="*/ 2263602 h 3835942"/>
                    <a:gd name="connsiteX57" fmla="*/ 0 w 4510936"/>
                    <a:gd name="connsiteY57" fmla="*/ 1940013 h 3835942"/>
                    <a:gd name="connsiteX58" fmla="*/ 98842 w 4510936"/>
                    <a:gd name="connsiteY58" fmla="*/ 1616424 h 3835942"/>
                    <a:gd name="connsiteX59" fmla="*/ 158494 w 4510936"/>
                    <a:gd name="connsiteY59" fmla="*/ 1544125 h 3835942"/>
                    <a:gd name="connsiteX60" fmla="*/ 138294 w 4510936"/>
                    <a:gd name="connsiteY60" fmla="*/ 1479051 h 3835942"/>
                    <a:gd name="connsiteX61" fmla="*/ 124645 w 4510936"/>
                    <a:gd name="connsiteY61" fmla="*/ 1343654 h 3835942"/>
                    <a:gd name="connsiteX62" fmla="*/ 534966 w 4510936"/>
                    <a:gd name="connsiteY62" fmla="*/ 724623 h 3835942"/>
                    <a:gd name="connsiteX63" fmla="*/ 655270 w 4510936"/>
                    <a:gd name="connsiteY63" fmla="*/ 687278 h 3835942"/>
                    <a:gd name="connsiteX64" fmla="*/ 663127 w 4510936"/>
                    <a:gd name="connsiteY64" fmla="*/ 661967 h 3835942"/>
                    <a:gd name="connsiteX65" fmla="*/ 1282159 w 4510936"/>
                    <a:gd name="connsiteY65" fmla="*/ 251645 h 3835942"/>
                    <a:gd name="connsiteX66" fmla="*/ 1417556 w 4510936"/>
                    <a:gd name="connsiteY66" fmla="*/ 265294 h 3835942"/>
                    <a:gd name="connsiteX67" fmla="*/ 1421411 w 4510936"/>
                    <a:gd name="connsiteY67" fmla="*/ 266491 h 3835942"/>
                    <a:gd name="connsiteX68" fmla="*/ 1478933 w 4510936"/>
                    <a:gd name="connsiteY68" fmla="*/ 196773 h 3835942"/>
                    <a:gd name="connsiteX69" fmla="*/ 1953986 w 4510936"/>
                    <a:gd name="connsiteY6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1556657 w 4510936"/>
                    <a:gd name="connsiteY48" fmla="*/ 2852599 h 3835942"/>
                    <a:gd name="connsiteX49" fmla="*/ 1580115 w 4510936"/>
                    <a:gd name="connsiteY49" fmla="*/ 3729193 h 3835942"/>
                    <a:gd name="connsiteX50" fmla="*/ 1581642 w 4510936"/>
                    <a:gd name="connsiteY50" fmla="*/ 3835942 h 3835942"/>
                    <a:gd name="connsiteX51" fmla="*/ 1113971 w 4510936"/>
                    <a:gd name="connsiteY51" fmla="*/ 3835942 h 3835942"/>
                    <a:gd name="connsiteX52" fmla="*/ 836413 w 4510936"/>
                    <a:gd name="connsiteY52" fmla="*/ 3086585 h 3835942"/>
                    <a:gd name="connsiteX53" fmla="*/ 116170 w 4510936"/>
                    <a:gd name="connsiteY53" fmla="*/ 2308285 h 3835942"/>
                    <a:gd name="connsiteX54" fmla="*/ 118297 w 4510936"/>
                    <a:gd name="connsiteY54" fmla="*/ 2287181 h 3835942"/>
                    <a:gd name="connsiteX55" fmla="*/ 98842 w 4510936"/>
                    <a:gd name="connsiteY55" fmla="*/ 2263602 h 3835942"/>
                    <a:gd name="connsiteX56" fmla="*/ 0 w 4510936"/>
                    <a:gd name="connsiteY56" fmla="*/ 1940013 h 3835942"/>
                    <a:gd name="connsiteX57" fmla="*/ 98842 w 4510936"/>
                    <a:gd name="connsiteY57" fmla="*/ 1616424 h 3835942"/>
                    <a:gd name="connsiteX58" fmla="*/ 158494 w 4510936"/>
                    <a:gd name="connsiteY58" fmla="*/ 1544125 h 3835942"/>
                    <a:gd name="connsiteX59" fmla="*/ 138294 w 4510936"/>
                    <a:gd name="connsiteY59" fmla="*/ 1479051 h 3835942"/>
                    <a:gd name="connsiteX60" fmla="*/ 124645 w 4510936"/>
                    <a:gd name="connsiteY60" fmla="*/ 1343654 h 3835942"/>
                    <a:gd name="connsiteX61" fmla="*/ 534966 w 4510936"/>
                    <a:gd name="connsiteY61" fmla="*/ 724623 h 3835942"/>
                    <a:gd name="connsiteX62" fmla="*/ 655270 w 4510936"/>
                    <a:gd name="connsiteY62" fmla="*/ 687278 h 3835942"/>
                    <a:gd name="connsiteX63" fmla="*/ 663127 w 4510936"/>
                    <a:gd name="connsiteY63" fmla="*/ 661967 h 3835942"/>
                    <a:gd name="connsiteX64" fmla="*/ 1282159 w 4510936"/>
                    <a:gd name="connsiteY64" fmla="*/ 251645 h 3835942"/>
                    <a:gd name="connsiteX65" fmla="*/ 1417556 w 4510936"/>
                    <a:gd name="connsiteY65" fmla="*/ 265294 h 3835942"/>
                    <a:gd name="connsiteX66" fmla="*/ 1421411 w 4510936"/>
                    <a:gd name="connsiteY66" fmla="*/ 266491 h 3835942"/>
                    <a:gd name="connsiteX67" fmla="*/ 1478933 w 4510936"/>
                    <a:gd name="connsiteY67" fmla="*/ 196773 h 3835942"/>
                    <a:gd name="connsiteX68" fmla="*/ 1953986 w 4510936"/>
                    <a:gd name="connsiteY6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1556657 w 4510936"/>
                    <a:gd name="connsiteY47" fmla="*/ 2852599 h 3835942"/>
                    <a:gd name="connsiteX48" fmla="*/ 1580115 w 4510936"/>
                    <a:gd name="connsiteY48" fmla="*/ 3729193 h 3835942"/>
                    <a:gd name="connsiteX49" fmla="*/ 1581642 w 4510936"/>
                    <a:gd name="connsiteY49" fmla="*/ 3835942 h 3835942"/>
                    <a:gd name="connsiteX50" fmla="*/ 1113971 w 4510936"/>
                    <a:gd name="connsiteY50" fmla="*/ 3835942 h 3835942"/>
                    <a:gd name="connsiteX51" fmla="*/ 836413 w 4510936"/>
                    <a:gd name="connsiteY51" fmla="*/ 3086585 h 3835942"/>
                    <a:gd name="connsiteX52" fmla="*/ 116170 w 4510936"/>
                    <a:gd name="connsiteY52" fmla="*/ 2308285 h 3835942"/>
                    <a:gd name="connsiteX53" fmla="*/ 118297 w 4510936"/>
                    <a:gd name="connsiteY53" fmla="*/ 2287181 h 3835942"/>
                    <a:gd name="connsiteX54" fmla="*/ 98842 w 4510936"/>
                    <a:gd name="connsiteY54" fmla="*/ 2263602 h 3835942"/>
                    <a:gd name="connsiteX55" fmla="*/ 0 w 4510936"/>
                    <a:gd name="connsiteY55" fmla="*/ 1940013 h 3835942"/>
                    <a:gd name="connsiteX56" fmla="*/ 98842 w 4510936"/>
                    <a:gd name="connsiteY56" fmla="*/ 1616424 h 3835942"/>
                    <a:gd name="connsiteX57" fmla="*/ 158494 w 4510936"/>
                    <a:gd name="connsiteY57" fmla="*/ 1544125 h 3835942"/>
                    <a:gd name="connsiteX58" fmla="*/ 138294 w 4510936"/>
                    <a:gd name="connsiteY58" fmla="*/ 1479051 h 3835942"/>
                    <a:gd name="connsiteX59" fmla="*/ 124645 w 4510936"/>
                    <a:gd name="connsiteY59" fmla="*/ 1343654 h 3835942"/>
                    <a:gd name="connsiteX60" fmla="*/ 534966 w 4510936"/>
                    <a:gd name="connsiteY60" fmla="*/ 724623 h 3835942"/>
                    <a:gd name="connsiteX61" fmla="*/ 655270 w 4510936"/>
                    <a:gd name="connsiteY61" fmla="*/ 687278 h 3835942"/>
                    <a:gd name="connsiteX62" fmla="*/ 663127 w 4510936"/>
                    <a:gd name="connsiteY62" fmla="*/ 661967 h 3835942"/>
                    <a:gd name="connsiteX63" fmla="*/ 1282159 w 4510936"/>
                    <a:gd name="connsiteY63" fmla="*/ 251645 h 3835942"/>
                    <a:gd name="connsiteX64" fmla="*/ 1417556 w 4510936"/>
                    <a:gd name="connsiteY64" fmla="*/ 265294 h 3835942"/>
                    <a:gd name="connsiteX65" fmla="*/ 1421411 w 4510936"/>
                    <a:gd name="connsiteY65" fmla="*/ 266491 h 3835942"/>
                    <a:gd name="connsiteX66" fmla="*/ 1478933 w 4510936"/>
                    <a:gd name="connsiteY66" fmla="*/ 196773 h 3835942"/>
                    <a:gd name="connsiteX67" fmla="*/ 1953986 w 4510936"/>
                    <a:gd name="connsiteY6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1556657 w 4510936"/>
                    <a:gd name="connsiteY46" fmla="*/ 2852599 h 3835942"/>
                    <a:gd name="connsiteX47" fmla="*/ 1580115 w 4510936"/>
                    <a:gd name="connsiteY47" fmla="*/ 3729193 h 3835942"/>
                    <a:gd name="connsiteX48" fmla="*/ 1581642 w 4510936"/>
                    <a:gd name="connsiteY48" fmla="*/ 3835942 h 3835942"/>
                    <a:gd name="connsiteX49" fmla="*/ 1113971 w 4510936"/>
                    <a:gd name="connsiteY49" fmla="*/ 3835942 h 3835942"/>
                    <a:gd name="connsiteX50" fmla="*/ 836413 w 4510936"/>
                    <a:gd name="connsiteY50" fmla="*/ 3086585 h 3835942"/>
                    <a:gd name="connsiteX51" fmla="*/ 116170 w 4510936"/>
                    <a:gd name="connsiteY51" fmla="*/ 2308285 h 3835942"/>
                    <a:gd name="connsiteX52" fmla="*/ 118297 w 4510936"/>
                    <a:gd name="connsiteY52" fmla="*/ 2287181 h 3835942"/>
                    <a:gd name="connsiteX53" fmla="*/ 98842 w 4510936"/>
                    <a:gd name="connsiteY53" fmla="*/ 2263602 h 3835942"/>
                    <a:gd name="connsiteX54" fmla="*/ 0 w 4510936"/>
                    <a:gd name="connsiteY54" fmla="*/ 1940013 h 3835942"/>
                    <a:gd name="connsiteX55" fmla="*/ 98842 w 4510936"/>
                    <a:gd name="connsiteY55" fmla="*/ 1616424 h 3835942"/>
                    <a:gd name="connsiteX56" fmla="*/ 158494 w 4510936"/>
                    <a:gd name="connsiteY56" fmla="*/ 1544125 h 3835942"/>
                    <a:gd name="connsiteX57" fmla="*/ 138294 w 4510936"/>
                    <a:gd name="connsiteY57" fmla="*/ 1479051 h 3835942"/>
                    <a:gd name="connsiteX58" fmla="*/ 124645 w 4510936"/>
                    <a:gd name="connsiteY58" fmla="*/ 1343654 h 3835942"/>
                    <a:gd name="connsiteX59" fmla="*/ 534966 w 4510936"/>
                    <a:gd name="connsiteY59" fmla="*/ 724623 h 3835942"/>
                    <a:gd name="connsiteX60" fmla="*/ 655270 w 4510936"/>
                    <a:gd name="connsiteY60" fmla="*/ 687278 h 3835942"/>
                    <a:gd name="connsiteX61" fmla="*/ 663127 w 4510936"/>
                    <a:gd name="connsiteY61" fmla="*/ 661967 h 3835942"/>
                    <a:gd name="connsiteX62" fmla="*/ 1282159 w 4510936"/>
                    <a:gd name="connsiteY62" fmla="*/ 251645 h 3835942"/>
                    <a:gd name="connsiteX63" fmla="*/ 1417556 w 4510936"/>
                    <a:gd name="connsiteY63" fmla="*/ 265294 h 3835942"/>
                    <a:gd name="connsiteX64" fmla="*/ 1421411 w 4510936"/>
                    <a:gd name="connsiteY64" fmla="*/ 266491 h 3835942"/>
                    <a:gd name="connsiteX65" fmla="*/ 1478933 w 4510936"/>
                    <a:gd name="connsiteY65" fmla="*/ 196773 h 3835942"/>
                    <a:gd name="connsiteX66" fmla="*/ 1953986 w 4510936"/>
                    <a:gd name="connsiteY6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1556657 w 4510936"/>
                    <a:gd name="connsiteY45" fmla="*/ 2852599 h 3835942"/>
                    <a:gd name="connsiteX46" fmla="*/ 1580115 w 4510936"/>
                    <a:gd name="connsiteY46" fmla="*/ 3729193 h 3835942"/>
                    <a:gd name="connsiteX47" fmla="*/ 1581642 w 4510936"/>
                    <a:gd name="connsiteY47" fmla="*/ 3835942 h 3835942"/>
                    <a:gd name="connsiteX48" fmla="*/ 1113971 w 4510936"/>
                    <a:gd name="connsiteY48" fmla="*/ 3835942 h 3835942"/>
                    <a:gd name="connsiteX49" fmla="*/ 836413 w 4510936"/>
                    <a:gd name="connsiteY49" fmla="*/ 3086585 h 3835942"/>
                    <a:gd name="connsiteX50" fmla="*/ 116170 w 4510936"/>
                    <a:gd name="connsiteY50" fmla="*/ 2308285 h 3835942"/>
                    <a:gd name="connsiteX51" fmla="*/ 118297 w 4510936"/>
                    <a:gd name="connsiteY51" fmla="*/ 2287181 h 3835942"/>
                    <a:gd name="connsiteX52" fmla="*/ 98842 w 4510936"/>
                    <a:gd name="connsiteY52" fmla="*/ 2263602 h 3835942"/>
                    <a:gd name="connsiteX53" fmla="*/ 0 w 4510936"/>
                    <a:gd name="connsiteY53" fmla="*/ 1940013 h 3835942"/>
                    <a:gd name="connsiteX54" fmla="*/ 98842 w 4510936"/>
                    <a:gd name="connsiteY54" fmla="*/ 1616424 h 3835942"/>
                    <a:gd name="connsiteX55" fmla="*/ 158494 w 4510936"/>
                    <a:gd name="connsiteY55" fmla="*/ 1544125 h 3835942"/>
                    <a:gd name="connsiteX56" fmla="*/ 138294 w 4510936"/>
                    <a:gd name="connsiteY56" fmla="*/ 1479051 h 3835942"/>
                    <a:gd name="connsiteX57" fmla="*/ 124645 w 4510936"/>
                    <a:gd name="connsiteY57" fmla="*/ 1343654 h 3835942"/>
                    <a:gd name="connsiteX58" fmla="*/ 534966 w 4510936"/>
                    <a:gd name="connsiteY58" fmla="*/ 724623 h 3835942"/>
                    <a:gd name="connsiteX59" fmla="*/ 655270 w 4510936"/>
                    <a:gd name="connsiteY59" fmla="*/ 687278 h 3835942"/>
                    <a:gd name="connsiteX60" fmla="*/ 663127 w 4510936"/>
                    <a:gd name="connsiteY60" fmla="*/ 661967 h 3835942"/>
                    <a:gd name="connsiteX61" fmla="*/ 1282159 w 4510936"/>
                    <a:gd name="connsiteY61" fmla="*/ 251645 h 3835942"/>
                    <a:gd name="connsiteX62" fmla="*/ 1417556 w 4510936"/>
                    <a:gd name="connsiteY62" fmla="*/ 265294 h 3835942"/>
                    <a:gd name="connsiteX63" fmla="*/ 1421411 w 4510936"/>
                    <a:gd name="connsiteY63" fmla="*/ 266491 h 3835942"/>
                    <a:gd name="connsiteX64" fmla="*/ 1478933 w 4510936"/>
                    <a:gd name="connsiteY64" fmla="*/ 196773 h 3835942"/>
                    <a:gd name="connsiteX65" fmla="*/ 1953986 w 4510936"/>
                    <a:gd name="connsiteY6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556657 w 4510936"/>
                    <a:gd name="connsiteY44" fmla="*/ 2852599 h 3835942"/>
                    <a:gd name="connsiteX45" fmla="*/ 1580115 w 4510936"/>
                    <a:gd name="connsiteY45" fmla="*/ 3729193 h 3835942"/>
                    <a:gd name="connsiteX46" fmla="*/ 1581642 w 4510936"/>
                    <a:gd name="connsiteY46" fmla="*/ 3835942 h 3835942"/>
                    <a:gd name="connsiteX47" fmla="*/ 1113971 w 4510936"/>
                    <a:gd name="connsiteY47" fmla="*/ 3835942 h 3835942"/>
                    <a:gd name="connsiteX48" fmla="*/ 836413 w 4510936"/>
                    <a:gd name="connsiteY48" fmla="*/ 3086585 h 3835942"/>
                    <a:gd name="connsiteX49" fmla="*/ 116170 w 4510936"/>
                    <a:gd name="connsiteY49" fmla="*/ 2308285 h 3835942"/>
                    <a:gd name="connsiteX50" fmla="*/ 118297 w 4510936"/>
                    <a:gd name="connsiteY50" fmla="*/ 2287181 h 3835942"/>
                    <a:gd name="connsiteX51" fmla="*/ 98842 w 4510936"/>
                    <a:gd name="connsiteY51" fmla="*/ 2263602 h 3835942"/>
                    <a:gd name="connsiteX52" fmla="*/ 0 w 4510936"/>
                    <a:gd name="connsiteY52" fmla="*/ 1940013 h 3835942"/>
                    <a:gd name="connsiteX53" fmla="*/ 98842 w 4510936"/>
                    <a:gd name="connsiteY53" fmla="*/ 1616424 h 3835942"/>
                    <a:gd name="connsiteX54" fmla="*/ 158494 w 4510936"/>
                    <a:gd name="connsiteY54" fmla="*/ 1544125 h 3835942"/>
                    <a:gd name="connsiteX55" fmla="*/ 138294 w 4510936"/>
                    <a:gd name="connsiteY55" fmla="*/ 1479051 h 3835942"/>
                    <a:gd name="connsiteX56" fmla="*/ 124645 w 4510936"/>
                    <a:gd name="connsiteY56" fmla="*/ 1343654 h 3835942"/>
                    <a:gd name="connsiteX57" fmla="*/ 534966 w 4510936"/>
                    <a:gd name="connsiteY57" fmla="*/ 724623 h 3835942"/>
                    <a:gd name="connsiteX58" fmla="*/ 655270 w 4510936"/>
                    <a:gd name="connsiteY58" fmla="*/ 687278 h 3835942"/>
                    <a:gd name="connsiteX59" fmla="*/ 663127 w 4510936"/>
                    <a:gd name="connsiteY59" fmla="*/ 661967 h 3835942"/>
                    <a:gd name="connsiteX60" fmla="*/ 1282159 w 4510936"/>
                    <a:gd name="connsiteY60" fmla="*/ 251645 h 3835942"/>
                    <a:gd name="connsiteX61" fmla="*/ 1417556 w 4510936"/>
                    <a:gd name="connsiteY61" fmla="*/ 265294 h 3835942"/>
                    <a:gd name="connsiteX62" fmla="*/ 1421411 w 4510936"/>
                    <a:gd name="connsiteY62" fmla="*/ 266491 h 3835942"/>
                    <a:gd name="connsiteX63" fmla="*/ 1478933 w 4510936"/>
                    <a:gd name="connsiteY63" fmla="*/ 196773 h 3835942"/>
                    <a:gd name="connsiteX64" fmla="*/ 1953986 w 4510936"/>
                    <a:gd name="connsiteY6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556657 w 4510936"/>
                    <a:gd name="connsiteY43" fmla="*/ 2852599 h 3835942"/>
                    <a:gd name="connsiteX44" fmla="*/ 1580115 w 4510936"/>
                    <a:gd name="connsiteY44" fmla="*/ 3729193 h 3835942"/>
                    <a:gd name="connsiteX45" fmla="*/ 1581642 w 4510936"/>
                    <a:gd name="connsiteY45" fmla="*/ 3835942 h 3835942"/>
                    <a:gd name="connsiteX46" fmla="*/ 1113971 w 4510936"/>
                    <a:gd name="connsiteY46" fmla="*/ 3835942 h 3835942"/>
                    <a:gd name="connsiteX47" fmla="*/ 836413 w 4510936"/>
                    <a:gd name="connsiteY47" fmla="*/ 3086585 h 3835942"/>
                    <a:gd name="connsiteX48" fmla="*/ 116170 w 4510936"/>
                    <a:gd name="connsiteY48" fmla="*/ 2308285 h 3835942"/>
                    <a:gd name="connsiteX49" fmla="*/ 118297 w 4510936"/>
                    <a:gd name="connsiteY49" fmla="*/ 2287181 h 3835942"/>
                    <a:gd name="connsiteX50" fmla="*/ 98842 w 4510936"/>
                    <a:gd name="connsiteY50" fmla="*/ 2263602 h 3835942"/>
                    <a:gd name="connsiteX51" fmla="*/ 0 w 4510936"/>
                    <a:gd name="connsiteY51" fmla="*/ 1940013 h 3835942"/>
                    <a:gd name="connsiteX52" fmla="*/ 98842 w 4510936"/>
                    <a:gd name="connsiteY52" fmla="*/ 1616424 h 3835942"/>
                    <a:gd name="connsiteX53" fmla="*/ 158494 w 4510936"/>
                    <a:gd name="connsiteY53" fmla="*/ 1544125 h 3835942"/>
                    <a:gd name="connsiteX54" fmla="*/ 138294 w 4510936"/>
                    <a:gd name="connsiteY54" fmla="*/ 1479051 h 3835942"/>
                    <a:gd name="connsiteX55" fmla="*/ 124645 w 4510936"/>
                    <a:gd name="connsiteY55" fmla="*/ 1343654 h 3835942"/>
                    <a:gd name="connsiteX56" fmla="*/ 534966 w 4510936"/>
                    <a:gd name="connsiteY56" fmla="*/ 724623 h 3835942"/>
                    <a:gd name="connsiteX57" fmla="*/ 655270 w 4510936"/>
                    <a:gd name="connsiteY57" fmla="*/ 687278 h 3835942"/>
                    <a:gd name="connsiteX58" fmla="*/ 663127 w 4510936"/>
                    <a:gd name="connsiteY58" fmla="*/ 661967 h 3835942"/>
                    <a:gd name="connsiteX59" fmla="*/ 1282159 w 4510936"/>
                    <a:gd name="connsiteY59" fmla="*/ 251645 h 3835942"/>
                    <a:gd name="connsiteX60" fmla="*/ 1417556 w 4510936"/>
                    <a:gd name="connsiteY60" fmla="*/ 265294 h 3835942"/>
                    <a:gd name="connsiteX61" fmla="*/ 1421411 w 4510936"/>
                    <a:gd name="connsiteY61" fmla="*/ 266491 h 3835942"/>
                    <a:gd name="connsiteX62" fmla="*/ 1478933 w 4510936"/>
                    <a:gd name="connsiteY62" fmla="*/ 196773 h 3835942"/>
                    <a:gd name="connsiteX63" fmla="*/ 1953986 w 4510936"/>
                    <a:gd name="connsiteY6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556657 w 4510936"/>
                    <a:gd name="connsiteY42" fmla="*/ 2852599 h 3835942"/>
                    <a:gd name="connsiteX43" fmla="*/ 1580115 w 4510936"/>
                    <a:gd name="connsiteY43" fmla="*/ 3729193 h 3835942"/>
                    <a:gd name="connsiteX44" fmla="*/ 1581642 w 4510936"/>
                    <a:gd name="connsiteY44" fmla="*/ 3835942 h 3835942"/>
                    <a:gd name="connsiteX45" fmla="*/ 1113971 w 4510936"/>
                    <a:gd name="connsiteY45" fmla="*/ 3835942 h 3835942"/>
                    <a:gd name="connsiteX46" fmla="*/ 836413 w 4510936"/>
                    <a:gd name="connsiteY46" fmla="*/ 3086585 h 3835942"/>
                    <a:gd name="connsiteX47" fmla="*/ 116170 w 4510936"/>
                    <a:gd name="connsiteY47" fmla="*/ 2308285 h 3835942"/>
                    <a:gd name="connsiteX48" fmla="*/ 118297 w 4510936"/>
                    <a:gd name="connsiteY48" fmla="*/ 2287181 h 3835942"/>
                    <a:gd name="connsiteX49" fmla="*/ 98842 w 4510936"/>
                    <a:gd name="connsiteY49" fmla="*/ 2263602 h 3835942"/>
                    <a:gd name="connsiteX50" fmla="*/ 0 w 4510936"/>
                    <a:gd name="connsiteY50" fmla="*/ 1940013 h 3835942"/>
                    <a:gd name="connsiteX51" fmla="*/ 98842 w 4510936"/>
                    <a:gd name="connsiteY51" fmla="*/ 1616424 h 3835942"/>
                    <a:gd name="connsiteX52" fmla="*/ 158494 w 4510936"/>
                    <a:gd name="connsiteY52" fmla="*/ 1544125 h 3835942"/>
                    <a:gd name="connsiteX53" fmla="*/ 138294 w 4510936"/>
                    <a:gd name="connsiteY53" fmla="*/ 1479051 h 3835942"/>
                    <a:gd name="connsiteX54" fmla="*/ 124645 w 4510936"/>
                    <a:gd name="connsiteY54" fmla="*/ 1343654 h 3835942"/>
                    <a:gd name="connsiteX55" fmla="*/ 534966 w 4510936"/>
                    <a:gd name="connsiteY55" fmla="*/ 724623 h 3835942"/>
                    <a:gd name="connsiteX56" fmla="*/ 655270 w 4510936"/>
                    <a:gd name="connsiteY56" fmla="*/ 687278 h 3835942"/>
                    <a:gd name="connsiteX57" fmla="*/ 663127 w 4510936"/>
                    <a:gd name="connsiteY57" fmla="*/ 661967 h 3835942"/>
                    <a:gd name="connsiteX58" fmla="*/ 1282159 w 4510936"/>
                    <a:gd name="connsiteY58" fmla="*/ 251645 h 3835942"/>
                    <a:gd name="connsiteX59" fmla="*/ 1417556 w 4510936"/>
                    <a:gd name="connsiteY59" fmla="*/ 265294 h 3835942"/>
                    <a:gd name="connsiteX60" fmla="*/ 1421411 w 4510936"/>
                    <a:gd name="connsiteY60" fmla="*/ 266491 h 3835942"/>
                    <a:gd name="connsiteX61" fmla="*/ 1478933 w 4510936"/>
                    <a:gd name="connsiteY61" fmla="*/ 196773 h 3835942"/>
                    <a:gd name="connsiteX62" fmla="*/ 1953986 w 4510936"/>
                    <a:gd name="connsiteY6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599542 w 4510936"/>
                    <a:gd name="connsiteY31" fmla="*/ 1528170 h 3835942"/>
                    <a:gd name="connsiteX32" fmla="*/ 3900714 w 4510936"/>
                    <a:gd name="connsiteY32" fmla="*/ 1212485 h 3835942"/>
                    <a:gd name="connsiteX33" fmla="*/ 3358243 w 4510936"/>
                    <a:gd name="connsiteY33" fmla="*/ 1319527 h 3835942"/>
                    <a:gd name="connsiteX34" fmla="*/ 2895600 w 4510936"/>
                    <a:gd name="connsiteY34" fmla="*/ 1132656 h 3835942"/>
                    <a:gd name="connsiteX35" fmla="*/ 3218542 w 4510936"/>
                    <a:gd name="connsiteY35" fmla="*/ 617399 h 3835942"/>
                    <a:gd name="connsiteX36" fmla="*/ 2715985 w 4510936"/>
                    <a:gd name="connsiteY36" fmla="*/ 947598 h 3835942"/>
                    <a:gd name="connsiteX37" fmla="*/ 1948542 w 4510936"/>
                    <a:gd name="connsiteY37" fmla="*/ 925827 h 3835942"/>
                    <a:gd name="connsiteX38" fmla="*/ 2062843 w 4510936"/>
                    <a:gd name="connsiteY38" fmla="*/ 403313 h 3835942"/>
                    <a:gd name="connsiteX39" fmla="*/ 1816101 w 4510936"/>
                    <a:gd name="connsiteY39" fmla="*/ 780685 h 3835942"/>
                    <a:gd name="connsiteX40" fmla="*/ 1455057 w 4510936"/>
                    <a:gd name="connsiteY40" fmla="*/ 898614 h 3835942"/>
                    <a:gd name="connsiteX41" fmla="*/ 1556657 w 4510936"/>
                    <a:gd name="connsiteY41" fmla="*/ 2852599 h 3835942"/>
                    <a:gd name="connsiteX42" fmla="*/ 1580115 w 4510936"/>
                    <a:gd name="connsiteY42" fmla="*/ 3729193 h 3835942"/>
                    <a:gd name="connsiteX43" fmla="*/ 1581642 w 4510936"/>
                    <a:gd name="connsiteY43" fmla="*/ 3835942 h 3835942"/>
                    <a:gd name="connsiteX44" fmla="*/ 1113971 w 4510936"/>
                    <a:gd name="connsiteY44" fmla="*/ 3835942 h 3835942"/>
                    <a:gd name="connsiteX45" fmla="*/ 836413 w 4510936"/>
                    <a:gd name="connsiteY45" fmla="*/ 3086585 h 3835942"/>
                    <a:gd name="connsiteX46" fmla="*/ 116170 w 4510936"/>
                    <a:gd name="connsiteY46" fmla="*/ 2308285 h 3835942"/>
                    <a:gd name="connsiteX47" fmla="*/ 118297 w 4510936"/>
                    <a:gd name="connsiteY47" fmla="*/ 2287181 h 3835942"/>
                    <a:gd name="connsiteX48" fmla="*/ 98842 w 4510936"/>
                    <a:gd name="connsiteY48" fmla="*/ 2263602 h 3835942"/>
                    <a:gd name="connsiteX49" fmla="*/ 0 w 4510936"/>
                    <a:gd name="connsiteY49" fmla="*/ 1940013 h 3835942"/>
                    <a:gd name="connsiteX50" fmla="*/ 98842 w 4510936"/>
                    <a:gd name="connsiteY50" fmla="*/ 1616424 h 3835942"/>
                    <a:gd name="connsiteX51" fmla="*/ 158494 w 4510936"/>
                    <a:gd name="connsiteY51" fmla="*/ 1544125 h 3835942"/>
                    <a:gd name="connsiteX52" fmla="*/ 138294 w 4510936"/>
                    <a:gd name="connsiteY52" fmla="*/ 1479051 h 3835942"/>
                    <a:gd name="connsiteX53" fmla="*/ 124645 w 4510936"/>
                    <a:gd name="connsiteY53" fmla="*/ 1343654 h 3835942"/>
                    <a:gd name="connsiteX54" fmla="*/ 534966 w 4510936"/>
                    <a:gd name="connsiteY54" fmla="*/ 724623 h 3835942"/>
                    <a:gd name="connsiteX55" fmla="*/ 655270 w 4510936"/>
                    <a:gd name="connsiteY55" fmla="*/ 687278 h 3835942"/>
                    <a:gd name="connsiteX56" fmla="*/ 663127 w 4510936"/>
                    <a:gd name="connsiteY56" fmla="*/ 661967 h 3835942"/>
                    <a:gd name="connsiteX57" fmla="*/ 1282159 w 4510936"/>
                    <a:gd name="connsiteY57" fmla="*/ 251645 h 3835942"/>
                    <a:gd name="connsiteX58" fmla="*/ 1417556 w 4510936"/>
                    <a:gd name="connsiteY58" fmla="*/ 265294 h 3835942"/>
                    <a:gd name="connsiteX59" fmla="*/ 1421411 w 4510936"/>
                    <a:gd name="connsiteY59" fmla="*/ 266491 h 3835942"/>
                    <a:gd name="connsiteX60" fmla="*/ 1478933 w 4510936"/>
                    <a:gd name="connsiteY60" fmla="*/ 196773 h 3835942"/>
                    <a:gd name="connsiteX61" fmla="*/ 1953986 w 4510936"/>
                    <a:gd name="connsiteY6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900714 w 4510936"/>
                    <a:gd name="connsiteY31" fmla="*/ 1212485 h 3835942"/>
                    <a:gd name="connsiteX32" fmla="*/ 3358243 w 4510936"/>
                    <a:gd name="connsiteY32" fmla="*/ 1319527 h 3835942"/>
                    <a:gd name="connsiteX33" fmla="*/ 2895600 w 4510936"/>
                    <a:gd name="connsiteY33" fmla="*/ 1132656 h 3835942"/>
                    <a:gd name="connsiteX34" fmla="*/ 3218542 w 4510936"/>
                    <a:gd name="connsiteY34" fmla="*/ 617399 h 3835942"/>
                    <a:gd name="connsiteX35" fmla="*/ 2715985 w 4510936"/>
                    <a:gd name="connsiteY35" fmla="*/ 947598 h 3835942"/>
                    <a:gd name="connsiteX36" fmla="*/ 1948542 w 4510936"/>
                    <a:gd name="connsiteY36" fmla="*/ 925827 h 3835942"/>
                    <a:gd name="connsiteX37" fmla="*/ 2062843 w 4510936"/>
                    <a:gd name="connsiteY37" fmla="*/ 403313 h 3835942"/>
                    <a:gd name="connsiteX38" fmla="*/ 1816101 w 4510936"/>
                    <a:gd name="connsiteY38" fmla="*/ 780685 h 3835942"/>
                    <a:gd name="connsiteX39" fmla="*/ 1455057 w 4510936"/>
                    <a:gd name="connsiteY39" fmla="*/ 898614 h 3835942"/>
                    <a:gd name="connsiteX40" fmla="*/ 1556657 w 4510936"/>
                    <a:gd name="connsiteY40" fmla="*/ 2852599 h 3835942"/>
                    <a:gd name="connsiteX41" fmla="*/ 1580115 w 4510936"/>
                    <a:gd name="connsiteY41" fmla="*/ 3729193 h 3835942"/>
                    <a:gd name="connsiteX42" fmla="*/ 1581642 w 4510936"/>
                    <a:gd name="connsiteY42" fmla="*/ 3835942 h 3835942"/>
                    <a:gd name="connsiteX43" fmla="*/ 1113971 w 4510936"/>
                    <a:gd name="connsiteY43" fmla="*/ 3835942 h 3835942"/>
                    <a:gd name="connsiteX44" fmla="*/ 836413 w 4510936"/>
                    <a:gd name="connsiteY44" fmla="*/ 3086585 h 3835942"/>
                    <a:gd name="connsiteX45" fmla="*/ 116170 w 4510936"/>
                    <a:gd name="connsiteY45" fmla="*/ 2308285 h 3835942"/>
                    <a:gd name="connsiteX46" fmla="*/ 118297 w 4510936"/>
                    <a:gd name="connsiteY46" fmla="*/ 2287181 h 3835942"/>
                    <a:gd name="connsiteX47" fmla="*/ 98842 w 4510936"/>
                    <a:gd name="connsiteY47" fmla="*/ 2263602 h 3835942"/>
                    <a:gd name="connsiteX48" fmla="*/ 0 w 4510936"/>
                    <a:gd name="connsiteY48" fmla="*/ 1940013 h 3835942"/>
                    <a:gd name="connsiteX49" fmla="*/ 98842 w 4510936"/>
                    <a:gd name="connsiteY49" fmla="*/ 1616424 h 3835942"/>
                    <a:gd name="connsiteX50" fmla="*/ 158494 w 4510936"/>
                    <a:gd name="connsiteY50" fmla="*/ 1544125 h 3835942"/>
                    <a:gd name="connsiteX51" fmla="*/ 138294 w 4510936"/>
                    <a:gd name="connsiteY51" fmla="*/ 1479051 h 3835942"/>
                    <a:gd name="connsiteX52" fmla="*/ 124645 w 4510936"/>
                    <a:gd name="connsiteY52" fmla="*/ 1343654 h 3835942"/>
                    <a:gd name="connsiteX53" fmla="*/ 534966 w 4510936"/>
                    <a:gd name="connsiteY53" fmla="*/ 724623 h 3835942"/>
                    <a:gd name="connsiteX54" fmla="*/ 655270 w 4510936"/>
                    <a:gd name="connsiteY54" fmla="*/ 687278 h 3835942"/>
                    <a:gd name="connsiteX55" fmla="*/ 663127 w 4510936"/>
                    <a:gd name="connsiteY55" fmla="*/ 661967 h 3835942"/>
                    <a:gd name="connsiteX56" fmla="*/ 1282159 w 4510936"/>
                    <a:gd name="connsiteY56" fmla="*/ 251645 h 3835942"/>
                    <a:gd name="connsiteX57" fmla="*/ 1417556 w 4510936"/>
                    <a:gd name="connsiteY57" fmla="*/ 265294 h 3835942"/>
                    <a:gd name="connsiteX58" fmla="*/ 1421411 w 4510936"/>
                    <a:gd name="connsiteY58" fmla="*/ 266491 h 3835942"/>
                    <a:gd name="connsiteX59" fmla="*/ 1478933 w 4510936"/>
                    <a:gd name="connsiteY59" fmla="*/ 196773 h 3835942"/>
                    <a:gd name="connsiteX60" fmla="*/ 1953986 w 4510936"/>
                    <a:gd name="connsiteY6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358243 w 4510936"/>
                    <a:gd name="connsiteY31" fmla="*/ 1319527 h 3835942"/>
                    <a:gd name="connsiteX32" fmla="*/ 2895600 w 4510936"/>
                    <a:gd name="connsiteY32" fmla="*/ 1132656 h 3835942"/>
                    <a:gd name="connsiteX33" fmla="*/ 3218542 w 4510936"/>
                    <a:gd name="connsiteY33" fmla="*/ 617399 h 3835942"/>
                    <a:gd name="connsiteX34" fmla="*/ 2715985 w 4510936"/>
                    <a:gd name="connsiteY34" fmla="*/ 947598 h 3835942"/>
                    <a:gd name="connsiteX35" fmla="*/ 1948542 w 4510936"/>
                    <a:gd name="connsiteY35" fmla="*/ 925827 h 3835942"/>
                    <a:gd name="connsiteX36" fmla="*/ 2062843 w 4510936"/>
                    <a:gd name="connsiteY36" fmla="*/ 403313 h 3835942"/>
                    <a:gd name="connsiteX37" fmla="*/ 1816101 w 4510936"/>
                    <a:gd name="connsiteY37" fmla="*/ 780685 h 3835942"/>
                    <a:gd name="connsiteX38" fmla="*/ 1455057 w 4510936"/>
                    <a:gd name="connsiteY38" fmla="*/ 898614 h 3835942"/>
                    <a:gd name="connsiteX39" fmla="*/ 1556657 w 4510936"/>
                    <a:gd name="connsiteY39" fmla="*/ 2852599 h 3835942"/>
                    <a:gd name="connsiteX40" fmla="*/ 1580115 w 4510936"/>
                    <a:gd name="connsiteY40" fmla="*/ 3729193 h 3835942"/>
                    <a:gd name="connsiteX41" fmla="*/ 1581642 w 4510936"/>
                    <a:gd name="connsiteY41" fmla="*/ 3835942 h 3835942"/>
                    <a:gd name="connsiteX42" fmla="*/ 1113971 w 4510936"/>
                    <a:gd name="connsiteY42" fmla="*/ 3835942 h 3835942"/>
                    <a:gd name="connsiteX43" fmla="*/ 836413 w 4510936"/>
                    <a:gd name="connsiteY43" fmla="*/ 3086585 h 3835942"/>
                    <a:gd name="connsiteX44" fmla="*/ 116170 w 4510936"/>
                    <a:gd name="connsiteY44" fmla="*/ 2308285 h 3835942"/>
                    <a:gd name="connsiteX45" fmla="*/ 118297 w 4510936"/>
                    <a:gd name="connsiteY45" fmla="*/ 2287181 h 3835942"/>
                    <a:gd name="connsiteX46" fmla="*/ 98842 w 4510936"/>
                    <a:gd name="connsiteY46" fmla="*/ 2263602 h 3835942"/>
                    <a:gd name="connsiteX47" fmla="*/ 0 w 4510936"/>
                    <a:gd name="connsiteY47" fmla="*/ 1940013 h 3835942"/>
                    <a:gd name="connsiteX48" fmla="*/ 98842 w 4510936"/>
                    <a:gd name="connsiteY48" fmla="*/ 1616424 h 3835942"/>
                    <a:gd name="connsiteX49" fmla="*/ 158494 w 4510936"/>
                    <a:gd name="connsiteY49" fmla="*/ 1544125 h 3835942"/>
                    <a:gd name="connsiteX50" fmla="*/ 138294 w 4510936"/>
                    <a:gd name="connsiteY50" fmla="*/ 1479051 h 3835942"/>
                    <a:gd name="connsiteX51" fmla="*/ 124645 w 4510936"/>
                    <a:gd name="connsiteY51" fmla="*/ 1343654 h 3835942"/>
                    <a:gd name="connsiteX52" fmla="*/ 534966 w 4510936"/>
                    <a:gd name="connsiteY52" fmla="*/ 724623 h 3835942"/>
                    <a:gd name="connsiteX53" fmla="*/ 655270 w 4510936"/>
                    <a:gd name="connsiteY53" fmla="*/ 687278 h 3835942"/>
                    <a:gd name="connsiteX54" fmla="*/ 663127 w 4510936"/>
                    <a:gd name="connsiteY54" fmla="*/ 661967 h 3835942"/>
                    <a:gd name="connsiteX55" fmla="*/ 1282159 w 4510936"/>
                    <a:gd name="connsiteY55" fmla="*/ 251645 h 3835942"/>
                    <a:gd name="connsiteX56" fmla="*/ 1417556 w 4510936"/>
                    <a:gd name="connsiteY56" fmla="*/ 265294 h 3835942"/>
                    <a:gd name="connsiteX57" fmla="*/ 1421411 w 4510936"/>
                    <a:gd name="connsiteY57" fmla="*/ 266491 h 3835942"/>
                    <a:gd name="connsiteX58" fmla="*/ 1478933 w 4510936"/>
                    <a:gd name="connsiteY58" fmla="*/ 196773 h 3835942"/>
                    <a:gd name="connsiteX59" fmla="*/ 1953986 w 4510936"/>
                    <a:gd name="connsiteY5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2895600 w 4510936"/>
                    <a:gd name="connsiteY31" fmla="*/ 1132656 h 3835942"/>
                    <a:gd name="connsiteX32" fmla="*/ 3218542 w 4510936"/>
                    <a:gd name="connsiteY32" fmla="*/ 617399 h 3835942"/>
                    <a:gd name="connsiteX33" fmla="*/ 2715985 w 4510936"/>
                    <a:gd name="connsiteY33" fmla="*/ 947598 h 3835942"/>
                    <a:gd name="connsiteX34" fmla="*/ 1948542 w 4510936"/>
                    <a:gd name="connsiteY34" fmla="*/ 925827 h 3835942"/>
                    <a:gd name="connsiteX35" fmla="*/ 2062843 w 4510936"/>
                    <a:gd name="connsiteY35" fmla="*/ 403313 h 3835942"/>
                    <a:gd name="connsiteX36" fmla="*/ 1816101 w 4510936"/>
                    <a:gd name="connsiteY36" fmla="*/ 780685 h 3835942"/>
                    <a:gd name="connsiteX37" fmla="*/ 1455057 w 4510936"/>
                    <a:gd name="connsiteY37" fmla="*/ 898614 h 3835942"/>
                    <a:gd name="connsiteX38" fmla="*/ 1556657 w 4510936"/>
                    <a:gd name="connsiteY38" fmla="*/ 2852599 h 3835942"/>
                    <a:gd name="connsiteX39" fmla="*/ 1580115 w 4510936"/>
                    <a:gd name="connsiteY39" fmla="*/ 3729193 h 3835942"/>
                    <a:gd name="connsiteX40" fmla="*/ 1581642 w 4510936"/>
                    <a:gd name="connsiteY40" fmla="*/ 3835942 h 3835942"/>
                    <a:gd name="connsiteX41" fmla="*/ 1113971 w 4510936"/>
                    <a:gd name="connsiteY41" fmla="*/ 3835942 h 3835942"/>
                    <a:gd name="connsiteX42" fmla="*/ 836413 w 4510936"/>
                    <a:gd name="connsiteY42" fmla="*/ 3086585 h 3835942"/>
                    <a:gd name="connsiteX43" fmla="*/ 116170 w 4510936"/>
                    <a:gd name="connsiteY43" fmla="*/ 2308285 h 3835942"/>
                    <a:gd name="connsiteX44" fmla="*/ 118297 w 4510936"/>
                    <a:gd name="connsiteY44" fmla="*/ 2287181 h 3835942"/>
                    <a:gd name="connsiteX45" fmla="*/ 98842 w 4510936"/>
                    <a:gd name="connsiteY45" fmla="*/ 2263602 h 3835942"/>
                    <a:gd name="connsiteX46" fmla="*/ 0 w 4510936"/>
                    <a:gd name="connsiteY46" fmla="*/ 1940013 h 3835942"/>
                    <a:gd name="connsiteX47" fmla="*/ 98842 w 4510936"/>
                    <a:gd name="connsiteY47" fmla="*/ 1616424 h 3835942"/>
                    <a:gd name="connsiteX48" fmla="*/ 158494 w 4510936"/>
                    <a:gd name="connsiteY48" fmla="*/ 1544125 h 3835942"/>
                    <a:gd name="connsiteX49" fmla="*/ 138294 w 4510936"/>
                    <a:gd name="connsiteY49" fmla="*/ 1479051 h 3835942"/>
                    <a:gd name="connsiteX50" fmla="*/ 124645 w 4510936"/>
                    <a:gd name="connsiteY50" fmla="*/ 1343654 h 3835942"/>
                    <a:gd name="connsiteX51" fmla="*/ 534966 w 4510936"/>
                    <a:gd name="connsiteY51" fmla="*/ 724623 h 3835942"/>
                    <a:gd name="connsiteX52" fmla="*/ 655270 w 4510936"/>
                    <a:gd name="connsiteY52" fmla="*/ 687278 h 3835942"/>
                    <a:gd name="connsiteX53" fmla="*/ 663127 w 4510936"/>
                    <a:gd name="connsiteY53" fmla="*/ 661967 h 3835942"/>
                    <a:gd name="connsiteX54" fmla="*/ 1282159 w 4510936"/>
                    <a:gd name="connsiteY54" fmla="*/ 251645 h 3835942"/>
                    <a:gd name="connsiteX55" fmla="*/ 1417556 w 4510936"/>
                    <a:gd name="connsiteY55" fmla="*/ 265294 h 3835942"/>
                    <a:gd name="connsiteX56" fmla="*/ 1421411 w 4510936"/>
                    <a:gd name="connsiteY56" fmla="*/ 266491 h 3835942"/>
                    <a:gd name="connsiteX57" fmla="*/ 1478933 w 4510936"/>
                    <a:gd name="connsiteY57" fmla="*/ 196773 h 3835942"/>
                    <a:gd name="connsiteX58" fmla="*/ 1953986 w 4510936"/>
                    <a:gd name="connsiteY5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218542 w 4510936"/>
                    <a:gd name="connsiteY31" fmla="*/ 617399 h 3835942"/>
                    <a:gd name="connsiteX32" fmla="*/ 2715985 w 4510936"/>
                    <a:gd name="connsiteY32" fmla="*/ 947598 h 3835942"/>
                    <a:gd name="connsiteX33" fmla="*/ 1948542 w 4510936"/>
                    <a:gd name="connsiteY33" fmla="*/ 925827 h 3835942"/>
                    <a:gd name="connsiteX34" fmla="*/ 2062843 w 4510936"/>
                    <a:gd name="connsiteY34" fmla="*/ 403313 h 3835942"/>
                    <a:gd name="connsiteX35" fmla="*/ 1816101 w 4510936"/>
                    <a:gd name="connsiteY35" fmla="*/ 780685 h 3835942"/>
                    <a:gd name="connsiteX36" fmla="*/ 1455057 w 4510936"/>
                    <a:gd name="connsiteY36" fmla="*/ 898614 h 3835942"/>
                    <a:gd name="connsiteX37" fmla="*/ 1556657 w 4510936"/>
                    <a:gd name="connsiteY37" fmla="*/ 2852599 h 3835942"/>
                    <a:gd name="connsiteX38" fmla="*/ 1580115 w 4510936"/>
                    <a:gd name="connsiteY38" fmla="*/ 3729193 h 3835942"/>
                    <a:gd name="connsiteX39" fmla="*/ 1581642 w 4510936"/>
                    <a:gd name="connsiteY39" fmla="*/ 3835942 h 3835942"/>
                    <a:gd name="connsiteX40" fmla="*/ 1113971 w 4510936"/>
                    <a:gd name="connsiteY40" fmla="*/ 3835942 h 3835942"/>
                    <a:gd name="connsiteX41" fmla="*/ 836413 w 4510936"/>
                    <a:gd name="connsiteY41" fmla="*/ 3086585 h 3835942"/>
                    <a:gd name="connsiteX42" fmla="*/ 116170 w 4510936"/>
                    <a:gd name="connsiteY42" fmla="*/ 2308285 h 3835942"/>
                    <a:gd name="connsiteX43" fmla="*/ 118297 w 4510936"/>
                    <a:gd name="connsiteY43" fmla="*/ 2287181 h 3835942"/>
                    <a:gd name="connsiteX44" fmla="*/ 98842 w 4510936"/>
                    <a:gd name="connsiteY44" fmla="*/ 2263602 h 3835942"/>
                    <a:gd name="connsiteX45" fmla="*/ 0 w 4510936"/>
                    <a:gd name="connsiteY45" fmla="*/ 1940013 h 3835942"/>
                    <a:gd name="connsiteX46" fmla="*/ 98842 w 4510936"/>
                    <a:gd name="connsiteY46" fmla="*/ 1616424 h 3835942"/>
                    <a:gd name="connsiteX47" fmla="*/ 158494 w 4510936"/>
                    <a:gd name="connsiteY47" fmla="*/ 1544125 h 3835942"/>
                    <a:gd name="connsiteX48" fmla="*/ 138294 w 4510936"/>
                    <a:gd name="connsiteY48" fmla="*/ 1479051 h 3835942"/>
                    <a:gd name="connsiteX49" fmla="*/ 124645 w 4510936"/>
                    <a:gd name="connsiteY49" fmla="*/ 1343654 h 3835942"/>
                    <a:gd name="connsiteX50" fmla="*/ 534966 w 4510936"/>
                    <a:gd name="connsiteY50" fmla="*/ 724623 h 3835942"/>
                    <a:gd name="connsiteX51" fmla="*/ 655270 w 4510936"/>
                    <a:gd name="connsiteY51" fmla="*/ 687278 h 3835942"/>
                    <a:gd name="connsiteX52" fmla="*/ 663127 w 4510936"/>
                    <a:gd name="connsiteY52" fmla="*/ 661967 h 3835942"/>
                    <a:gd name="connsiteX53" fmla="*/ 1282159 w 4510936"/>
                    <a:gd name="connsiteY53" fmla="*/ 251645 h 3835942"/>
                    <a:gd name="connsiteX54" fmla="*/ 1417556 w 4510936"/>
                    <a:gd name="connsiteY54" fmla="*/ 265294 h 3835942"/>
                    <a:gd name="connsiteX55" fmla="*/ 1421411 w 4510936"/>
                    <a:gd name="connsiteY55" fmla="*/ 266491 h 3835942"/>
                    <a:gd name="connsiteX56" fmla="*/ 1478933 w 4510936"/>
                    <a:gd name="connsiteY56" fmla="*/ 196773 h 3835942"/>
                    <a:gd name="connsiteX57" fmla="*/ 1953986 w 4510936"/>
                    <a:gd name="connsiteY5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218542 w 4510936"/>
                    <a:gd name="connsiteY30" fmla="*/ 617399 h 3835942"/>
                    <a:gd name="connsiteX31" fmla="*/ 2715985 w 4510936"/>
                    <a:gd name="connsiteY31" fmla="*/ 947598 h 3835942"/>
                    <a:gd name="connsiteX32" fmla="*/ 1948542 w 4510936"/>
                    <a:gd name="connsiteY32" fmla="*/ 925827 h 3835942"/>
                    <a:gd name="connsiteX33" fmla="*/ 2062843 w 4510936"/>
                    <a:gd name="connsiteY33" fmla="*/ 403313 h 3835942"/>
                    <a:gd name="connsiteX34" fmla="*/ 1816101 w 4510936"/>
                    <a:gd name="connsiteY34" fmla="*/ 780685 h 3835942"/>
                    <a:gd name="connsiteX35" fmla="*/ 1455057 w 4510936"/>
                    <a:gd name="connsiteY35" fmla="*/ 898614 h 3835942"/>
                    <a:gd name="connsiteX36" fmla="*/ 1556657 w 4510936"/>
                    <a:gd name="connsiteY36" fmla="*/ 2852599 h 3835942"/>
                    <a:gd name="connsiteX37" fmla="*/ 1580115 w 4510936"/>
                    <a:gd name="connsiteY37" fmla="*/ 3729193 h 3835942"/>
                    <a:gd name="connsiteX38" fmla="*/ 1581642 w 4510936"/>
                    <a:gd name="connsiteY38" fmla="*/ 3835942 h 3835942"/>
                    <a:gd name="connsiteX39" fmla="*/ 1113971 w 4510936"/>
                    <a:gd name="connsiteY39" fmla="*/ 3835942 h 3835942"/>
                    <a:gd name="connsiteX40" fmla="*/ 836413 w 4510936"/>
                    <a:gd name="connsiteY40" fmla="*/ 3086585 h 3835942"/>
                    <a:gd name="connsiteX41" fmla="*/ 116170 w 4510936"/>
                    <a:gd name="connsiteY41" fmla="*/ 2308285 h 3835942"/>
                    <a:gd name="connsiteX42" fmla="*/ 118297 w 4510936"/>
                    <a:gd name="connsiteY42" fmla="*/ 2287181 h 3835942"/>
                    <a:gd name="connsiteX43" fmla="*/ 98842 w 4510936"/>
                    <a:gd name="connsiteY43" fmla="*/ 2263602 h 3835942"/>
                    <a:gd name="connsiteX44" fmla="*/ 0 w 4510936"/>
                    <a:gd name="connsiteY44" fmla="*/ 1940013 h 3835942"/>
                    <a:gd name="connsiteX45" fmla="*/ 98842 w 4510936"/>
                    <a:gd name="connsiteY45" fmla="*/ 1616424 h 3835942"/>
                    <a:gd name="connsiteX46" fmla="*/ 158494 w 4510936"/>
                    <a:gd name="connsiteY46" fmla="*/ 1544125 h 3835942"/>
                    <a:gd name="connsiteX47" fmla="*/ 138294 w 4510936"/>
                    <a:gd name="connsiteY47" fmla="*/ 1479051 h 3835942"/>
                    <a:gd name="connsiteX48" fmla="*/ 124645 w 4510936"/>
                    <a:gd name="connsiteY48" fmla="*/ 1343654 h 3835942"/>
                    <a:gd name="connsiteX49" fmla="*/ 534966 w 4510936"/>
                    <a:gd name="connsiteY49" fmla="*/ 724623 h 3835942"/>
                    <a:gd name="connsiteX50" fmla="*/ 655270 w 4510936"/>
                    <a:gd name="connsiteY50" fmla="*/ 687278 h 3835942"/>
                    <a:gd name="connsiteX51" fmla="*/ 663127 w 4510936"/>
                    <a:gd name="connsiteY51" fmla="*/ 661967 h 3835942"/>
                    <a:gd name="connsiteX52" fmla="*/ 1282159 w 4510936"/>
                    <a:gd name="connsiteY52" fmla="*/ 251645 h 3835942"/>
                    <a:gd name="connsiteX53" fmla="*/ 1417556 w 4510936"/>
                    <a:gd name="connsiteY53" fmla="*/ 265294 h 3835942"/>
                    <a:gd name="connsiteX54" fmla="*/ 1421411 w 4510936"/>
                    <a:gd name="connsiteY54" fmla="*/ 266491 h 3835942"/>
                    <a:gd name="connsiteX55" fmla="*/ 1478933 w 4510936"/>
                    <a:gd name="connsiteY55" fmla="*/ 196773 h 3835942"/>
                    <a:gd name="connsiteX56" fmla="*/ 1953986 w 4510936"/>
                    <a:gd name="connsiteY5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623457 w 4510936"/>
                    <a:gd name="connsiteY27" fmla="*/ 1212485 h 3835942"/>
                    <a:gd name="connsiteX28" fmla="*/ 3131457 w 4510936"/>
                    <a:gd name="connsiteY28" fmla="*/ 1528170 h 3835942"/>
                    <a:gd name="connsiteX29" fmla="*/ 3218542 w 4510936"/>
                    <a:gd name="connsiteY29" fmla="*/ 617399 h 3835942"/>
                    <a:gd name="connsiteX30" fmla="*/ 2715985 w 4510936"/>
                    <a:gd name="connsiteY30" fmla="*/ 947598 h 3835942"/>
                    <a:gd name="connsiteX31" fmla="*/ 1948542 w 4510936"/>
                    <a:gd name="connsiteY31" fmla="*/ 925827 h 3835942"/>
                    <a:gd name="connsiteX32" fmla="*/ 2062843 w 4510936"/>
                    <a:gd name="connsiteY32" fmla="*/ 403313 h 3835942"/>
                    <a:gd name="connsiteX33" fmla="*/ 1816101 w 4510936"/>
                    <a:gd name="connsiteY33" fmla="*/ 780685 h 3835942"/>
                    <a:gd name="connsiteX34" fmla="*/ 1455057 w 4510936"/>
                    <a:gd name="connsiteY34" fmla="*/ 898614 h 3835942"/>
                    <a:gd name="connsiteX35" fmla="*/ 1556657 w 4510936"/>
                    <a:gd name="connsiteY35" fmla="*/ 2852599 h 3835942"/>
                    <a:gd name="connsiteX36" fmla="*/ 1580115 w 4510936"/>
                    <a:gd name="connsiteY36" fmla="*/ 3729193 h 3835942"/>
                    <a:gd name="connsiteX37" fmla="*/ 1581642 w 4510936"/>
                    <a:gd name="connsiteY37" fmla="*/ 3835942 h 3835942"/>
                    <a:gd name="connsiteX38" fmla="*/ 1113971 w 4510936"/>
                    <a:gd name="connsiteY38" fmla="*/ 3835942 h 3835942"/>
                    <a:gd name="connsiteX39" fmla="*/ 836413 w 4510936"/>
                    <a:gd name="connsiteY39" fmla="*/ 3086585 h 3835942"/>
                    <a:gd name="connsiteX40" fmla="*/ 116170 w 4510936"/>
                    <a:gd name="connsiteY40" fmla="*/ 2308285 h 3835942"/>
                    <a:gd name="connsiteX41" fmla="*/ 118297 w 4510936"/>
                    <a:gd name="connsiteY41" fmla="*/ 2287181 h 3835942"/>
                    <a:gd name="connsiteX42" fmla="*/ 98842 w 4510936"/>
                    <a:gd name="connsiteY42" fmla="*/ 2263602 h 3835942"/>
                    <a:gd name="connsiteX43" fmla="*/ 0 w 4510936"/>
                    <a:gd name="connsiteY43" fmla="*/ 1940013 h 3835942"/>
                    <a:gd name="connsiteX44" fmla="*/ 98842 w 4510936"/>
                    <a:gd name="connsiteY44" fmla="*/ 1616424 h 3835942"/>
                    <a:gd name="connsiteX45" fmla="*/ 158494 w 4510936"/>
                    <a:gd name="connsiteY45" fmla="*/ 1544125 h 3835942"/>
                    <a:gd name="connsiteX46" fmla="*/ 138294 w 4510936"/>
                    <a:gd name="connsiteY46" fmla="*/ 1479051 h 3835942"/>
                    <a:gd name="connsiteX47" fmla="*/ 124645 w 4510936"/>
                    <a:gd name="connsiteY47" fmla="*/ 1343654 h 3835942"/>
                    <a:gd name="connsiteX48" fmla="*/ 534966 w 4510936"/>
                    <a:gd name="connsiteY48" fmla="*/ 724623 h 3835942"/>
                    <a:gd name="connsiteX49" fmla="*/ 655270 w 4510936"/>
                    <a:gd name="connsiteY49" fmla="*/ 687278 h 3835942"/>
                    <a:gd name="connsiteX50" fmla="*/ 663127 w 4510936"/>
                    <a:gd name="connsiteY50" fmla="*/ 661967 h 3835942"/>
                    <a:gd name="connsiteX51" fmla="*/ 1282159 w 4510936"/>
                    <a:gd name="connsiteY51" fmla="*/ 251645 h 3835942"/>
                    <a:gd name="connsiteX52" fmla="*/ 1417556 w 4510936"/>
                    <a:gd name="connsiteY52" fmla="*/ 265294 h 3835942"/>
                    <a:gd name="connsiteX53" fmla="*/ 1421411 w 4510936"/>
                    <a:gd name="connsiteY53" fmla="*/ 266491 h 3835942"/>
                    <a:gd name="connsiteX54" fmla="*/ 1478933 w 4510936"/>
                    <a:gd name="connsiteY54" fmla="*/ 196773 h 3835942"/>
                    <a:gd name="connsiteX55" fmla="*/ 1953986 w 4510936"/>
                    <a:gd name="connsiteY5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3131457 w 4510936"/>
                    <a:gd name="connsiteY27" fmla="*/ 1528170 h 3835942"/>
                    <a:gd name="connsiteX28" fmla="*/ 3218542 w 4510936"/>
                    <a:gd name="connsiteY28" fmla="*/ 617399 h 3835942"/>
                    <a:gd name="connsiteX29" fmla="*/ 2715985 w 4510936"/>
                    <a:gd name="connsiteY29" fmla="*/ 947598 h 3835942"/>
                    <a:gd name="connsiteX30" fmla="*/ 1948542 w 4510936"/>
                    <a:gd name="connsiteY30" fmla="*/ 925827 h 3835942"/>
                    <a:gd name="connsiteX31" fmla="*/ 2062843 w 4510936"/>
                    <a:gd name="connsiteY31" fmla="*/ 403313 h 3835942"/>
                    <a:gd name="connsiteX32" fmla="*/ 1816101 w 4510936"/>
                    <a:gd name="connsiteY32" fmla="*/ 780685 h 3835942"/>
                    <a:gd name="connsiteX33" fmla="*/ 1455057 w 4510936"/>
                    <a:gd name="connsiteY33" fmla="*/ 898614 h 3835942"/>
                    <a:gd name="connsiteX34" fmla="*/ 1556657 w 4510936"/>
                    <a:gd name="connsiteY34" fmla="*/ 2852599 h 3835942"/>
                    <a:gd name="connsiteX35" fmla="*/ 1580115 w 4510936"/>
                    <a:gd name="connsiteY35" fmla="*/ 3729193 h 3835942"/>
                    <a:gd name="connsiteX36" fmla="*/ 1581642 w 4510936"/>
                    <a:gd name="connsiteY36" fmla="*/ 3835942 h 3835942"/>
                    <a:gd name="connsiteX37" fmla="*/ 1113971 w 4510936"/>
                    <a:gd name="connsiteY37" fmla="*/ 3835942 h 3835942"/>
                    <a:gd name="connsiteX38" fmla="*/ 836413 w 4510936"/>
                    <a:gd name="connsiteY38" fmla="*/ 3086585 h 3835942"/>
                    <a:gd name="connsiteX39" fmla="*/ 116170 w 4510936"/>
                    <a:gd name="connsiteY39" fmla="*/ 2308285 h 3835942"/>
                    <a:gd name="connsiteX40" fmla="*/ 118297 w 4510936"/>
                    <a:gd name="connsiteY40" fmla="*/ 2287181 h 3835942"/>
                    <a:gd name="connsiteX41" fmla="*/ 98842 w 4510936"/>
                    <a:gd name="connsiteY41" fmla="*/ 2263602 h 3835942"/>
                    <a:gd name="connsiteX42" fmla="*/ 0 w 4510936"/>
                    <a:gd name="connsiteY42" fmla="*/ 1940013 h 3835942"/>
                    <a:gd name="connsiteX43" fmla="*/ 98842 w 4510936"/>
                    <a:gd name="connsiteY43" fmla="*/ 1616424 h 3835942"/>
                    <a:gd name="connsiteX44" fmla="*/ 158494 w 4510936"/>
                    <a:gd name="connsiteY44" fmla="*/ 1544125 h 3835942"/>
                    <a:gd name="connsiteX45" fmla="*/ 138294 w 4510936"/>
                    <a:gd name="connsiteY45" fmla="*/ 1479051 h 3835942"/>
                    <a:gd name="connsiteX46" fmla="*/ 124645 w 4510936"/>
                    <a:gd name="connsiteY46" fmla="*/ 1343654 h 3835942"/>
                    <a:gd name="connsiteX47" fmla="*/ 534966 w 4510936"/>
                    <a:gd name="connsiteY47" fmla="*/ 724623 h 3835942"/>
                    <a:gd name="connsiteX48" fmla="*/ 655270 w 4510936"/>
                    <a:gd name="connsiteY48" fmla="*/ 687278 h 3835942"/>
                    <a:gd name="connsiteX49" fmla="*/ 663127 w 4510936"/>
                    <a:gd name="connsiteY49" fmla="*/ 661967 h 3835942"/>
                    <a:gd name="connsiteX50" fmla="*/ 1282159 w 4510936"/>
                    <a:gd name="connsiteY50" fmla="*/ 251645 h 3835942"/>
                    <a:gd name="connsiteX51" fmla="*/ 1417556 w 4510936"/>
                    <a:gd name="connsiteY51" fmla="*/ 265294 h 3835942"/>
                    <a:gd name="connsiteX52" fmla="*/ 1421411 w 4510936"/>
                    <a:gd name="connsiteY52" fmla="*/ 266491 h 3835942"/>
                    <a:gd name="connsiteX53" fmla="*/ 1478933 w 4510936"/>
                    <a:gd name="connsiteY53" fmla="*/ 196773 h 3835942"/>
                    <a:gd name="connsiteX54" fmla="*/ 1953986 w 4510936"/>
                    <a:gd name="connsiteY5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131457 w 4510936"/>
                    <a:gd name="connsiteY26" fmla="*/ 1528170 h 3835942"/>
                    <a:gd name="connsiteX27" fmla="*/ 3218542 w 4510936"/>
                    <a:gd name="connsiteY27" fmla="*/ 617399 h 3835942"/>
                    <a:gd name="connsiteX28" fmla="*/ 2715985 w 4510936"/>
                    <a:gd name="connsiteY28" fmla="*/ 947598 h 3835942"/>
                    <a:gd name="connsiteX29" fmla="*/ 1948542 w 4510936"/>
                    <a:gd name="connsiteY29" fmla="*/ 925827 h 3835942"/>
                    <a:gd name="connsiteX30" fmla="*/ 2062843 w 4510936"/>
                    <a:gd name="connsiteY30" fmla="*/ 403313 h 3835942"/>
                    <a:gd name="connsiteX31" fmla="*/ 1816101 w 4510936"/>
                    <a:gd name="connsiteY31" fmla="*/ 780685 h 3835942"/>
                    <a:gd name="connsiteX32" fmla="*/ 1455057 w 4510936"/>
                    <a:gd name="connsiteY32" fmla="*/ 898614 h 3835942"/>
                    <a:gd name="connsiteX33" fmla="*/ 1556657 w 4510936"/>
                    <a:gd name="connsiteY33" fmla="*/ 2852599 h 3835942"/>
                    <a:gd name="connsiteX34" fmla="*/ 1580115 w 4510936"/>
                    <a:gd name="connsiteY34" fmla="*/ 3729193 h 3835942"/>
                    <a:gd name="connsiteX35" fmla="*/ 1581642 w 4510936"/>
                    <a:gd name="connsiteY35" fmla="*/ 3835942 h 3835942"/>
                    <a:gd name="connsiteX36" fmla="*/ 1113971 w 4510936"/>
                    <a:gd name="connsiteY36" fmla="*/ 3835942 h 3835942"/>
                    <a:gd name="connsiteX37" fmla="*/ 836413 w 4510936"/>
                    <a:gd name="connsiteY37" fmla="*/ 3086585 h 3835942"/>
                    <a:gd name="connsiteX38" fmla="*/ 116170 w 4510936"/>
                    <a:gd name="connsiteY38" fmla="*/ 2308285 h 3835942"/>
                    <a:gd name="connsiteX39" fmla="*/ 118297 w 4510936"/>
                    <a:gd name="connsiteY39" fmla="*/ 2287181 h 3835942"/>
                    <a:gd name="connsiteX40" fmla="*/ 98842 w 4510936"/>
                    <a:gd name="connsiteY40" fmla="*/ 2263602 h 3835942"/>
                    <a:gd name="connsiteX41" fmla="*/ 0 w 4510936"/>
                    <a:gd name="connsiteY41" fmla="*/ 1940013 h 3835942"/>
                    <a:gd name="connsiteX42" fmla="*/ 98842 w 4510936"/>
                    <a:gd name="connsiteY42" fmla="*/ 1616424 h 3835942"/>
                    <a:gd name="connsiteX43" fmla="*/ 158494 w 4510936"/>
                    <a:gd name="connsiteY43" fmla="*/ 1544125 h 3835942"/>
                    <a:gd name="connsiteX44" fmla="*/ 138294 w 4510936"/>
                    <a:gd name="connsiteY44" fmla="*/ 1479051 h 3835942"/>
                    <a:gd name="connsiteX45" fmla="*/ 124645 w 4510936"/>
                    <a:gd name="connsiteY45" fmla="*/ 1343654 h 3835942"/>
                    <a:gd name="connsiteX46" fmla="*/ 534966 w 4510936"/>
                    <a:gd name="connsiteY46" fmla="*/ 724623 h 3835942"/>
                    <a:gd name="connsiteX47" fmla="*/ 655270 w 4510936"/>
                    <a:gd name="connsiteY47" fmla="*/ 687278 h 3835942"/>
                    <a:gd name="connsiteX48" fmla="*/ 663127 w 4510936"/>
                    <a:gd name="connsiteY48" fmla="*/ 661967 h 3835942"/>
                    <a:gd name="connsiteX49" fmla="*/ 1282159 w 4510936"/>
                    <a:gd name="connsiteY49" fmla="*/ 251645 h 3835942"/>
                    <a:gd name="connsiteX50" fmla="*/ 1417556 w 4510936"/>
                    <a:gd name="connsiteY50" fmla="*/ 265294 h 3835942"/>
                    <a:gd name="connsiteX51" fmla="*/ 1421411 w 4510936"/>
                    <a:gd name="connsiteY51" fmla="*/ 266491 h 3835942"/>
                    <a:gd name="connsiteX52" fmla="*/ 1478933 w 4510936"/>
                    <a:gd name="connsiteY52" fmla="*/ 196773 h 3835942"/>
                    <a:gd name="connsiteX53" fmla="*/ 1953986 w 4510936"/>
                    <a:gd name="connsiteY5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218542 w 4510936"/>
                    <a:gd name="connsiteY26" fmla="*/ 617399 h 3835942"/>
                    <a:gd name="connsiteX27" fmla="*/ 2715985 w 4510936"/>
                    <a:gd name="connsiteY27" fmla="*/ 947598 h 3835942"/>
                    <a:gd name="connsiteX28" fmla="*/ 1948542 w 4510936"/>
                    <a:gd name="connsiteY28" fmla="*/ 925827 h 3835942"/>
                    <a:gd name="connsiteX29" fmla="*/ 2062843 w 4510936"/>
                    <a:gd name="connsiteY29" fmla="*/ 403313 h 3835942"/>
                    <a:gd name="connsiteX30" fmla="*/ 1816101 w 4510936"/>
                    <a:gd name="connsiteY30" fmla="*/ 780685 h 3835942"/>
                    <a:gd name="connsiteX31" fmla="*/ 1455057 w 4510936"/>
                    <a:gd name="connsiteY31" fmla="*/ 898614 h 3835942"/>
                    <a:gd name="connsiteX32" fmla="*/ 1556657 w 4510936"/>
                    <a:gd name="connsiteY32" fmla="*/ 2852599 h 3835942"/>
                    <a:gd name="connsiteX33" fmla="*/ 1580115 w 4510936"/>
                    <a:gd name="connsiteY33" fmla="*/ 3729193 h 3835942"/>
                    <a:gd name="connsiteX34" fmla="*/ 1581642 w 4510936"/>
                    <a:gd name="connsiteY34" fmla="*/ 3835942 h 3835942"/>
                    <a:gd name="connsiteX35" fmla="*/ 1113971 w 4510936"/>
                    <a:gd name="connsiteY35" fmla="*/ 3835942 h 3835942"/>
                    <a:gd name="connsiteX36" fmla="*/ 836413 w 4510936"/>
                    <a:gd name="connsiteY36" fmla="*/ 3086585 h 3835942"/>
                    <a:gd name="connsiteX37" fmla="*/ 116170 w 4510936"/>
                    <a:gd name="connsiteY37" fmla="*/ 2308285 h 3835942"/>
                    <a:gd name="connsiteX38" fmla="*/ 118297 w 4510936"/>
                    <a:gd name="connsiteY38" fmla="*/ 2287181 h 3835942"/>
                    <a:gd name="connsiteX39" fmla="*/ 98842 w 4510936"/>
                    <a:gd name="connsiteY39" fmla="*/ 2263602 h 3835942"/>
                    <a:gd name="connsiteX40" fmla="*/ 0 w 4510936"/>
                    <a:gd name="connsiteY40" fmla="*/ 1940013 h 3835942"/>
                    <a:gd name="connsiteX41" fmla="*/ 98842 w 4510936"/>
                    <a:gd name="connsiteY41" fmla="*/ 1616424 h 3835942"/>
                    <a:gd name="connsiteX42" fmla="*/ 158494 w 4510936"/>
                    <a:gd name="connsiteY42" fmla="*/ 1544125 h 3835942"/>
                    <a:gd name="connsiteX43" fmla="*/ 138294 w 4510936"/>
                    <a:gd name="connsiteY43" fmla="*/ 1479051 h 3835942"/>
                    <a:gd name="connsiteX44" fmla="*/ 124645 w 4510936"/>
                    <a:gd name="connsiteY44" fmla="*/ 1343654 h 3835942"/>
                    <a:gd name="connsiteX45" fmla="*/ 534966 w 4510936"/>
                    <a:gd name="connsiteY45" fmla="*/ 724623 h 3835942"/>
                    <a:gd name="connsiteX46" fmla="*/ 655270 w 4510936"/>
                    <a:gd name="connsiteY46" fmla="*/ 687278 h 3835942"/>
                    <a:gd name="connsiteX47" fmla="*/ 663127 w 4510936"/>
                    <a:gd name="connsiteY47" fmla="*/ 661967 h 3835942"/>
                    <a:gd name="connsiteX48" fmla="*/ 1282159 w 4510936"/>
                    <a:gd name="connsiteY48" fmla="*/ 251645 h 3835942"/>
                    <a:gd name="connsiteX49" fmla="*/ 1417556 w 4510936"/>
                    <a:gd name="connsiteY49" fmla="*/ 265294 h 3835942"/>
                    <a:gd name="connsiteX50" fmla="*/ 1421411 w 4510936"/>
                    <a:gd name="connsiteY50" fmla="*/ 266491 h 3835942"/>
                    <a:gd name="connsiteX51" fmla="*/ 1478933 w 4510936"/>
                    <a:gd name="connsiteY51" fmla="*/ 196773 h 3835942"/>
                    <a:gd name="connsiteX52" fmla="*/ 1953986 w 4510936"/>
                    <a:gd name="connsiteY5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715985 w 4510936"/>
                    <a:gd name="connsiteY26" fmla="*/ 947598 h 3835942"/>
                    <a:gd name="connsiteX27" fmla="*/ 1948542 w 4510936"/>
                    <a:gd name="connsiteY27" fmla="*/ 925827 h 3835942"/>
                    <a:gd name="connsiteX28" fmla="*/ 2062843 w 4510936"/>
                    <a:gd name="connsiteY28" fmla="*/ 403313 h 3835942"/>
                    <a:gd name="connsiteX29" fmla="*/ 1816101 w 4510936"/>
                    <a:gd name="connsiteY29" fmla="*/ 780685 h 3835942"/>
                    <a:gd name="connsiteX30" fmla="*/ 1455057 w 4510936"/>
                    <a:gd name="connsiteY30" fmla="*/ 898614 h 3835942"/>
                    <a:gd name="connsiteX31" fmla="*/ 1556657 w 4510936"/>
                    <a:gd name="connsiteY31" fmla="*/ 2852599 h 3835942"/>
                    <a:gd name="connsiteX32" fmla="*/ 1580115 w 4510936"/>
                    <a:gd name="connsiteY32" fmla="*/ 3729193 h 3835942"/>
                    <a:gd name="connsiteX33" fmla="*/ 1581642 w 4510936"/>
                    <a:gd name="connsiteY33" fmla="*/ 3835942 h 3835942"/>
                    <a:gd name="connsiteX34" fmla="*/ 1113971 w 4510936"/>
                    <a:gd name="connsiteY34" fmla="*/ 3835942 h 3835942"/>
                    <a:gd name="connsiteX35" fmla="*/ 836413 w 4510936"/>
                    <a:gd name="connsiteY35" fmla="*/ 3086585 h 3835942"/>
                    <a:gd name="connsiteX36" fmla="*/ 116170 w 4510936"/>
                    <a:gd name="connsiteY36" fmla="*/ 2308285 h 3835942"/>
                    <a:gd name="connsiteX37" fmla="*/ 118297 w 4510936"/>
                    <a:gd name="connsiteY37" fmla="*/ 2287181 h 3835942"/>
                    <a:gd name="connsiteX38" fmla="*/ 98842 w 4510936"/>
                    <a:gd name="connsiteY38" fmla="*/ 2263602 h 3835942"/>
                    <a:gd name="connsiteX39" fmla="*/ 0 w 4510936"/>
                    <a:gd name="connsiteY39" fmla="*/ 1940013 h 3835942"/>
                    <a:gd name="connsiteX40" fmla="*/ 98842 w 4510936"/>
                    <a:gd name="connsiteY40" fmla="*/ 1616424 h 3835942"/>
                    <a:gd name="connsiteX41" fmla="*/ 158494 w 4510936"/>
                    <a:gd name="connsiteY41" fmla="*/ 1544125 h 3835942"/>
                    <a:gd name="connsiteX42" fmla="*/ 138294 w 4510936"/>
                    <a:gd name="connsiteY42" fmla="*/ 1479051 h 3835942"/>
                    <a:gd name="connsiteX43" fmla="*/ 124645 w 4510936"/>
                    <a:gd name="connsiteY43" fmla="*/ 1343654 h 3835942"/>
                    <a:gd name="connsiteX44" fmla="*/ 534966 w 4510936"/>
                    <a:gd name="connsiteY44" fmla="*/ 724623 h 3835942"/>
                    <a:gd name="connsiteX45" fmla="*/ 655270 w 4510936"/>
                    <a:gd name="connsiteY45" fmla="*/ 687278 h 3835942"/>
                    <a:gd name="connsiteX46" fmla="*/ 663127 w 4510936"/>
                    <a:gd name="connsiteY46" fmla="*/ 661967 h 3835942"/>
                    <a:gd name="connsiteX47" fmla="*/ 1282159 w 4510936"/>
                    <a:gd name="connsiteY47" fmla="*/ 251645 h 3835942"/>
                    <a:gd name="connsiteX48" fmla="*/ 1417556 w 4510936"/>
                    <a:gd name="connsiteY48" fmla="*/ 265294 h 3835942"/>
                    <a:gd name="connsiteX49" fmla="*/ 1421411 w 4510936"/>
                    <a:gd name="connsiteY49" fmla="*/ 266491 h 3835942"/>
                    <a:gd name="connsiteX50" fmla="*/ 1478933 w 4510936"/>
                    <a:gd name="connsiteY50" fmla="*/ 196773 h 3835942"/>
                    <a:gd name="connsiteX51" fmla="*/ 1953986 w 4510936"/>
                    <a:gd name="connsiteY5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948542 w 4510936"/>
                    <a:gd name="connsiteY26" fmla="*/ 925827 h 3835942"/>
                    <a:gd name="connsiteX27" fmla="*/ 2062843 w 4510936"/>
                    <a:gd name="connsiteY27" fmla="*/ 403313 h 3835942"/>
                    <a:gd name="connsiteX28" fmla="*/ 1816101 w 4510936"/>
                    <a:gd name="connsiteY28" fmla="*/ 780685 h 3835942"/>
                    <a:gd name="connsiteX29" fmla="*/ 1455057 w 4510936"/>
                    <a:gd name="connsiteY29" fmla="*/ 898614 h 3835942"/>
                    <a:gd name="connsiteX30" fmla="*/ 1556657 w 4510936"/>
                    <a:gd name="connsiteY30" fmla="*/ 2852599 h 3835942"/>
                    <a:gd name="connsiteX31" fmla="*/ 1580115 w 4510936"/>
                    <a:gd name="connsiteY31" fmla="*/ 3729193 h 3835942"/>
                    <a:gd name="connsiteX32" fmla="*/ 1581642 w 4510936"/>
                    <a:gd name="connsiteY32" fmla="*/ 3835942 h 3835942"/>
                    <a:gd name="connsiteX33" fmla="*/ 1113971 w 4510936"/>
                    <a:gd name="connsiteY33" fmla="*/ 3835942 h 3835942"/>
                    <a:gd name="connsiteX34" fmla="*/ 836413 w 4510936"/>
                    <a:gd name="connsiteY34" fmla="*/ 3086585 h 3835942"/>
                    <a:gd name="connsiteX35" fmla="*/ 116170 w 4510936"/>
                    <a:gd name="connsiteY35" fmla="*/ 2308285 h 3835942"/>
                    <a:gd name="connsiteX36" fmla="*/ 118297 w 4510936"/>
                    <a:gd name="connsiteY36" fmla="*/ 2287181 h 3835942"/>
                    <a:gd name="connsiteX37" fmla="*/ 98842 w 4510936"/>
                    <a:gd name="connsiteY37" fmla="*/ 2263602 h 3835942"/>
                    <a:gd name="connsiteX38" fmla="*/ 0 w 4510936"/>
                    <a:gd name="connsiteY38" fmla="*/ 1940013 h 3835942"/>
                    <a:gd name="connsiteX39" fmla="*/ 98842 w 4510936"/>
                    <a:gd name="connsiteY39" fmla="*/ 1616424 h 3835942"/>
                    <a:gd name="connsiteX40" fmla="*/ 158494 w 4510936"/>
                    <a:gd name="connsiteY40" fmla="*/ 1544125 h 3835942"/>
                    <a:gd name="connsiteX41" fmla="*/ 138294 w 4510936"/>
                    <a:gd name="connsiteY41" fmla="*/ 1479051 h 3835942"/>
                    <a:gd name="connsiteX42" fmla="*/ 124645 w 4510936"/>
                    <a:gd name="connsiteY42" fmla="*/ 1343654 h 3835942"/>
                    <a:gd name="connsiteX43" fmla="*/ 534966 w 4510936"/>
                    <a:gd name="connsiteY43" fmla="*/ 724623 h 3835942"/>
                    <a:gd name="connsiteX44" fmla="*/ 655270 w 4510936"/>
                    <a:gd name="connsiteY44" fmla="*/ 687278 h 3835942"/>
                    <a:gd name="connsiteX45" fmla="*/ 663127 w 4510936"/>
                    <a:gd name="connsiteY45" fmla="*/ 661967 h 3835942"/>
                    <a:gd name="connsiteX46" fmla="*/ 1282159 w 4510936"/>
                    <a:gd name="connsiteY46" fmla="*/ 251645 h 3835942"/>
                    <a:gd name="connsiteX47" fmla="*/ 1417556 w 4510936"/>
                    <a:gd name="connsiteY47" fmla="*/ 265294 h 3835942"/>
                    <a:gd name="connsiteX48" fmla="*/ 1421411 w 4510936"/>
                    <a:gd name="connsiteY48" fmla="*/ 266491 h 3835942"/>
                    <a:gd name="connsiteX49" fmla="*/ 1478933 w 4510936"/>
                    <a:gd name="connsiteY49" fmla="*/ 196773 h 3835942"/>
                    <a:gd name="connsiteX50" fmla="*/ 1953986 w 4510936"/>
                    <a:gd name="connsiteY5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062843 w 4510936"/>
                    <a:gd name="connsiteY26" fmla="*/ 403313 h 3835942"/>
                    <a:gd name="connsiteX27" fmla="*/ 1816101 w 4510936"/>
                    <a:gd name="connsiteY27" fmla="*/ 780685 h 3835942"/>
                    <a:gd name="connsiteX28" fmla="*/ 1455057 w 4510936"/>
                    <a:gd name="connsiteY28" fmla="*/ 898614 h 3835942"/>
                    <a:gd name="connsiteX29" fmla="*/ 1556657 w 4510936"/>
                    <a:gd name="connsiteY29" fmla="*/ 2852599 h 3835942"/>
                    <a:gd name="connsiteX30" fmla="*/ 1580115 w 4510936"/>
                    <a:gd name="connsiteY30" fmla="*/ 3729193 h 3835942"/>
                    <a:gd name="connsiteX31" fmla="*/ 1581642 w 4510936"/>
                    <a:gd name="connsiteY31" fmla="*/ 3835942 h 3835942"/>
                    <a:gd name="connsiteX32" fmla="*/ 1113971 w 4510936"/>
                    <a:gd name="connsiteY32" fmla="*/ 3835942 h 3835942"/>
                    <a:gd name="connsiteX33" fmla="*/ 836413 w 4510936"/>
                    <a:gd name="connsiteY33" fmla="*/ 3086585 h 3835942"/>
                    <a:gd name="connsiteX34" fmla="*/ 116170 w 4510936"/>
                    <a:gd name="connsiteY34" fmla="*/ 2308285 h 3835942"/>
                    <a:gd name="connsiteX35" fmla="*/ 118297 w 4510936"/>
                    <a:gd name="connsiteY35" fmla="*/ 2287181 h 3835942"/>
                    <a:gd name="connsiteX36" fmla="*/ 98842 w 4510936"/>
                    <a:gd name="connsiteY36" fmla="*/ 2263602 h 3835942"/>
                    <a:gd name="connsiteX37" fmla="*/ 0 w 4510936"/>
                    <a:gd name="connsiteY37" fmla="*/ 1940013 h 3835942"/>
                    <a:gd name="connsiteX38" fmla="*/ 98842 w 4510936"/>
                    <a:gd name="connsiteY38" fmla="*/ 1616424 h 3835942"/>
                    <a:gd name="connsiteX39" fmla="*/ 158494 w 4510936"/>
                    <a:gd name="connsiteY39" fmla="*/ 1544125 h 3835942"/>
                    <a:gd name="connsiteX40" fmla="*/ 138294 w 4510936"/>
                    <a:gd name="connsiteY40" fmla="*/ 1479051 h 3835942"/>
                    <a:gd name="connsiteX41" fmla="*/ 124645 w 4510936"/>
                    <a:gd name="connsiteY41" fmla="*/ 1343654 h 3835942"/>
                    <a:gd name="connsiteX42" fmla="*/ 534966 w 4510936"/>
                    <a:gd name="connsiteY42" fmla="*/ 724623 h 3835942"/>
                    <a:gd name="connsiteX43" fmla="*/ 655270 w 4510936"/>
                    <a:gd name="connsiteY43" fmla="*/ 687278 h 3835942"/>
                    <a:gd name="connsiteX44" fmla="*/ 663127 w 4510936"/>
                    <a:gd name="connsiteY44" fmla="*/ 661967 h 3835942"/>
                    <a:gd name="connsiteX45" fmla="*/ 1282159 w 4510936"/>
                    <a:gd name="connsiteY45" fmla="*/ 251645 h 3835942"/>
                    <a:gd name="connsiteX46" fmla="*/ 1417556 w 4510936"/>
                    <a:gd name="connsiteY46" fmla="*/ 265294 h 3835942"/>
                    <a:gd name="connsiteX47" fmla="*/ 1421411 w 4510936"/>
                    <a:gd name="connsiteY47" fmla="*/ 266491 h 3835942"/>
                    <a:gd name="connsiteX48" fmla="*/ 1478933 w 4510936"/>
                    <a:gd name="connsiteY48" fmla="*/ 196773 h 3835942"/>
                    <a:gd name="connsiteX49" fmla="*/ 1953986 w 4510936"/>
                    <a:gd name="connsiteY4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816101 w 4510936"/>
                    <a:gd name="connsiteY26" fmla="*/ 780685 h 3835942"/>
                    <a:gd name="connsiteX27" fmla="*/ 1455057 w 4510936"/>
                    <a:gd name="connsiteY27" fmla="*/ 898614 h 3835942"/>
                    <a:gd name="connsiteX28" fmla="*/ 1556657 w 4510936"/>
                    <a:gd name="connsiteY28" fmla="*/ 2852599 h 3835942"/>
                    <a:gd name="connsiteX29" fmla="*/ 1580115 w 4510936"/>
                    <a:gd name="connsiteY29" fmla="*/ 3729193 h 3835942"/>
                    <a:gd name="connsiteX30" fmla="*/ 1581642 w 4510936"/>
                    <a:gd name="connsiteY30" fmla="*/ 3835942 h 3835942"/>
                    <a:gd name="connsiteX31" fmla="*/ 1113971 w 4510936"/>
                    <a:gd name="connsiteY31" fmla="*/ 3835942 h 3835942"/>
                    <a:gd name="connsiteX32" fmla="*/ 836413 w 4510936"/>
                    <a:gd name="connsiteY32" fmla="*/ 3086585 h 3835942"/>
                    <a:gd name="connsiteX33" fmla="*/ 116170 w 4510936"/>
                    <a:gd name="connsiteY33" fmla="*/ 2308285 h 3835942"/>
                    <a:gd name="connsiteX34" fmla="*/ 118297 w 4510936"/>
                    <a:gd name="connsiteY34" fmla="*/ 2287181 h 3835942"/>
                    <a:gd name="connsiteX35" fmla="*/ 98842 w 4510936"/>
                    <a:gd name="connsiteY35" fmla="*/ 2263602 h 3835942"/>
                    <a:gd name="connsiteX36" fmla="*/ 0 w 4510936"/>
                    <a:gd name="connsiteY36" fmla="*/ 1940013 h 3835942"/>
                    <a:gd name="connsiteX37" fmla="*/ 98842 w 4510936"/>
                    <a:gd name="connsiteY37" fmla="*/ 1616424 h 3835942"/>
                    <a:gd name="connsiteX38" fmla="*/ 158494 w 4510936"/>
                    <a:gd name="connsiteY38" fmla="*/ 1544125 h 3835942"/>
                    <a:gd name="connsiteX39" fmla="*/ 138294 w 4510936"/>
                    <a:gd name="connsiteY39" fmla="*/ 1479051 h 3835942"/>
                    <a:gd name="connsiteX40" fmla="*/ 124645 w 4510936"/>
                    <a:gd name="connsiteY40" fmla="*/ 1343654 h 3835942"/>
                    <a:gd name="connsiteX41" fmla="*/ 534966 w 4510936"/>
                    <a:gd name="connsiteY41" fmla="*/ 724623 h 3835942"/>
                    <a:gd name="connsiteX42" fmla="*/ 655270 w 4510936"/>
                    <a:gd name="connsiteY42" fmla="*/ 687278 h 3835942"/>
                    <a:gd name="connsiteX43" fmla="*/ 663127 w 4510936"/>
                    <a:gd name="connsiteY43" fmla="*/ 661967 h 3835942"/>
                    <a:gd name="connsiteX44" fmla="*/ 1282159 w 4510936"/>
                    <a:gd name="connsiteY44" fmla="*/ 251645 h 3835942"/>
                    <a:gd name="connsiteX45" fmla="*/ 1417556 w 4510936"/>
                    <a:gd name="connsiteY45" fmla="*/ 265294 h 3835942"/>
                    <a:gd name="connsiteX46" fmla="*/ 1421411 w 4510936"/>
                    <a:gd name="connsiteY46" fmla="*/ 266491 h 3835942"/>
                    <a:gd name="connsiteX47" fmla="*/ 1478933 w 4510936"/>
                    <a:gd name="connsiteY47" fmla="*/ 196773 h 3835942"/>
                    <a:gd name="connsiteX48" fmla="*/ 1953986 w 4510936"/>
                    <a:gd name="connsiteY4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455057 w 4510936"/>
                    <a:gd name="connsiteY26" fmla="*/ 898614 h 3835942"/>
                    <a:gd name="connsiteX27" fmla="*/ 1556657 w 4510936"/>
                    <a:gd name="connsiteY27" fmla="*/ 2852599 h 3835942"/>
                    <a:gd name="connsiteX28" fmla="*/ 1580115 w 4510936"/>
                    <a:gd name="connsiteY28" fmla="*/ 3729193 h 3835942"/>
                    <a:gd name="connsiteX29" fmla="*/ 1581642 w 4510936"/>
                    <a:gd name="connsiteY29" fmla="*/ 3835942 h 3835942"/>
                    <a:gd name="connsiteX30" fmla="*/ 1113971 w 4510936"/>
                    <a:gd name="connsiteY30" fmla="*/ 3835942 h 3835942"/>
                    <a:gd name="connsiteX31" fmla="*/ 836413 w 4510936"/>
                    <a:gd name="connsiteY31" fmla="*/ 3086585 h 3835942"/>
                    <a:gd name="connsiteX32" fmla="*/ 116170 w 4510936"/>
                    <a:gd name="connsiteY32" fmla="*/ 2308285 h 3835942"/>
                    <a:gd name="connsiteX33" fmla="*/ 118297 w 4510936"/>
                    <a:gd name="connsiteY33" fmla="*/ 2287181 h 3835942"/>
                    <a:gd name="connsiteX34" fmla="*/ 98842 w 4510936"/>
                    <a:gd name="connsiteY34" fmla="*/ 2263602 h 3835942"/>
                    <a:gd name="connsiteX35" fmla="*/ 0 w 4510936"/>
                    <a:gd name="connsiteY35" fmla="*/ 1940013 h 3835942"/>
                    <a:gd name="connsiteX36" fmla="*/ 98842 w 4510936"/>
                    <a:gd name="connsiteY36" fmla="*/ 1616424 h 3835942"/>
                    <a:gd name="connsiteX37" fmla="*/ 158494 w 4510936"/>
                    <a:gd name="connsiteY37" fmla="*/ 1544125 h 3835942"/>
                    <a:gd name="connsiteX38" fmla="*/ 138294 w 4510936"/>
                    <a:gd name="connsiteY38" fmla="*/ 1479051 h 3835942"/>
                    <a:gd name="connsiteX39" fmla="*/ 124645 w 4510936"/>
                    <a:gd name="connsiteY39" fmla="*/ 1343654 h 3835942"/>
                    <a:gd name="connsiteX40" fmla="*/ 534966 w 4510936"/>
                    <a:gd name="connsiteY40" fmla="*/ 724623 h 3835942"/>
                    <a:gd name="connsiteX41" fmla="*/ 655270 w 4510936"/>
                    <a:gd name="connsiteY41" fmla="*/ 687278 h 3835942"/>
                    <a:gd name="connsiteX42" fmla="*/ 663127 w 4510936"/>
                    <a:gd name="connsiteY42" fmla="*/ 661967 h 3835942"/>
                    <a:gd name="connsiteX43" fmla="*/ 1282159 w 4510936"/>
                    <a:gd name="connsiteY43" fmla="*/ 251645 h 3835942"/>
                    <a:gd name="connsiteX44" fmla="*/ 1417556 w 4510936"/>
                    <a:gd name="connsiteY44" fmla="*/ 265294 h 3835942"/>
                    <a:gd name="connsiteX45" fmla="*/ 1421411 w 4510936"/>
                    <a:gd name="connsiteY45" fmla="*/ 266491 h 3835942"/>
                    <a:gd name="connsiteX46" fmla="*/ 1478933 w 4510936"/>
                    <a:gd name="connsiteY46" fmla="*/ 196773 h 3835942"/>
                    <a:gd name="connsiteX47" fmla="*/ 1953986 w 4510936"/>
                    <a:gd name="connsiteY4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556657 w 4510936"/>
                    <a:gd name="connsiteY26" fmla="*/ 2852599 h 3835942"/>
                    <a:gd name="connsiteX27" fmla="*/ 1580115 w 4510936"/>
                    <a:gd name="connsiteY27" fmla="*/ 3729193 h 3835942"/>
                    <a:gd name="connsiteX28" fmla="*/ 1581642 w 4510936"/>
                    <a:gd name="connsiteY28" fmla="*/ 3835942 h 3835942"/>
                    <a:gd name="connsiteX29" fmla="*/ 1113971 w 4510936"/>
                    <a:gd name="connsiteY29" fmla="*/ 3835942 h 3835942"/>
                    <a:gd name="connsiteX30" fmla="*/ 836413 w 4510936"/>
                    <a:gd name="connsiteY30" fmla="*/ 3086585 h 3835942"/>
                    <a:gd name="connsiteX31" fmla="*/ 116170 w 4510936"/>
                    <a:gd name="connsiteY31" fmla="*/ 2308285 h 3835942"/>
                    <a:gd name="connsiteX32" fmla="*/ 118297 w 4510936"/>
                    <a:gd name="connsiteY32" fmla="*/ 2287181 h 3835942"/>
                    <a:gd name="connsiteX33" fmla="*/ 98842 w 4510936"/>
                    <a:gd name="connsiteY33" fmla="*/ 2263602 h 3835942"/>
                    <a:gd name="connsiteX34" fmla="*/ 0 w 4510936"/>
                    <a:gd name="connsiteY34" fmla="*/ 1940013 h 3835942"/>
                    <a:gd name="connsiteX35" fmla="*/ 98842 w 4510936"/>
                    <a:gd name="connsiteY35" fmla="*/ 1616424 h 3835942"/>
                    <a:gd name="connsiteX36" fmla="*/ 158494 w 4510936"/>
                    <a:gd name="connsiteY36" fmla="*/ 1544125 h 3835942"/>
                    <a:gd name="connsiteX37" fmla="*/ 138294 w 4510936"/>
                    <a:gd name="connsiteY37" fmla="*/ 1479051 h 3835942"/>
                    <a:gd name="connsiteX38" fmla="*/ 124645 w 4510936"/>
                    <a:gd name="connsiteY38" fmla="*/ 1343654 h 3835942"/>
                    <a:gd name="connsiteX39" fmla="*/ 534966 w 4510936"/>
                    <a:gd name="connsiteY39" fmla="*/ 724623 h 3835942"/>
                    <a:gd name="connsiteX40" fmla="*/ 655270 w 4510936"/>
                    <a:gd name="connsiteY40" fmla="*/ 687278 h 3835942"/>
                    <a:gd name="connsiteX41" fmla="*/ 663127 w 4510936"/>
                    <a:gd name="connsiteY41" fmla="*/ 661967 h 3835942"/>
                    <a:gd name="connsiteX42" fmla="*/ 1282159 w 4510936"/>
                    <a:gd name="connsiteY42" fmla="*/ 251645 h 3835942"/>
                    <a:gd name="connsiteX43" fmla="*/ 1417556 w 4510936"/>
                    <a:gd name="connsiteY43" fmla="*/ 265294 h 3835942"/>
                    <a:gd name="connsiteX44" fmla="*/ 1421411 w 4510936"/>
                    <a:gd name="connsiteY44" fmla="*/ 266491 h 3835942"/>
                    <a:gd name="connsiteX45" fmla="*/ 1478933 w 4510936"/>
                    <a:gd name="connsiteY45" fmla="*/ 196773 h 3835942"/>
                    <a:gd name="connsiteX46" fmla="*/ 1953986 w 4510936"/>
                    <a:gd name="connsiteY4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1556657 w 4510936"/>
                    <a:gd name="connsiteY25" fmla="*/ 2852599 h 3835942"/>
                    <a:gd name="connsiteX26" fmla="*/ 1580115 w 4510936"/>
                    <a:gd name="connsiteY26" fmla="*/ 3729193 h 3835942"/>
                    <a:gd name="connsiteX27" fmla="*/ 1581642 w 4510936"/>
                    <a:gd name="connsiteY27" fmla="*/ 3835942 h 3835942"/>
                    <a:gd name="connsiteX28" fmla="*/ 1113971 w 4510936"/>
                    <a:gd name="connsiteY28" fmla="*/ 3835942 h 3835942"/>
                    <a:gd name="connsiteX29" fmla="*/ 836413 w 4510936"/>
                    <a:gd name="connsiteY29" fmla="*/ 3086585 h 3835942"/>
                    <a:gd name="connsiteX30" fmla="*/ 116170 w 4510936"/>
                    <a:gd name="connsiteY30" fmla="*/ 2308285 h 3835942"/>
                    <a:gd name="connsiteX31" fmla="*/ 118297 w 4510936"/>
                    <a:gd name="connsiteY31" fmla="*/ 2287181 h 3835942"/>
                    <a:gd name="connsiteX32" fmla="*/ 98842 w 4510936"/>
                    <a:gd name="connsiteY32" fmla="*/ 2263602 h 3835942"/>
                    <a:gd name="connsiteX33" fmla="*/ 0 w 4510936"/>
                    <a:gd name="connsiteY33" fmla="*/ 1940013 h 3835942"/>
                    <a:gd name="connsiteX34" fmla="*/ 98842 w 4510936"/>
                    <a:gd name="connsiteY34" fmla="*/ 1616424 h 3835942"/>
                    <a:gd name="connsiteX35" fmla="*/ 158494 w 4510936"/>
                    <a:gd name="connsiteY35" fmla="*/ 1544125 h 3835942"/>
                    <a:gd name="connsiteX36" fmla="*/ 138294 w 4510936"/>
                    <a:gd name="connsiteY36" fmla="*/ 1479051 h 3835942"/>
                    <a:gd name="connsiteX37" fmla="*/ 124645 w 4510936"/>
                    <a:gd name="connsiteY37" fmla="*/ 1343654 h 3835942"/>
                    <a:gd name="connsiteX38" fmla="*/ 534966 w 4510936"/>
                    <a:gd name="connsiteY38" fmla="*/ 724623 h 3835942"/>
                    <a:gd name="connsiteX39" fmla="*/ 655270 w 4510936"/>
                    <a:gd name="connsiteY39" fmla="*/ 687278 h 3835942"/>
                    <a:gd name="connsiteX40" fmla="*/ 663127 w 4510936"/>
                    <a:gd name="connsiteY40" fmla="*/ 661967 h 3835942"/>
                    <a:gd name="connsiteX41" fmla="*/ 1282159 w 4510936"/>
                    <a:gd name="connsiteY41" fmla="*/ 251645 h 3835942"/>
                    <a:gd name="connsiteX42" fmla="*/ 1417556 w 4510936"/>
                    <a:gd name="connsiteY42" fmla="*/ 265294 h 3835942"/>
                    <a:gd name="connsiteX43" fmla="*/ 1421411 w 4510936"/>
                    <a:gd name="connsiteY43" fmla="*/ 266491 h 3835942"/>
                    <a:gd name="connsiteX44" fmla="*/ 1478933 w 4510936"/>
                    <a:gd name="connsiteY44" fmla="*/ 196773 h 3835942"/>
                    <a:gd name="connsiteX45" fmla="*/ 1953986 w 4510936"/>
                    <a:gd name="connsiteY4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850570 w 4510936"/>
                    <a:gd name="connsiteY22" fmla="*/ 2130513 h 3835942"/>
                    <a:gd name="connsiteX23" fmla="*/ 2148114 w 4510936"/>
                    <a:gd name="connsiteY23" fmla="*/ 1901913 h 3835942"/>
                    <a:gd name="connsiteX24" fmla="*/ 1556657 w 4510936"/>
                    <a:gd name="connsiteY24" fmla="*/ 2852599 h 3835942"/>
                    <a:gd name="connsiteX25" fmla="*/ 1580115 w 4510936"/>
                    <a:gd name="connsiteY25" fmla="*/ 3729193 h 3835942"/>
                    <a:gd name="connsiteX26" fmla="*/ 1581642 w 4510936"/>
                    <a:gd name="connsiteY26" fmla="*/ 3835942 h 3835942"/>
                    <a:gd name="connsiteX27" fmla="*/ 1113971 w 4510936"/>
                    <a:gd name="connsiteY27" fmla="*/ 3835942 h 3835942"/>
                    <a:gd name="connsiteX28" fmla="*/ 836413 w 4510936"/>
                    <a:gd name="connsiteY28" fmla="*/ 3086585 h 3835942"/>
                    <a:gd name="connsiteX29" fmla="*/ 116170 w 4510936"/>
                    <a:gd name="connsiteY29" fmla="*/ 2308285 h 3835942"/>
                    <a:gd name="connsiteX30" fmla="*/ 118297 w 4510936"/>
                    <a:gd name="connsiteY30" fmla="*/ 2287181 h 3835942"/>
                    <a:gd name="connsiteX31" fmla="*/ 98842 w 4510936"/>
                    <a:gd name="connsiteY31" fmla="*/ 2263602 h 3835942"/>
                    <a:gd name="connsiteX32" fmla="*/ 0 w 4510936"/>
                    <a:gd name="connsiteY32" fmla="*/ 1940013 h 3835942"/>
                    <a:gd name="connsiteX33" fmla="*/ 98842 w 4510936"/>
                    <a:gd name="connsiteY33" fmla="*/ 1616424 h 3835942"/>
                    <a:gd name="connsiteX34" fmla="*/ 158494 w 4510936"/>
                    <a:gd name="connsiteY34" fmla="*/ 1544125 h 3835942"/>
                    <a:gd name="connsiteX35" fmla="*/ 138294 w 4510936"/>
                    <a:gd name="connsiteY35" fmla="*/ 1479051 h 3835942"/>
                    <a:gd name="connsiteX36" fmla="*/ 124645 w 4510936"/>
                    <a:gd name="connsiteY36" fmla="*/ 1343654 h 3835942"/>
                    <a:gd name="connsiteX37" fmla="*/ 534966 w 4510936"/>
                    <a:gd name="connsiteY37" fmla="*/ 724623 h 3835942"/>
                    <a:gd name="connsiteX38" fmla="*/ 655270 w 4510936"/>
                    <a:gd name="connsiteY38" fmla="*/ 687278 h 3835942"/>
                    <a:gd name="connsiteX39" fmla="*/ 663127 w 4510936"/>
                    <a:gd name="connsiteY39" fmla="*/ 661967 h 3835942"/>
                    <a:gd name="connsiteX40" fmla="*/ 1282159 w 4510936"/>
                    <a:gd name="connsiteY40" fmla="*/ 251645 h 3835942"/>
                    <a:gd name="connsiteX41" fmla="*/ 1417556 w 4510936"/>
                    <a:gd name="connsiteY41" fmla="*/ 265294 h 3835942"/>
                    <a:gd name="connsiteX42" fmla="*/ 1421411 w 4510936"/>
                    <a:gd name="connsiteY42" fmla="*/ 266491 h 3835942"/>
                    <a:gd name="connsiteX43" fmla="*/ 1478933 w 4510936"/>
                    <a:gd name="connsiteY43" fmla="*/ 196773 h 3835942"/>
                    <a:gd name="connsiteX44" fmla="*/ 1953986 w 4510936"/>
                    <a:gd name="connsiteY4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850570 w 4510936"/>
                    <a:gd name="connsiteY21" fmla="*/ 2130513 h 3835942"/>
                    <a:gd name="connsiteX22" fmla="*/ 2148114 w 4510936"/>
                    <a:gd name="connsiteY22" fmla="*/ 1901913 h 3835942"/>
                    <a:gd name="connsiteX23" fmla="*/ 1556657 w 4510936"/>
                    <a:gd name="connsiteY23" fmla="*/ 2852599 h 3835942"/>
                    <a:gd name="connsiteX24" fmla="*/ 1580115 w 4510936"/>
                    <a:gd name="connsiteY24" fmla="*/ 3729193 h 3835942"/>
                    <a:gd name="connsiteX25" fmla="*/ 1581642 w 4510936"/>
                    <a:gd name="connsiteY25" fmla="*/ 3835942 h 3835942"/>
                    <a:gd name="connsiteX26" fmla="*/ 1113971 w 4510936"/>
                    <a:gd name="connsiteY26" fmla="*/ 3835942 h 3835942"/>
                    <a:gd name="connsiteX27" fmla="*/ 836413 w 4510936"/>
                    <a:gd name="connsiteY27" fmla="*/ 3086585 h 3835942"/>
                    <a:gd name="connsiteX28" fmla="*/ 116170 w 4510936"/>
                    <a:gd name="connsiteY28" fmla="*/ 2308285 h 3835942"/>
                    <a:gd name="connsiteX29" fmla="*/ 118297 w 4510936"/>
                    <a:gd name="connsiteY29" fmla="*/ 2287181 h 3835942"/>
                    <a:gd name="connsiteX30" fmla="*/ 98842 w 4510936"/>
                    <a:gd name="connsiteY30" fmla="*/ 2263602 h 3835942"/>
                    <a:gd name="connsiteX31" fmla="*/ 0 w 4510936"/>
                    <a:gd name="connsiteY31" fmla="*/ 1940013 h 3835942"/>
                    <a:gd name="connsiteX32" fmla="*/ 98842 w 4510936"/>
                    <a:gd name="connsiteY32" fmla="*/ 1616424 h 3835942"/>
                    <a:gd name="connsiteX33" fmla="*/ 158494 w 4510936"/>
                    <a:gd name="connsiteY33" fmla="*/ 1544125 h 3835942"/>
                    <a:gd name="connsiteX34" fmla="*/ 138294 w 4510936"/>
                    <a:gd name="connsiteY34" fmla="*/ 1479051 h 3835942"/>
                    <a:gd name="connsiteX35" fmla="*/ 124645 w 4510936"/>
                    <a:gd name="connsiteY35" fmla="*/ 1343654 h 3835942"/>
                    <a:gd name="connsiteX36" fmla="*/ 534966 w 4510936"/>
                    <a:gd name="connsiteY36" fmla="*/ 724623 h 3835942"/>
                    <a:gd name="connsiteX37" fmla="*/ 655270 w 4510936"/>
                    <a:gd name="connsiteY37" fmla="*/ 687278 h 3835942"/>
                    <a:gd name="connsiteX38" fmla="*/ 663127 w 4510936"/>
                    <a:gd name="connsiteY38" fmla="*/ 661967 h 3835942"/>
                    <a:gd name="connsiteX39" fmla="*/ 1282159 w 4510936"/>
                    <a:gd name="connsiteY39" fmla="*/ 251645 h 3835942"/>
                    <a:gd name="connsiteX40" fmla="*/ 1417556 w 4510936"/>
                    <a:gd name="connsiteY40" fmla="*/ 265294 h 3835942"/>
                    <a:gd name="connsiteX41" fmla="*/ 1421411 w 4510936"/>
                    <a:gd name="connsiteY41" fmla="*/ 266491 h 3835942"/>
                    <a:gd name="connsiteX42" fmla="*/ 1478933 w 4510936"/>
                    <a:gd name="connsiteY42" fmla="*/ 196773 h 3835942"/>
                    <a:gd name="connsiteX43" fmla="*/ 1953986 w 4510936"/>
                    <a:gd name="connsiteY4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850570 w 4510936"/>
                    <a:gd name="connsiteY20" fmla="*/ 2130513 h 3835942"/>
                    <a:gd name="connsiteX21" fmla="*/ 2148114 w 4510936"/>
                    <a:gd name="connsiteY21" fmla="*/ 1901913 h 3835942"/>
                    <a:gd name="connsiteX22" fmla="*/ 1556657 w 4510936"/>
                    <a:gd name="connsiteY22" fmla="*/ 2852599 h 3835942"/>
                    <a:gd name="connsiteX23" fmla="*/ 1580115 w 4510936"/>
                    <a:gd name="connsiteY23" fmla="*/ 3729193 h 3835942"/>
                    <a:gd name="connsiteX24" fmla="*/ 1581642 w 4510936"/>
                    <a:gd name="connsiteY24" fmla="*/ 3835942 h 3835942"/>
                    <a:gd name="connsiteX25" fmla="*/ 1113971 w 4510936"/>
                    <a:gd name="connsiteY25" fmla="*/ 3835942 h 3835942"/>
                    <a:gd name="connsiteX26" fmla="*/ 836413 w 4510936"/>
                    <a:gd name="connsiteY26" fmla="*/ 3086585 h 3835942"/>
                    <a:gd name="connsiteX27" fmla="*/ 116170 w 4510936"/>
                    <a:gd name="connsiteY27" fmla="*/ 2308285 h 3835942"/>
                    <a:gd name="connsiteX28" fmla="*/ 118297 w 4510936"/>
                    <a:gd name="connsiteY28" fmla="*/ 2287181 h 3835942"/>
                    <a:gd name="connsiteX29" fmla="*/ 98842 w 4510936"/>
                    <a:gd name="connsiteY29" fmla="*/ 2263602 h 3835942"/>
                    <a:gd name="connsiteX30" fmla="*/ 0 w 4510936"/>
                    <a:gd name="connsiteY30" fmla="*/ 1940013 h 3835942"/>
                    <a:gd name="connsiteX31" fmla="*/ 98842 w 4510936"/>
                    <a:gd name="connsiteY31" fmla="*/ 1616424 h 3835942"/>
                    <a:gd name="connsiteX32" fmla="*/ 158494 w 4510936"/>
                    <a:gd name="connsiteY32" fmla="*/ 1544125 h 3835942"/>
                    <a:gd name="connsiteX33" fmla="*/ 138294 w 4510936"/>
                    <a:gd name="connsiteY33" fmla="*/ 1479051 h 3835942"/>
                    <a:gd name="connsiteX34" fmla="*/ 124645 w 4510936"/>
                    <a:gd name="connsiteY34" fmla="*/ 1343654 h 3835942"/>
                    <a:gd name="connsiteX35" fmla="*/ 534966 w 4510936"/>
                    <a:gd name="connsiteY35" fmla="*/ 724623 h 3835942"/>
                    <a:gd name="connsiteX36" fmla="*/ 655270 w 4510936"/>
                    <a:gd name="connsiteY36" fmla="*/ 687278 h 3835942"/>
                    <a:gd name="connsiteX37" fmla="*/ 663127 w 4510936"/>
                    <a:gd name="connsiteY37" fmla="*/ 661967 h 3835942"/>
                    <a:gd name="connsiteX38" fmla="*/ 1282159 w 4510936"/>
                    <a:gd name="connsiteY38" fmla="*/ 251645 h 3835942"/>
                    <a:gd name="connsiteX39" fmla="*/ 1417556 w 4510936"/>
                    <a:gd name="connsiteY39" fmla="*/ 265294 h 3835942"/>
                    <a:gd name="connsiteX40" fmla="*/ 1421411 w 4510936"/>
                    <a:gd name="connsiteY40" fmla="*/ 266491 h 3835942"/>
                    <a:gd name="connsiteX41" fmla="*/ 1478933 w 4510936"/>
                    <a:gd name="connsiteY41" fmla="*/ 196773 h 3835942"/>
                    <a:gd name="connsiteX42" fmla="*/ 1953986 w 4510936"/>
                    <a:gd name="connsiteY4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850570 w 4510936"/>
                    <a:gd name="connsiteY19" fmla="*/ 2130513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33865 w 4510936"/>
                    <a:gd name="connsiteY19" fmla="*/ 1977965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33865 w 4510936"/>
                    <a:gd name="connsiteY18" fmla="*/ 1977965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48114 w 4510936"/>
                    <a:gd name="connsiteY18" fmla="*/ 1901913 h 3835942"/>
                    <a:gd name="connsiteX19" fmla="*/ 1556657 w 4510936"/>
                    <a:gd name="connsiteY19" fmla="*/ 2852599 h 3835942"/>
                    <a:gd name="connsiteX20" fmla="*/ 1580115 w 4510936"/>
                    <a:gd name="connsiteY20" fmla="*/ 3729193 h 3835942"/>
                    <a:gd name="connsiteX21" fmla="*/ 1581642 w 4510936"/>
                    <a:gd name="connsiteY21" fmla="*/ 3835942 h 3835942"/>
                    <a:gd name="connsiteX22" fmla="*/ 1113971 w 4510936"/>
                    <a:gd name="connsiteY22" fmla="*/ 3835942 h 3835942"/>
                    <a:gd name="connsiteX23" fmla="*/ 836413 w 4510936"/>
                    <a:gd name="connsiteY23" fmla="*/ 3086585 h 3835942"/>
                    <a:gd name="connsiteX24" fmla="*/ 116170 w 4510936"/>
                    <a:gd name="connsiteY24" fmla="*/ 2308285 h 3835942"/>
                    <a:gd name="connsiteX25" fmla="*/ 118297 w 4510936"/>
                    <a:gd name="connsiteY25" fmla="*/ 2287181 h 3835942"/>
                    <a:gd name="connsiteX26" fmla="*/ 98842 w 4510936"/>
                    <a:gd name="connsiteY26" fmla="*/ 2263602 h 3835942"/>
                    <a:gd name="connsiteX27" fmla="*/ 0 w 4510936"/>
                    <a:gd name="connsiteY27" fmla="*/ 1940013 h 3835942"/>
                    <a:gd name="connsiteX28" fmla="*/ 98842 w 4510936"/>
                    <a:gd name="connsiteY28" fmla="*/ 1616424 h 3835942"/>
                    <a:gd name="connsiteX29" fmla="*/ 158494 w 4510936"/>
                    <a:gd name="connsiteY29" fmla="*/ 1544125 h 3835942"/>
                    <a:gd name="connsiteX30" fmla="*/ 138294 w 4510936"/>
                    <a:gd name="connsiteY30" fmla="*/ 1479051 h 3835942"/>
                    <a:gd name="connsiteX31" fmla="*/ 124645 w 4510936"/>
                    <a:gd name="connsiteY31" fmla="*/ 1343654 h 3835942"/>
                    <a:gd name="connsiteX32" fmla="*/ 534966 w 4510936"/>
                    <a:gd name="connsiteY32" fmla="*/ 724623 h 3835942"/>
                    <a:gd name="connsiteX33" fmla="*/ 655270 w 4510936"/>
                    <a:gd name="connsiteY33" fmla="*/ 687278 h 3835942"/>
                    <a:gd name="connsiteX34" fmla="*/ 663127 w 4510936"/>
                    <a:gd name="connsiteY34" fmla="*/ 661967 h 3835942"/>
                    <a:gd name="connsiteX35" fmla="*/ 1282159 w 4510936"/>
                    <a:gd name="connsiteY35" fmla="*/ 251645 h 3835942"/>
                    <a:gd name="connsiteX36" fmla="*/ 1417556 w 4510936"/>
                    <a:gd name="connsiteY36" fmla="*/ 265294 h 3835942"/>
                    <a:gd name="connsiteX37" fmla="*/ 1421411 w 4510936"/>
                    <a:gd name="connsiteY37" fmla="*/ 266491 h 3835942"/>
                    <a:gd name="connsiteX38" fmla="*/ 1478933 w 4510936"/>
                    <a:gd name="connsiteY38" fmla="*/ 196773 h 3835942"/>
                    <a:gd name="connsiteX39" fmla="*/ 1953986 w 4510936"/>
                    <a:gd name="connsiteY3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556657 w 4510936"/>
                    <a:gd name="connsiteY18" fmla="*/ 2852599 h 3835942"/>
                    <a:gd name="connsiteX19" fmla="*/ 1580115 w 4510936"/>
                    <a:gd name="connsiteY19" fmla="*/ 3729193 h 3835942"/>
                    <a:gd name="connsiteX20" fmla="*/ 1581642 w 4510936"/>
                    <a:gd name="connsiteY20" fmla="*/ 3835942 h 3835942"/>
                    <a:gd name="connsiteX21" fmla="*/ 1113971 w 4510936"/>
                    <a:gd name="connsiteY21" fmla="*/ 3835942 h 3835942"/>
                    <a:gd name="connsiteX22" fmla="*/ 836413 w 4510936"/>
                    <a:gd name="connsiteY22" fmla="*/ 3086585 h 3835942"/>
                    <a:gd name="connsiteX23" fmla="*/ 116170 w 4510936"/>
                    <a:gd name="connsiteY23" fmla="*/ 2308285 h 3835942"/>
                    <a:gd name="connsiteX24" fmla="*/ 118297 w 4510936"/>
                    <a:gd name="connsiteY24" fmla="*/ 2287181 h 3835942"/>
                    <a:gd name="connsiteX25" fmla="*/ 98842 w 4510936"/>
                    <a:gd name="connsiteY25" fmla="*/ 2263602 h 3835942"/>
                    <a:gd name="connsiteX26" fmla="*/ 0 w 4510936"/>
                    <a:gd name="connsiteY26" fmla="*/ 1940013 h 3835942"/>
                    <a:gd name="connsiteX27" fmla="*/ 98842 w 4510936"/>
                    <a:gd name="connsiteY27" fmla="*/ 1616424 h 3835942"/>
                    <a:gd name="connsiteX28" fmla="*/ 158494 w 4510936"/>
                    <a:gd name="connsiteY28" fmla="*/ 1544125 h 3835942"/>
                    <a:gd name="connsiteX29" fmla="*/ 138294 w 4510936"/>
                    <a:gd name="connsiteY29" fmla="*/ 1479051 h 3835942"/>
                    <a:gd name="connsiteX30" fmla="*/ 124645 w 4510936"/>
                    <a:gd name="connsiteY30" fmla="*/ 1343654 h 3835942"/>
                    <a:gd name="connsiteX31" fmla="*/ 534966 w 4510936"/>
                    <a:gd name="connsiteY31" fmla="*/ 724623 h 3835942"/>
                    <a:gd name="connsiteX32" fmla="*/ 655270 w 4510936"/>
                    <a:gd name="connsiteY32" fmla="*/ 687278 h 3835942"/>
                    <a:gd name="connsiteX33" fmla="*/ 663127 w 4510936"/>
                    <a:gd name="connsiteY33" fmla="*/ 661967 h 3835942"/>
                    <a:gd name="connsiteX34" fmla="*/ 1282159 w 4510936"/>
                    <a:gd name="connsiteY34" fmla="*/ 251645 h 3835942"/>
                    <a:gd name="connsiteX35" fmla="*/ 1417556 w 4510936"/>
                    <a:gd name="connsiteY35" fmla="*/ 265294 h 3835942"/>
                    <a:gd name="connsiteX36" fmla="*/ 1421411 w 4510936"/>
                    <a:gd name="connsiteY36" fmla="*/ 266491 h 3835942"/>
                    <a:gd name="connsiteX37" fmla="*/ 1478933 w 4510936"/>
                    <a:gd name="connsiteY37" fmla="*/ 196773 h 3835942"/>
                    <a:gd name="connsiteX38" fmla="*/ 1953986 w 4510936"/>
                    <a:gd name="connsiteY3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0115 w 4510936"/>
                    <a:gd name="connsiteY18" fmla="*/ 3729193 h 3835942"/>
                    <a:gd name="connsiteX19" fmla="*/ 1581642 w 4510936"/>
                    <a:gd name="connsiteY19" fmla="*/ 3835942 h 3835942"/>
                    <a:gd name="connsiteX20" fmla="*/ 1113971 w 4510936"/>
                    <a:gd name="connsiteY20" fmla="*/ 3835942 h 3835942"/>
                    <a:gd name="connsiteX21" fmla="*/ 836413 w 4510936"/>
                    <a:gd name="connsiteY21" fmla="*/ 3086585 h 3835942"/>
                    <a:gd name="connsiteX22" fmla="*/ 116170 w 4510936"/>
                    <a:gd name="connsiteY22" fmla="*/ 2308285 h 3835942"/>
                    <a:gd name="connsiteX23" fmla="*/ 118297 w 4510936"/>
                    <a:gd name="connsiteY23" fmla="*/ 2287181 h 3835942"/>
                    <a:gd name="connsiteX24" fmla="*/ 98842 w 4510936"/>
                    <a:gd name="connsiteY24" fmla="*/ 2263602 h 3835942"/>
                    <a:gd name="connsiteX25" fmla="*/ 0 w 4510936"/>
                    <a:gd name="connsiteY25" fmla="*/ 1940013 h 3835942"/>
                    <a:gd name="connsiteX26" fmla="*/ 98842 w 4510936"/>
                    <a:gd name="connsiteY26" fmla="*/ 1616424 h 3835942"/>
                    <a:gd name="connsiteX27" fmla="*/ 158494 w 4510936"/>
                    <a:gd name="connsiteY27" fmla="*/ 1544125 h 3835942"/>
                    <a:gd name="connsiteX28" fmla="*/ 138294 w 4510936"/>
                    <a:gd name="connsiteY28" fmla="*/ 1479051 h 3835942"/>
                    <a:gd name="connsiteX29" fmla="*/ 124645 w 4510936"/>
                    <a:gd name="connsiteY29" fmla="*/ 1343654 h 3835942"/>
                    <a:gd name="connsiteX30" fmla="*/ 534966 w 4510936"/>
                    <a:gd name="connsiteY30" fmla="*/ 724623 h 3835942"/>
                    <a:gd name="connsiteX31" fmla="*/ 655270 w 4510936"/>
                    <a:gd name="connsiteY31" fmla="*/ 687278 h 3835942"/>
                    <a:gd name="connsiteX32" fmla="*/ 663127 w 4510936"/>
                    <a:gd name="connsiteY32" fmla="*/ 661967 h 3835942"/>
                    <a:gd name="connsiteX33" fmla="*/ 1282159 w 4510936"/>
                    <a:gd name="connsiteY33" fmla="*/ 251645 h 3835942"/>
                    <a:gd name="connsiteX34" fmla="*/ 1417556 w 4510936"/>
                    <a:gd name="connsiteY34" fmla="*/ 265294 h 3835942"/>
                    <a:gd name="connsiteX35" fmla="*/ 1421411 w 4510936"/>
                    <a:gd name="connsiteY35" fmla="*/ 266491 h 3835942"/>
                    <a:gd name="connsiteX36" fmla="*/ 1478933 w 4510936"/>
                    <a:gd name="connsiteY36" fmla="*/ 196773 h 3835942"/>
                    <a:gd name="connsiteX37" fmla="*/ 1953986 w 4510936"/>
                    <a:gd name="connsiteY3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1642 w 4510936"/>
                    <a:gd name="connsiteY18" fmla="*/ 3835942 h 3835942"/>
                    <a:gd name="connsiteX19" fmla="*/ 1113971 w 4510936"/>
                    <a:gd name="connsiteY19" fmla="*/ 3835942 h 3835942"/>
                    <a:gd name="connsiteX20" fmla="*/ 836413 w 4510936"/>
                    <a:gd name="connsiteY20" fmla="*/ 3086585 h 3835942"/>
                    <a:gd name="connsiteX21" fmla="*/ 116170 w 4510936"/>
                    <a:gd name="connsiteY21" fmla="*/ 2308285 h 3835942"/>
                    <a:gd name="connsiteX22" fmla="*/ 118297 w 4510936"/>
                    <a:gd name="connsiteY22" fmla="*/ 2287181 h 3835942"/>
                    <a:gd name="connsiteX23" fmla="*/ 98842 w 4510936"/>
                    <a:gd name="connsiteY23" fmla="*/ 2263602 h 3835942"/>
                    <a:gd name="connsiteX24" fmla="*/ 0 w 4510936"/>
                    <a:gd name="connsiteY24" fmla="*/ 1940013 h 3835942"/>
                    <a:gd name="connsiteX25" fmla="*/ 98842 w 4510936"/>
                    <a:gd name="connsiteY25" fmla="*/ 1616424 h 3835942"/>
                    <a:gd name="connsiteX26" fmla="*/ 158494 w 4510936"/>
                    <a:gd name="connsiteY26" fmla="*/ 1544125 h 3835942"/>
                    <a:gd name="connsiteX27" fmla="*/ 138294 w 4510936"/>
                    <a:gd name="connsiteY27" fmla="*/ 1479051 h 3835942"/>
                    <a:gd name="connsiteX28" fmla="*/ 124645 w 4510936"/>
                    <a:gd name="connsiteY28" fmla="*/ 1343654 h 3835942"/>
                    <a:gd name="connsiteX29" fmla="*/ 534966 w 4510936"/>
                    <a:gd name="connsiteY29" fmla="*/ 724623 h 3835942"/>
                    <a:gd name="connsiteX30" fmla="*/ 655270 w 4510936"/>
                    <a:gd name="connsiteY30" fmla="*/ 687278 h 3835942"/>
                    <a:gd name="connsiteX31" fmla="*/ 663127 w 4510936"/>
                    <a:gd name="connsiteY31" fmla="*/ 661967 h 3835942"/>
                    <a:gd name="connsiteX32" fmla="*/ 1282159 w 4510936"/>
                    <a:gd name="connsiteY32" fmla="*/ 251645 h 3835942"/>
                    <a:gd name="connsiteX33" fmla="*/ 1417556 w 4510936"/>
                    <a:gd name="connsiteY33" fmla="*/ 265294 h 3835942"/>
                    <a:gd name="connsiteX34" fmla="*/ 1421411 w 4510936"/>
                    <a:gd name="connsiteY34" fmla="*/ 266491 h 3835942"/>
                    <a:gd name="connsiteX35" fmla="*/ 1478933 w 4510936"/>
                    <a:gd name="connsiteY35" fmla="*/ 196773 h 3835942"/>
                    <a:gd name="connsiteX36" fmla="*/ 1953986 w 4510936"/>
                    <a:gd name="connsiteY3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81642 w 4510936"/>
                    <a:gd name="connsiteY17" fmla="*/ 3835942 h 3835942"/>
                    <a:gd name="connsiteX18" fmla="*/ 1113971 w 4510936"/>
                    <a:gd name="connsiteY18" fmla="*/ 3835942 h 3835942"/>
                    <a:gd name="connsiteX19" fmla="*/ 836413 w 4510936"/>
                    <a:gd name="connsiteY19" fmla="*/ 3086585 h 3835942"/>
                    <a:gd name="connsiteX20" fmla="*/ 116170 w 4510936"/>
                    <a:gd name="connsiteY20" fmla="*/ 2308285 h 3835942"/>
                    <a:gd name="connsiteX21" fmla="*/ 118297 w 4510936"/>
                    <a:gd name="connsiteY21" fmla="*/ 2287181 h 3835942"/>
                    <a:gd name="connsiteX22" fmla="*/ 98842 w 4510936"/>
                    <a:gd name="connsiteY22" fmla="*/ 2263602 h 3835942"/>
                    <a:gd name="connsiteX23" fmla="*/ 0 w 4510936"/>
                    <a:gd name="connsiteY23" fmla="*/ 1940013 h 3835942"/>
                    <a:gd name="connsiteX24" fmla="*/ 98842 w 4510936"/>
                    <a:gd name="connsiteY24" fmla="*/ 1616424 h 3835942"/>
                    <a:gd name="connsiteX25" fmla="*/ 158494 w 4510936"/>
                    <a:gd name="connsiteY25" fmla="*/ 1544125 h 3835942"/>
                    <a:gd name="connsiteX26" fmla="*/ 138294 w 4510936"/>
                    <a:gd name="connsiteY26" fmla="*/ 1479051 h 3835942"/>
                    <a:gd name="connsiteX27" fmla="*/ 124645 w 4510936"/>
                    <a:gd name="connsiteY27" fmla="*/ 1343654 h 3835942"/>
                    <a:gd name="connsiteX28" fmla="*/ 534966 w 4510936"/>
                    <a:gd name="connsiteY28" fmla="*/ 724623 h 3835942"/>
                    <a:gd name="connsiteX29" fmla="*/ 655270 w 4510936"/>
                    <a:gd name="connsiteY29" fmla="*/ 687278 h 3835942"/>
                    <a:gd name="connsiteX30" fmla="*/ 663127 w 4510936"/>
                    <a:gd name="connsiteY30" fmla="*/ 661967 h 3835942"/>
                    <a:gd name="connsiteX31" fmla="*/ 1282159 w 4510936"/>
                    <a:gd name="connsiteY31" fmla="*/ 251645 h 3835942"/>
                    <a:gd name="connsiteX32" fmla="*/ 1417556 w 4510936"/>
                    <a:gd name="connsiteY32" fmla="*/ 265294 h 3835942"/>
                    <a:gd name="connsiteX33" fmla="*/ 1421411 w 4510936"/>
                    <a:gd name="connsiteY33" fmla="*/ 266491 h 3835942"/>
                    <a:gd name="connsiteX34" fmla="*/ 1478933 w 4510936"/>
                    <a:gd name="connsiteY34" fmla="*/ 196773 h 3835942"/>
                    <a:gd name="connsiteX35" fmla="*/ 1953986 w 4510936"/>
                    <a:gd name="connsiteY35" fmla="*/ 0 h 3835942"/>
                    <a:gd name="connsiteX0" fmla="*/ 1581642 w 4510936"/>
                    <a:gd name="connsiteY0" fmla="*/ 3835942 h 4045762"/>
                    <a:gd name="connsiteX1" fmla="*/ 1113971 w 4510936"/>
                    <a:gd name="connsiteY1" fmla="*/ 3835942 h 4045762"/>
                    <a:gd name="connsiteX2" fmla="*/ 836413 w 4510936"/>
                    <a:gd name="connsiteY2" fmla="*/ 3086585 h 4045762"/>
                    <a:gd name="connsiteX3" fmla="*/ 116170 w 4510936"/>
                    <a:gd name="connsiteY3" fmla="*/ 2308285 h 4045762"/>
                    <a:gd name="connsiteX4" fmla="*/ 118297 w 4510936"/>
                    <a:gd name="connsiteY4" fmla="*/ 2287181 h 4045762"/>
                    <a:gd name="connsiteX5" fmla="*/ 98842 w 4510936"/>
                    <a:gd name="connsiteY5" fmla="*/ 2263602 h 4045762"/>
                    <a:gd name="connsiteX6" fmla="*/ 0 w 4510936"/>
                    <a:gd name="connsiteY6" fmla="*/ 1940013 h 4045762"/>
                    <a:gd name="connsiteX7" fmla="*/ 98842 w 4510936"/>
                    <a:gd name="connsiteY7" fmla="*/ 1616424 h 4045762"/>
                    <a:gd name="connsiteX8" fmla="*/ 158494 w 4510936"/>
                    <a:gd name="connsiteY8" fmla="*/ 1544125 h 4045762"/>
                    <a:gd name="connsiteX9" fmla="*/ 138294 w 4510936"/>
                    <a:gd name="connsiteY9" fmla="*/ 1479051 h 4045762"/>
                    <a:gd name="connsiteX10" fmla="*/ 124645 w 4510936"/>
                    <a:gd name="connsiteY10" fmla="*/ 1343654 h 4045762"/>
                    <a:gd name="connsiteX11" fmla="*/ 534966 w 4510936"/>
                    <a:gd name="connsiteY11" fmla="*/ 724623 h 4045762"/>
                    <a:gd name="connsiteX12" fmla="*/ 655270 w 4510936"/>
                    <a:gd name="connsiteY12" fmla="*/ 687278 h 4045762"/>
                    <a:gd name="connsiteX13" fmla="*/ 663127 w 4510936"/>
                    <a:gd name="connsiteY13" fmla="*/ 661967 h 4045762"/>
                    <a:gd name="connsiteX14" fmla="*/ 1282159 w 4510936"/>
                    <a:gd name="connsiteY14" fmla="*/ 251645 h 4045762"/>
                    <a:gd name="connsiteX15" fmla="*/ 1417556 w 4510936"/>
                    <a:gd name="connsiteY15" fmla="*/ 265294 h 4045762"/>
                    <a:gd name="connsiteX16" fmla="*/ 1421411 w 4510936"/>
                    <a:gd name="connsiteY16" fmla="*/ 266491 h 4045762"/>
                    <a:gd name="connsiteX17" fmla="*/ 1478933 w 4510936"/>
                    <a:gd name="connsiteY17" fmla="*/ 196773 h 4045762"/>
                    <a:gd name="connsiteX18" fmla="*/ 1953986 w 4510936"/>
                    <a:gd name="connsiteY18" fmla="*/ 0 h 4045762"/>
                    <a:gd name="connsiteX19" fmla="*/ 2329611 w 4510936"/>
                    <a:gd name="connsiteY19" fmla="*/ 114738 h 4045762"/>
                    <a:gd name="connsiteX20" fmla="*/ 2418153 w 4510936"/>
                    <a:gd name="connsiteY20" fmla="*/ 187791 h 4045762"/>
                    <a:gd name="connsiteX21" fmla="*/ 2436328 w 4510936"/>
                    <a:gd name="connsiteY21" fmla="*/ 172795 h 4045762"/>
                    <a:gd name="connsiteX22" fmla="*/ 2811953 w 4510936"/>
                    <a:gd name="connsiteY22" fmla="*/ 58057 h 4045762"/>
                    <a:gd name="connsiteX23" fmla="*/ 3430985 w 4510936"/>
                    <a:gd name="connsiteY23" fmla="*/ 468379 h 4045762"/>
                    <a:gd name="connsiteX24" fmla="*/ 3439052 w 4510936"/>
                    <a:gd name="connsiteY24" fmla="*/ 494366 h 4045762"/>
                    <a:gd name="connsiteX25" fmla="*/ 3483780 w 4510936"/>
                    <a:gd name="connsiteY25" fmla="*/ 489857 h 4045762"/>
                    <a:gd name="connsiteX26" fmla="*/ 4155607 w 4510936"/>
                    <a:gd name="connsiteY26" fmla="*/ 1161684 h 4045762"/>
                    <a:gd name="connsiteX27" fmla="*/ 4153309 w 4510936"/>
                    <a:gd name="connsiteY27" fmla="*/ 1184483 h 4045762"/>
                    <a:gd name="connsiteX28" fmla="*/ 4214734 w 4510936"/>
                    <a:gd name="connsiteY28" fmla="*/ 1217823 h 4045762"/>
                    <a:gd name="connsiteX29" fmla="*/ 4510936 w 4510936"/>
                    <a:gd name="connsiteY29" fmla="*/ 1774913 h 4045762"/>
                    <a:gd name="connsiteX30" fmla="*/ 3839109 w 4510936"/>
                    <a:gd name="connsiteY30" fmla="*/ 2446740 h 4045762"/>
                    <a:gd name="connsiteX31" fmla="*/ 2763472 w 4510936"/>
                    <a:gd name="connsiteY31" fmla="*/ 2548740 h 4045762"/>
                    <a:gd name="connsiteX32" fmla="*/ 2130180 w 4510936"/>
                    <a:gd name="connsiteY32" fmla="*/ 2990785 h 4045762"/>
                    <a:gd name="connsiteX33" fmla="*/ 2009850 w 4510936"/>
                    <a:gd name="connsiteY33" fmla="*/ 3835942 h 4045762"/>
                    <a:gd name="connsiteX34" fmla="*/ 1789458 w 4510936"/>
                    <a:gd name="connsiteY34" fmla="*/ 3835942 h 4045762"/>
                    <a:gd name="connsiteX35" fmla="*/ 1791461 w 4510936"/>
                    <a:gd name="connsiteY35" fmla="*/ 4045762 h 404576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34" fmla="*/ 1789458 w 4510936"/>
                    <a:gd name="connsiteY34" fmla="*/ 3835942 h 383594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10936" h="3835942">
                      <a:moveTo>
                        <a:pt x="1113971" y="3835942"/>
                      </a:moveTo>
                      <a:cubicBezTo>
                        <a:pt x="1117004" y="3353928"/>
                        <a:pt x="1047465" y="3115028"/>
                        <a:pt x="836413" y="3086585"/>
                      </a:cubicBezTo>
                      <a:cubicBezTo>
                        <a:pt x="446170" y="3033993"/>
                        <a:pt x="116170" y="2702056"/>
                        <a:pt x="116170" y="2308285"/>
                      </a:cubicBezTo>
                      <a:lnTo>
                        <a:pt x="118297" y="2287181"/>
                      </a:lnTo>
                      <a:lnTo>
                        <a:pt x="98842" y="2263602"/>
                      </a:lnTo>
                      <a:cubicBezTo>
                        <a:pt x="36438" y="2171232"/>
                        <a:pt x="0" y="2059878"/>
                        <a:pt x="0" y="1940013"/>
                      </a:cubicBezTo>
                      <a:cubicBezTo>
                        <a:pt x="0" y="1820148"/>
                        <a:pt x="36438" y="1708794"/>
                        <a:pt x="98842" y="1616424"/>
                      </a:cubicBezTo>
                      <a:lnTo>
                        <a:pt x="158494" y="1544125"/>
                      </a:lnTo>
                      <a:lnTo>
                        <a:pt x="138294" y="1479051"/>
                      </a:lnTo>
                      <a:cubicBezTo>
                        <a:pt x="129345" y="1435316"/>
                        <a:pt x="124645" y="1390034"/>
                        <a:pt x="124645" y="1343654"/>
                      </a:cubicBezTo>
                      <a:cubicBezTo>
                        <a:pt x="124645" y="1065374"/>
                        <a:pt x="293838" y="826611"/>
                        <a:pt x="534966" y="724623"/>
                      </a:cubicBezTo>
                      <a:lnTo>
                        <a:pt x="655270" y="687278"/>
                      </a:lnTo>
                      <a:lnTo>
                        <a:pt x="663127" y="661967"/>
                      </a:lnTo>
                      <a:cubicBezTo>
                        <a:pt x="765116" y="420838"/>
                        <a:pt x="1003879" y="251645"/>
                        <a:pt x="1282159" y="251645"/>
                      </a:cubicBezTo>
                      <a:cubicBezTo>
                        <a:pt x="1328539" y="251645"/>
                        <a:pt x="1373822" y="256345"/>
                        <a:pt x="1417556" y="265294"/>
                      </a:cubicBezTo>
                      <a:lnTo>
                        <a:pt x="1421411" y="266491"/>
                      </a:lnTo>
                      <a:lnTo>
                        <a:pt x="1478933" y="196773"/>
                      </a:lnTo>
                      <a:cubicBezTo>
                        <a:pt x="1600510" y="75197"/>
                        <a:pt x="1768466" y="0"/>
                        <a:pt x="1953986" y="0"/>
                      </a:cubicBezTo>
                      <a:cubicBezTo>
                        <a:pt x="2093126" y="0"/>
                        <a:pt x="2222387" y="42298"/>
                        <a:pt x="2329611" y="114738"/>
                      </a:cubicBezTo>
                      <a:lnTo>
                        <a:pt x="2418153" y="187791"/>
                      </a:lnTo>
                      <a:lnTo>
                        <a:pt x="2436328" y="172795"/>
                      </a:lnTo>
                      <a:cubicBezTo>
                        <a:pt x="2543553" y="100355"/>
                        <a:pt x="2672813" y="58057"/>
                        <a:pt x="2811953" y="58057"/>
                      </a:cubicBezTo>
                      <a:cubicBezTo>
                        <a:pt x="3090233" y="58057"/>
                        <a:pt x="3328996" y="227250"/>
                        <a:pt x="3430985" y="468379"/>
                      </a:cubicBezTo>
                      <a:lnTo>
                        <a:pt x="3439052" y="494366"/>
                      </a:lnTo>
                      <a:lnTo>
                        <a:pt x="3483780" y="489857"/>
                      </a:lnTo>
                      <a:cubicBezTo>
                        <a:pt x="3854820" y="489857"/>
                        <a:pt x="4155607" y="790644"/>
                        <a:pt x="4155607" y="1161684"/>
                      </a:cubicBezTo>
                      <a:lnTo>
                        <a:pt x="4153309" y="1184483"/>
                      </a:lnTo>
                      <a:lnTo>
                        <a:pt x="4214734" y="1217823"/>
                      </a:lnTo>
                      <a:cubicBezTo>
                        <a:pt x="4393441" y="1338556"/>
                        <a:pt x="4510936" y="1543013"/>
                        <a:pt x="4510936" y="1774913"/>
                      </a:cubicBezTo>
                      <a:cubicBezTo>
                        <a:pt x="4510936" y="2145953"/>
                        <a:pt x="4124085" y="2449471"/>
                        <a:pt x="3839109" y="2446740"/>
                      </a:cubicBezTo>
                      <a:cubicBezTo>
                        <a:pt x="3585495" y="2638428"/>
                        <a:pt x="3061074" y="2617143"/>
                        <a:pt x="2763472" y="2548740"/>
                      </a:cubicBezTo>
                      <a:cubicBezTo>
                        <a:pt x="2701568" y="2771878"/>
                        <a:pt x="2355083" y="3064742"/>
                        <a:pt x="2130180" y="2990785"/>
                      </a:cubicBezTo>
                      <a:cubicBezTo>
                        <a:pt x="2055794" y="3192776"/>
                        <a:pt x="1994823" y="3676349"/>
                        <a:pt x="2009850" y="3835942"/>
                      </a:cubicBezTo>
                    </a:path>
                  </a:pathLst>
                </a:custGeom>
                <a:noFill/>
                <a:ln w="1270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8" name="Group 117">
                  <a:extLst>
                    <a:ext uri="{FF2B5EF4-FFF2-40B4-BE49-F238E27FC236}">
                      <a16:creationId xmlns:a16="http://schemas.microsoft.com/office/drawing/2014/main" id="{03A88CFF-E7CD-4C75-BE75-333D16586191}"/>
                    </a:ext>
                  </a:extLst>
                </p:cNvPr>
                <p:cNvGrpSpPr/>
                <p:nvPr/>
              </p:nvGrpSpPr>
              <p:grpSpPr>
                <a:xfrm>
                  <a:off x="3558863" y="3838170"/>
                  <a:ext cx="2873016" cy="2905512"/>
                  <a:chOff x="3440120" y="3859753"/>
                  <a:chExt cx="2873016" cy="2905512"/>
                </a:xfrm>
              </p:grpSpPr>
              <p:sp>
                <p:nvSpPr>
                  <p:cNvPr id="119" name="Freeform: Shape 935">
                    <a:extLst>
                      <a:ext uri="{FF2B5EF4-FFF2-40B4-BE49-F238E27FC236}">
                        <a16:creationId xmlns:a16="http://schemas.microsoft.com/office/drawing/2014/main" id="{74D47607-800B-495E-8562-09B6CE273C03}"/>
                      </a:ext>
                    </a:extLst>
                  </p:cNvPr>
                  <p:cNvSpPr/>
                  <p:nvPr/>
                </p:nvSpPr>
                <p:spPr bwMode="auto">
                  <a:xfrm>
                    <a:off x="3729167" y="3859753"/>
                    <a:ext cx="1024256" cy="2905512"/>
                  </a:xfrm>
                  <a:custGeom>
                    <a:avLst/>
                    <a:gdLst>
                      <a:gd name="connsiteX0" fmla="*/ 343153 w 511882"/>
                      <a:gd name="connsiteY0" fmla="*/ 1460046 h 1460046"/>
                      <a:gd name="connsiteX1" fmla="*/ 334989 w 511882"/>
                      <a:gd name="connsiteY1" fmla="*/ 1013732 h 1460046"/>
                      <a:gd name="connsiteX2" fmla="*/ 253 w 511882"/>
                      <a:gd name="connsiteY2" fmla="*/ 511628 h 1460046"/>
                      <a:gd name="connsiteX3" fmla="*/ 394861 w 511882"/>
                      <a:gd name="connsiteY3" fmla="*/ 198664 h 1460046"/>
                      <a:gd name="connsiteX4" fmla="*/ 511882 w 511882"/>
                      <a:gd name="connsiteY4" fmla="*/ 0 h 1460046"/>
                      <a:gd name="connsiteX0" fmla="*/ 343139 w 511868"/>
                      <a:gd name="connsiteY0" fmla="*/ 1460046 h 1460046"/>
                      <a:gd name="connsiteX1" fmla="*/ 334975 w 511868"/>
                      <a:gd name="connsiteY1" fmla="*/ 1013732 h 1460046"/>
                      <a:gd name="connsiteX2" fmla="*/ 239 w 511868"/>
                      <a:gd name="connsiteY2" fmla="*/ 511628 h 1460046"/>
                      <a:gd name="connsiteX3" fmla="*/ 394847 w 511868"/>
                      <a:gd name="connsiteY3" fmla="*/ 198664 h 1460046"/>
                      <a:gd name="connsiteX4" fmla="*/ 511868 w 511868"/>
                      <a:gd name="connsiteY4" fmla="*/ 0 h 1460046"/>
                      <a:gd name="connsiteX0" fmla="*/ 346813 w 515542"/>
                      <a:gd name="connsiteY0" fmla="*/ 1460046 h 1460046"/>
                      <a:gd name="connsiteX1" fmla="*/ 338649 w 515542"/>
                      <a:gd name="connsiteY1" fmla="*/ 1013732 h 1460046"/>
                      <a:gd name="connsiteX2" fmla="*/ 3913 w 515542"/>
                      <a:gd name="connsiteY2" fmla="*/ 511628 h 1460046"/>
                      <a:gd name="connsiteX3" fmla="*/ 398521 w 515542"/>
                      <a:gd name="connsiteY3" fmla="*/ 198664 h 1460046"/>
                      <a:gd name="connsiteX4" fmla="*/ 515542 w 515542"/>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698" h="1460046">
                        <a:moveTo>
                          <a:pt x="345969" y="1460046"/>
                        </a:moveTo>
                        <a:cubicBezTo>
                          <a:pt x="343247" y="1279185"/>
                          <a:pt x="359576" y="1110571"/>
                          <a:pt x="337805" y="1013732"/>
                        </a:cubicBezTo>
                        <a:cubicBezTo>
                          <a:pt x="301287" y="851299"/>
                          <a:pt x="-35485" y="768576"/>
                          <a:pt x="3069" y="511628"/>
                        </a:cubicBezTo>
                        <a:cubicBezTo>
                          <a:pt x="41623" y="254680"/>
                          <a:pt x="312406" y="245835"/>
                          <a:pt x="397677" y="198664"/>
                        </a:cubicBezTo>
                        <a:cubicBezTo>
                          <a:pt x="482948" y="151493"/>
                          <a:pt x="507712" y="62166"/>
                          <a:pt x="514698" y="0"/>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0" name="Freeform: Shape 936">
                    <a:extLst>
                      <a:ext uri="{FF2B5EF4-FFF2-40B4-BE49-F238E27FC236}">
                        <a16:creationId xmlns:a16="http://schemas.microsoft.com/office/drawing/2014/main" id="{8BAB20D3-D675-41B6-88F3-520C44D0D802}"/>
                      </a:ext>
                    </a:extLst>
                  </p:cNvPr>
                  <p:cNvSpPr/>
                  <p:nvPr/>
                </p:nvSpPr>
                <p:spPr bwMode="auto">
                  <a:xfrm>
                    <a:off x="4475931" y="4041179"/>
                    <a:ext cx="1233358" cy="351610"/>
                  </a:xfrm>
                  <a:custGeom>
                    <a:avLst/>
                    <a:gdLst>
                      <a:gd name="connsiteX0" fmla="*/ 640896 w 640896"/>
                      <a:gd name="connsiteY0" fmla="*/ 0 h 180184"/>
                      <a:gd name="connsiteX1" fmla="*/ 336096 w 640896"/>
                      <a:gd name="connsiteY1" fmla="*/ 176892 h 180184"/>
                      <a:gd name="connsiteX2" fmla="*/ 0 w 640896"/>
                      <a:gd name="connsiteY2" fmla="*/ 122464 h 180184"/>
                      <a:gd name="connsiteX0" fmla="*/ 640896 w 640896"/>
                      <a:gd name="connsiteY0" fmla="*/ 0 h 181666"/>
                      <a:gd name="connsiteX1" fmla="*/ 336096 w 640896"/>
                      <a:gd name="connsiteY1" fmla="*/ 176892 h 181666"/>
                      <a:gd name="connsiteX2" fmla="*/ 0 w 640896"/>
                      <a:gd name="connsiteY2" fmla="*/ 122464 h 181666"/>
                      <a:gd name="connsiteX0" fmla="*/ 640896 w 640896"/>
                      <a:gd name="connsiteY0" fmla="*/ 0 h 122464"/>
                      <a:gd name="connsiteX1" fmla="*/ 0 w 640896"/>
                      <a:gd name="connsiteY1" fmla="*/ 122464 h 122464"/>
                      <a:gd name="connsiteX0" fmla="*/ 640896 w 640896"/>
                      <a:gd name="connsiteY0" fmla="*/ 0 h 150251"/>
                      <a:gd name="connsiteX1" fmla="*/ 0 w 640896"/>
                      <a:gd name="connsiteY1" fmla="*/ 122464 h 150251"/>
                      <a:gd name="connsiteX0" fmla="*/ 640896 w 640896"/>
                      <a:gd name="connsiteY0" fmla="*/ 0 h 179415"/>
                      <a:gd name="connsiteX1" fmla="*/ 0 w 640896"/>
                      <a:gd name="connsiteY1" fmla="*/ 122464 h 179415"/>
                      <a:gd name="connsiteX0" fmla="*/ 625928 w 625928"/>
                      <a:gd name="connsiteY0" fmla="*/ 0 h 176687"/>
                      <a:gd name="connsiteX1" fmla="*/ 0 w 625928"/>
                      <a:gd name="connsiteY1" fmla="*/ 118381 h 176687"/>
                      <a:gd name="connsiteX0" fmla="*/ 619774 w 619774"/>
                      <a:gd name="connsiteY0" fmla="*/ 0 h 176687"/>
                      <a:gd name="connsiteX1" fmla="*/ 0 w 619774"/>
                      <a:gd name="connsiteY1" fmla="*/ 118381 h 176687"/>
                    </a:gdLst>
                    <a:ahLst/>
                    <a:cxnLst>
                      <a:cxn ang="0">
                        <a:pos x="connsiteX0" y="connsiteY0"/>
                      </a:cxn>
                      <a:cxn ang="0">
                        <a:pos x="connsiteX1" y="connsiteY1"/>
                      </a:cxn>
                    </a:cxnLst>
                    <a:rect l="l" t="t" r="r" b="b"/>
                    <a:pathLst>
                      <a:path w="619774" h="176687">
                        <a:moveTo>
                          <a:pt x="619774" y="0"/>
                        </a:moveTo>
                        <a:cubicBezTo>
                          <a:pt x="554460" y="204107"/>
                          <a:pt x="205468" y="213631"/>
                          <a:pt x="0" y="118381"/>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1" name="Freeform: Shape 937">
                    <a:extLst>
                      <a:ext uri="{FF2B5EF4-FFF2-40B4-BE49-F238E27FC236}">
                        <a16:creationId xmlns:a16="http://schemas.microsoft.com/office/drawing/2014/main" id="{3629BF8F-93AB-46CB-9E0B-98A24FBF0CF5}"/>
                      </a:ext>
                    </a:extLst>
                  </p:cNvPr>
                  <p:cNvSpPr/>
                  <p:nvPr/>
                </p:nvSpPr>
                <p:spPr bwMode="auto">
                  <a:xfrm>
                    <a:off x="3903160" y="4041179"/>
                    <a:ext cx="285801" cy="322233"/>
                  </a:xfrm>
                  <a:custGeom>
                    <a:avLst/>
                    <a:gdLst>
                      <a:gd name="connsiteX0" fmla="*/ 0 w 136071"/>
                      <a:gd name="connsiteY0" fmla="*/ 0 h 171450"/>
                      <a:gd name="connsiteX1" fmla="*/ 108857 w 136071"/>
                      <a:gd name="connsiteY1" fmla="*/ 76200 h 171450"/>
                      <a:gd name="connsiteX2" fmla="*/ 136071 w 136071"/>
                      <a:gd name="connsiteY2"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Lst>
                    <a:ahLst/>
                    <a:cxnLst>
                      <a:cxn ang="0">
                        <a:pos x="connsiteX0" y="connsiteY0"/>
                      </a:cxn>
                      <a:cxn ang="0">
                        <a:pos x="connsiteX1" y="connsiteY1"/>
                      </a:cxn>
                    </a:cxnLst>
                    <a:rect l="l" t="t" r="r" b="b"/>
                    <a:pathLst>
                      <a:path w="136071" h="171450">
                        <a:moveTo>
                          <a:pt x="0" y="0"/>
                        </a:moveTo>
                        <a:cubicBezTo>
                          <a:pt x="90058" y="31810"/>
                          <a:pt x="113388" y="112852"/>
                          <a:pt x="136071" y="171450"/>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2" name="Freeform: Shape 938">
                    <a:extLst>
                      <a:ext uri="{FF2B5EF4-FFF2-40B4-BE49-F238E27FC236}">
                        <a16:creationId xmlns:a16="http://schemas.microsoft.com/office/drawing/2014/main" id="{93FA97AF-40F5-4DFF-BE51-F84C2D34D408}"/>
                      </a:ext>
                    </a:extLst>
                  </p:cNvPr>
                  <p:cNvSpPr/>
                  <p:nvPr/>
                </p:nvSpPr>
                <p:spPr bwMode="auto">
                  <a:xfrm>
                    <a:off x="3440120" y="4482556"/>
                    <a:ext cx="289738" cy="446794"/>
                  </a:xfrm>
                  <a:custGeom>
                    <a:avLst/>
                    <a:gdLst>
                      <a:gd name="connsiteX0" fmla="*/ 0 w 145596"/>
                      <a:gd name="connsiteY0" fmla="*/ 0 h 230238"/>
                      <a:gd name="connsiteX1" fmla="*/ 85725 w 145596"/>
                      <a:gd name="connsiteY1" fmla="*/ 201386 h 230238"/>
                      <a:gd name="connsiteX2" fmla="*/ 145596 w 145596"/>
                      <a:gd name="connsiteY2" fmla="*/ 224518 h 23023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Lst>
                    <a:ahLst/>
                    <a:cxnLst>
                      <a:cxn ang="0">
                        <a:pos x="connsiteX0" y="connsiteY0"/>
                      </a:cxn>
                      <a:cxn ang="0">
                        <a:pos x="connsiteX1" y="connsiteY1"/>
                      </a:cxn>
                    </a:cxnLst>
                    <a:rect l="l" t="t" r="r" b="b"/>
                    <a:pathLst>
                      <a:path w="145596" h="224518">
                        <a:moveTo>
                          <a:pt x="0" y="0"/>
                        </a:moveTo>
                        <a:cubicBezTo>
                          <a:pt x="12976" y="98771"/>
                          <a:pt x="56722" y="206432"/>
                          <a:pt x="145596" y="224518"/>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3" name="Freeform: Shape 939">
                    <a:extLst>
                      <a:ext uri="{FF2B5EF4-FFF2-40B4-BE49-F238E27FC236}">
                        <a16:creationId xmlns:a16="http://schemas.microsoft.com/office/drawing/2014/main" id="{0E5A4423-E8E2-42AC-99A6-ECB28EA65FFD}"/>
                      </a:ext>
                    </a:extLst>
                  </p:cNvPr>
                  <p:cNvSpPr/>
                  <p:nvPr/>
                </p:nvSpPr>
                <p:spPr bwMode="auto">
                  <a:xfrm>
                    <a:off x="3770503" y="5061350"/>
                    <a:ext cx="452182" cy="87336"/>
                  </a:xfrm>
                  <a:custGeom>
                    <a:avLst/>
                    <a:gdLst>
                      <a:gd name="connsiteX0" fmla="*/ 0 w 229961"/>
                      <a:gd name="connsiteY0" fmla="*/ 46002 h 46002"/>
                      <a:gd name="connsiteX1" fmla="*/ 111579 w 229961"/>
                      <a:gd name="connsiteY1" fmla="*/ 2459 h 46002"/>
                      <a:gd name="connsiteX2" fmla="*/ 229961 w 229961"/>
                      <a:gd name="connsiteY2" fmla="*/ 9262 h 46002"/>
                      <a:gd name="connsiteX0" fmla="*/ 0 w 227226"/>
                      <a:gd name="connsiteY0" fmla="*/ 46002 h 46002"/>
                      <a:gd name="connsiteX1" fmla="*/ 108844 w 227226"/>
                      <a:gd name="connsiteY1" fmla="*/ 2459 h 46002"/>
                      <a:gd name="connsiteX2" fmla="*/ 227226 w 227226"/>
                      <a:gd name="connsiteY2" fmla="*/ 9262 h 46002"/>
                      <a:gd name="connsiteX0" fmla="*/ 0 w 227226"/>
                      <a:gd name="connsiteY0" fmla="*/ 36740 h 36740"/>
                      <a:gd name="connsiteX1" fmla="*/ 227226 w 227226"/>
                      <a:gd name="connsiteY1" fmla="*/ 0 h 36740"/>
                      <a:gd name="connsiteX0" fmla="*/ 0 w 227226"/>
                      <a:gd name="connsiteY0" fmla="*/ 36740 h 36740"/>
                      <a:gd name="connsiteX1" fmla="*/ 227226 w 227226"/>
                      <a:gd name="connsiteY1" fmla="*/ 0 h 36740"/>
                      <a:gd name="connsiteX0" fmla="*/ 0 w 227226"/>
                      <a:gd name="connsiteY0" fmla="*/ 43887 h 43887"/>
                      <a:gd name="connsiteX1" fmla="*/ 227226 w 227226"/>
                      <a:gd name="connsiteY1" fmla="*/ 7147 h 43887"/>
                    </a:gdLst>
                    <a:ahLst/>
                    <a:cxnLst>
                      <a:cxn ang="0">
                        <a:pos x="connsiteX0" y="connsiteY0"/>
                      </a:cxn>
                      <a:cxn ang="0">
                        <a:pos x="connsiteX1" y="connsiteY1"/>
                      </a:cxn>
                    </a:cxnLst>
                    <a:rect l="l" t="t" r="r" b="b"/>
                    <a:pathLst>
                      <a:path w="227226" h="43887">
                        <a:moveTo>
                          <a:pt x="0" y="43887"/>
                        </a:moveTo>
                        <a:cubicBezTo>
                          <a:pt x="82580" y="4289"/>
                          <a:pt x="148065" y="-10008"/>
                          <a:pt x="227226" y="7147"/>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4" name="Freeform: Shape 940">
                    <a:extLst>
                      <a:ext uri="{FF2B5EF4-FFF2-40B4-BE49-F238E27FC236}">
                        <a16:creationId xmlns:a16="http://schemas.microsoft.com/office/drawing/2014/main" id="{B177B2FD-2DA6-466F-99F0-B7450E4FFE96}"/>
                      </a:ext>
                    </a:extLst>
                  </p:cNvPr>
                  <p:cNvSpPr/>
                  <p:nvPr/>
                </p:nvSpPr>
                <p:spPr bwMode="auto">
                  <a:xfrm>
                    <a:off x="3587852" y="5344832"/>
                    <a:ext cx="315308" cy="304679"/>
                  </a:xfrm>
                  <a:custGeom>
                    <a:avLst/>
                    <a:gdLst>
                      <a:gd name="connsiteX0" fmla="*/ 0 w 171450"/>
                      <a:gd name="connsiteY0" fmla="*/ 163285 h 163285"/>
                      <a:gd name="connsiteX1" fmla="*/ 137432 w 171450"/>
                      <a:gd name="connsiteY1" fmla="*/ 59871 h 163285"/>
                      <a:gd name="connsiteX2" fmla="*/ 171450 w 171450"/>
                      <a:gd name="connsiteY2" fmla="*/ 0 h 163285"/>
                      <a:gd name="connsiteX0" fmla="*/ 0 w 155969"/>
                      <a:gd name="connsiteY0" fmla="*/ 151135 h 151135"/>
                      <a:gd name="connsiteX1" fmla="*/ 121951 w 155969"/>
                      <a:gd name="connsiteY1" fmla="*/ 59871 h 151135"/>
                      <a:gd name="connsiteX2" fmla="*/ 155969 w 155969"/>
                      <a:gd name="connsiteY2"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Lst>
                    <a:ahLst/>
                    <a:cxnLst>
                      <a:cxn ang="0">
                        <a:pos x="connsiteX0" y="connsiteY0"/>
                      </a:cxn>
                      <a:cxn ang="0">
                        <a:pos x="connsiteX1" y="connsiteY1"/>
                      </a:cxn>
                    </a:cxnLst>
                    <a:rect l="l" t="t" r="r" b="b"/>
                    <a:pathLst>
                      <a:path w="155969" h="151135">
                        <a:moveTo>
                          <a:pt x="0" y="151135"/>
                        </a:moveTo>
                        <a:cubicBezTo>
                          <a:pt x="67471" y="118307"/>
                          <a:pt x="120134" y="58477"/>
                          <a:pt x="155969" y="0"/>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5" name="Freeform: Shape 941">
                    <a:extLst>
                      <a:ext uri="{FF2B5EF4-FFF2-40B4-BE49-F238E27FC236}">
                        <a16:creationId xmlns:a16="http://schemas.microsoft.com/office/drawing/2014/main" id="{DBC7548A-FAB9-4300-9939-5F4560ACAC6D}"/>
                      </a:ext>
                    </a:extLst>
                  </p:cNvPr>
                  <p:cNvSpPr/>
                  <p:nvPr/>
                </p:nvSpPr>
                <p:spPr bwMode="auto">
                  <a:xfrm>
                    <a:off x="4642401" y="4363411"/>
                    <a:ext cx="179213" cy="831307"/>
                  </a:xfrm>
                  <a:custGeom>
                    <a:avLst/>
                    <a:gdLst>
                      <a:gd name="connsiteX0" fmla="*/ 0 w 100249"/>
                      <a:gd name="connsiteY0" fmla="*/ 421822 h 421822"/>
                      <a:gd name="connsiteX1" fmla="*/ 99332 w 100249"/>
                      <a:gd name="connsiteY1" fmla="*/ 201386 h 421822"/>
                      <a:gd name="connsiteX2" fmla="*/ 48985 w 100249"/>
                      <a:gd name="connsiteY2" fmla="*/ 0 h 421822"/>
                      <a:gd name="connsiteX0" fmla="*/ 0 w 48985"/>
                      <a:gd name="connsiteY0" fmla="*/ 421822 h 421822"/>
                      <a:gd name="connsiteX1" fmla="*/ 48985 w 48985"/>
                      <a:gd name="connsiteY1" fmla="*/ 0 h 421822"/>
                      <a:gd name="connsiteX0" fmla="*/ 0 w 52272"/>
                      <a:gd name="connsiteY0" fmla="*/ 421822 h 421822"/>
                      <a:gd name="connsiteX1" fmla="*/ 48985 w 52272"/>
                      <a:gd name="connsiteY1" fmla="*/ 0 h 421822"/>
                      <a:gd name="connsiteX0" fmla="*/ 0 w 89757"/>
                      <a:gd name="connsiteY0" fmla="*/ 421822 h 421822"/>
                      <a:gd name="connsiteX1" fmla="*/ 48985 w 89757"/>
                      <a:gd name="connsiteY1" fmla="*/ 0 h 421822"/>
                      <a:gd name="connsiteX0" fmla="*/ 0 w 90056"/>
                      <a:gd name="connsiteY0" fmla="*/ 421822 h 421822"/>
                      <a:gd name="connsiteX1" fmla="*/ 48985 w 90056"/>
                      <a:gd name="connsiteY1" fmla="*/ 0 h 421822"/>
                    </a:gdLst>
                    <a:ahLst/>
                    <a:cxnLst>
                      <a:cxn ang="0">
                        <a:pos x="connsiteX0" y="connsiteY0"/>
                      </a:cxn>
                      <a:cxn ang="0">
                        <a:pos x="connsiteX1" y="connsiteY1"/>
                      </a:cxn>
                    </a:cxnLst>
                    <a:rect l="l" t="t" r="r" b="b"/>
                    <a:pathLst>
                      <a:path w="90056" h="421822">
                        <a:moveTo>
                          <a:pt x="0" y="421822"/>
                        </a:moveTo>
                        <a:cubicBezTo>
                          <a:pt x="90175" y="294333"/>
                          <a:pt x="123598" y="206200"/>
                          <a:pt x="48985" y="0"/>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6" name="Freeform: Shape 942">
                    <a:extLst>
                      <a:ext uri="{FF2B5EF4-FFF2-40B4-BE49-F238E27FC236}">
                        <a16:creationId xmlns:a16="http://schemas.microsoft.com/office/drawing/2014/main" id="{BA84792D-1D49-4D15-969B-2150E476AD3D}"/>
                      </a:ext>
                    </a:extLst>
                  </p:cNvPr>
                  <p:cNvSpPr/>
                  <p:nvPr/>
                </p:nvSpPr>
                <p:spPr bwMode="auto">
                  <a:xfrm>
                    <a:off x="4785632" y="4875193"/>
                    <a:ext cx="414582" cy="100715"/>
                  </a:xfrm>
                  <a:custGeom>
                    <a:avLst/>
                    <a:gdLst>
                      <a:gd name="connsiteX0" fmla="*/ 213632 w 213632"/>
                      <a:gd name="connsiteY0" fmla="*/ 0 h 55831"/>
                      <a:gd name="connsiteX1" fmla="*/ 84364 w 213632"/>
                      <a:gd name="connsiteY1" fmla="*/ 53067 h 55831"/>
                      <a:gd name="connsiteX2" fmla="*/ 0 w 213632"/>
                      <a:gd name="connsiteY2" fmla="*/ 43542 h 55831"/>
                      <a:gd name="connsiteX0" fmla="*/ 213632 w 213632"/>
                      <a:gd name="connsiteY0" fmla="*/ 0 h 43542"/>
                      <a:gd name="connsiteX1" fmla="*/ 0 w 213632"/>
                      <a:gd name="connsiteY1" fmla="*/ 43542 h 43542"/>
                      <a:gd name="connsiteX0" fmla="*/ 213632 w 213632"/>
                      <a:gd name="connsiteY0" fmla="*/ 0 h 48873"/>
                      <a:gd name="connsiteX1" fmla="*/ 0 w 213632"/>
                      <a:gd name="connsiteY1" fmla="*/ 43542 h 48873"/>
                      <a:gd name="connsiteX0" fmla="*/ 213632 w 213632"/>
                      <a:gd name="connsiteY0" fmla="*/ 0 h 51702"/>
                      <a:gd name="connsiteX1" fmla="*/ 0 w 213632"/>
                      <a:gd name="connsiteY1" fmla="*/ 43542 h 51702"/>
                      <a:gd name="connsiteX0" fmla="*/ 213632 w 213632"/>
                      <a:gd name="connsiteY0" fmla="*/ 0 h 50610"/>
                      <a:gd name="connsiteX1" fmla="*/ 0 w 213632"/>
                      <a:gd name="connsiteY1" fmla="*/ 43542 h 50610"/>
                    </a:gdLst>
                    <a:ahLst/>
                    <a:cxnLst>
                      <a:cxn ang="0">
                        <a:pos x="connsiteX0" y="connsiteY0"/>
                      </a:cxn>
                      <a:cxn ang="0">
                        <a:pos x="connsiteX1" y="connsiteY1"/>
                      </a:cxn>
                    </a:cxnLst>
                    <a:rect l="l" t="t" r="r" b="b"/>
                    <a:pathLst>
                      <a:path w="213632" h="50610">
                        <a:moveTo>
                          <a:pt x="213632" y="0"/>
                        </a:moveTo>
                        <a:cubicBezTo>
                          <a:pt x="168195" y="32976"/>
                          <a:pt x="91725" y="65268"/>
                          <a:pt x="0" y="43542"/>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7" name="Freeform: Shape 943">
                    <a:extLst>
                      <a:ext uri="{FF2B5EF4-FFF2-40B4-BE49-F238E27FC236}">
                        <a16:creationId xmlns:a16="http://schemas.microsoft.com/office/drawing/2014/main" id="{9811BB00-A8AF-4859-A4CC-0EEF1B60011D}"/>
                      </a:ext>
                    </a:extLst>
                  </p:cNvPr>
                  <p:cNvSpPr/>
                  <p:nvPr/>
                </p:nvSpPr>
                <p:spPr bwMode="auto">
                  <a:xfrm>
                    <a:off x="5311236" y="4363412"/>
                    <a:ext cx="1001900" cy="308046"/>
                  </a:xfrm>
                  <a:custGeom>
                    <a:avLst/>
                    <a:gdLst>
                      <a:gd name="connsiteX0" fmla="*/ 503464 w 503464"/>
                      <a:gd name="connsiteY0" fmla="*/ 106135 h 154882"/>
                      <a:gd name="connsiteX1" fmla="*/ 216354 w 503464"/>
                      <a:gd name="connsiteY1" fmla="*/ 149678 h 154882"/>
                      <a:gd name="connsiteX2" fmla="*/ 0 w 503464"/>
                      <a:gd name="connsiteY2" fmla="*/ 0 h 154882"/>
                      <a:gd name="connsiteX0" fmla="*/ 503464 w 503464"/>
                      <a:gd name="connsiteY0" fmla="*/ 106135 h 106135"/>
                      <a:gd name="connsiteX1" fmla="*/ 0 w 503464"/>
                      <a:gd name="connsiteY1" fmla="*/ 0 h 106135"/>
                      <a:gd name="connsiteX0" fmla="*/ 503464 w 503464"/>
                      <a:gd name="connsiteY0" fmla="*/ 106135 h 106135"/>
                      <a:gd name="connsiteX1" fmla="*/ 0 w 503464"/>
                      <a:gd name="connsiteY1" fmla="*/ 0 h 106135"/>
                      <a:gd name="connsiteX0" fmla="*/ 503464 w 503464"/>
                      <a:gd name="connsiteY0" fmla="*/ 106135 h 154796"/>
                      <a:gd name="connsiteX1" fmla="*/ 0 w 503464"/>
                      <a:gd name="connsiteY1" fmla="*/ 0 h 154796"/>
                    </a:gdLst>
                    <a:ahLst/>
                    <a:cxnLst>
                      <a:cxn ang="0">
                        <a:pos x="connsiteX0" y="connsiteY0"/>
                      </a:cxn>
                      <a:cxn ang="0">
                        <a:pos x="connsiteX1" y="connsiteY1"/>
                      </a:cxn>
                    </a:cxnLst>
                    <a:rect l="l" t="t" r="r" b="b"/>
                    <a:pathLst>
                      <a:path w="503464" h="154796">
                        <a:moveTo>
                          <a:pt x="503464" y="106135"/>
                        </a:moveTo>
                        <a:cubicBezTo>
                          <a:pt x="387609" y="195203"/>
                          <a:pt x="72093" y="163243"/>
                          <a:pt x="0" y="0"/>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8" name="Freeform: Shape 944">
                    <a:extLst>
                      <a:ext uri="{FF2B5EF4-FFF2-40B4-BE49-F238E27FC236}">
                        <a16:creationId xmlns:a16="http://schemas.microsoft.com/office/drawing/2014/main" id="{71C101D3-6B05-4504-9334-3B4EBFF439DB}"/>
                      </a:ext>
                    </a:extLst>
                  </p:cNvPr>
                  <p:cNvSpPr/>
                  <p:nvPr/>
                </p:nvSpPr>
                <p:spPr bwMode="auto">
                  <a:xfrm>
                    <a:off x="5863318" y="4671458"/>
                    <a:ext cx="349629" cy="604494"/>
                  </a:xfrm>
                  <a:custGeom>
                    <a:avLst/>
                    <a:gdLst>
                      <a:gd name="connsiteX0" fmla="*/ 187779 w 187779"/>
                      <a:gd name="connsiteY0" fmla="*/ 318407 h 318407"/>
                      <a:gd name="connsiteX1" fmla="*/ 99333 w 187779"/>
                      <a:gd name="connsiteY1" fmla="*/ 110218 h 318407"/>
                      <a:gd name="connsiteX2" fmla="*/ 0 w 187779"/>
                      <a:gd name="connsiteY2"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Lst>
                    <a:ahLst/>
                    <a:cxnLst>
                      <a:cxn ang="0">
                        <a:pos x="connsiteX0" y="connsiteY0"/>
                      </a:cxn>
                      <a:cxn ang="0">
                        <a:pos x="connsiteX1" y="connsiteY1"/>
                      </a:cxn>
                    </a:cxnLst>
                    <a:rect l="l" t="t" r="r" b="b"/>
                    <a:pathLst>
                      <a:path w="187779" h="318407">
                        <a:moveTo>
                          <a:pt x="187779" y="318407"/>
                        </a:moveTo>
                        <a:cubicBezTo>
                          <a:pt x="179997" y="236640"/>
                          <a:pt x="132751" y="105419"/>
                          <a:pt x="0" y="0"/>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129" name="Group 128">
                <a:extLst>
                  <a:ext uri="{FF2B5EF4-FFF2-40B4-BE49-F238E27FC236}">
                    <a16:creationId xmlns:a16="http://schemas.microsoft.com/office/drawing/2014/main" id="{398550EE-58C5-475B-9366-5696A7B2E8A0}"/>
                  </a:ext>
                </a:extLst>
              </p:cNvPr>
              <p:cNvGrpSpPr/>
              <p:nvPr/>
            </p:nvGrpSpPr>
            <p:grpSpPr>
              <a:xfrm>
                <a:off x="1826397" y="3179833"/>
                <a:ext cx="764471" cy="606801"/>
                <a:chOff x="4223626" y="2353385"/>
                <a:chExt cx="1173971" cy="931848"/>
              </a:xfrm>
            </p:grpSpPr>
            <p:grpSp>
              <p:nvGrpSpPr>
                <p:cNvPr id="130" name="Group 129">
                  <a:extLst>
                    <a:ext uri="{FF2B5EF4-FFF2-40B4-BE49-F238E27FC236}">
                      <a16:creationId xmlns:a16="http://schemas.microsoft.com/office/drawing/2014/main" id="{C1ED8025-2371-4DE7-83C8-F154E9CF56FC}"/>
                    </a:ext>
                  </a:extLst>
                </p:cNvPr>
                <p:cNvGrpSpPr/>
                <p:nvPr/>
              </p:nvGrpSpPr>
              <p:grpSpPr>
                <a:xfrm>
                  <a:off x="4273550" y="2402418"/>
                  <a:ext cx="1079500" cy="840315"/>
                  <a:chOff x="4273550" y="2402418"/>
                  <a:chExt cx="1079500" cy="840315"/>
                </a:xfrm>
              </p:grpSpPr>
              <p:cxnSp>
                <p:nvCxnSpPr>
                  <p:cNvPr id="139" name="Straight Connector 138">
                    <a:extLst>
                      <a:ext uri="{FF2B5EF4-FFF2-40B4-BE49-F238E27FC236}">
                        <a16:creationId xmlns:a16="http://schemas.microsoft.com/office/drawing/2014/main" id="{DECF136F-693D-46DE-9723-DECECA9AA19D}"/>
                      </a:ext>
                    </a:extLst>
                  </p:cNvPr>
                  <p:cNvCxnSpPr>
                    <a:cxnSpLocks/>
                  </p:cNvCxnSpPr>
                  <p:nvPr/>
                </p:nvCxnSpPr>
                <p:spPr>
                  <a:xfrm>
                    <a:off x="4997450" y="2413000"/>
                    <a:ext cx="355600" cy="23283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0" name="Straight Connector 139">
                    <a:extLst>
                      <a:ext uri="{FF2B5EF4-FFF2-40B4-BE49-F238E27FC236}">
                        <a16:creationId xmlns:a16="http://schemas.microsoft.com/office/drawing/2014/main" id="{EBC41110-E004-42A9-B8D0-573A774103A1}"/>
                      </a:ext>
                    </a:extLst>
                  </p:cNvPr>
                  <p:cNvCxnSpPr>
                    <a:cxnSpLocks/>
                  </p:cNvCxnSpPr>
                  <p:nvPr/>
                </p:nvCxnSpPr>
                <p:spPr>
                  <a:xfrm>
                    <a:off x="4997450" y="2413000"/>
                    <a:ext cx="296333" cy="72178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1" name="Straight Connector 140">
                    <a:extLst>
                      <a:ext uri="{FF2B5EF4-FFF2-40B4-BE49-F238E27FC236}">
                        <a16:creationId xmlns:a16="http://schemas.microsoft.com/office/drawing/2014/main" id="{09206B78-3035-4784-82F1-43FC922563B5}"/>
                      </a:ext>
                    </a:extLst>
                  </p:cNvPr>
                  <p:cNvCxnSpPr>
                    <a:cxnSpLocks/>
                  </p:cNvCxnSpPr>
                  <p:nvPr/>
                </p:nvCxnSpPr>
                <p:spPr>
                  <a:xfrm flipV="1">
                    <a:off x="4762500" y="3143250"/>
                    <a:ext cx="520700" cy="8678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2" name="Straight Connector 141">
                    <a:extLst>
                      <a:ext uri="{FF2B5EF4-FFF2-40B4-BE49-F238E27FC236}">
                        <a16:creationId xmlns:a16="http://schemas.microsoft.com/office/drawing/2014/main" id="{139012D2-29C2-4AF3-B084-E6065CCECE69}"/>
                      </a:ext>
                    </a:extLst>
                  </p:cNvPr>
                  <p:cNvCxnSpPr>
                    <a:cxnSpLocks/>
                  </p:cNvCxnSpPr>
                  <p:nvPr/>
                </p:nvCxnSpPr>
                <p:spPr>
                  <a:xfrm flipV="1">
                    <a:off x="5039783" y="2641600"/>
                    <a:ext cx="300567" cy="241300"/>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3" name="Straight Connector 142">
                    <a:extLst>
                      <a:ext uri="{FF2B5EF4-FFF2-40B4-BE49-F238E27FC236}">
                        <a16:creationId xmlns:a16="http://schemas.microsoft.com/office/drawing/2014/main" id="{8F45E352-67F0-4415-934C-7E7FB6ACEC39}"/>
                      </a:ext>
                    </a:extLst>
                  </p:cNvPr>
                  <p:cNvCxnSpPr>
                    <a:cxnSpLocks/>
                  </p:cNvCxnSpPr>
                  <p:nvPr/>
                </p:nvCxnSpPr>
                <p:spPr>
                  <a:xfrm flipV="1">
                    <a:off x="4413250" y="2413001"/>
                    <a:ext cx="571500" cy="126999"/>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4" name="Straight Connector 143">
                    <a:extLst>
                      <a:ext uri="{FF2B5EF4-FFF2-40B4-BE49-F238E27FC236}">
                        <a16:creationId xmlns:a16="http://schemas.microsoft.com/office/drawing/2014/main" id="{F1C7B16A-C721-4661-B87C-2A2BF6B1519E}"/>
                      </a:ext>
                    </a:extLst>
                  </p:cNvPr>
                  <p:cNvCxnSpPr>
                    <a:cxnSpLocks/>
                  </p:cNvCxnSpPr>
                  <p:nvPr/>
                </p:nvCxnSpPr>
                <p:spPr>
                  <a:xfrm flipV="1">
                    <a:off x="4703233" y="2450099"/>
                    <a:ext cx="251425" cy="248651"/>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5" name="Straight Connector 144">
                    <a:extLst>
                      <a:ext uri="{FF2B5EF4-FFF2-40B4-BE49-F238E27FC236}">
                        <a16:creationId xmlns:a16="http://schemas.microsoft.com/office/drawing/2014/main" id="{77EFB8EE-9676-45EC-8354-08F2EF9BF053}"/>
                      </a:ext>
                    </a:extLst>
                  </p:cNvPr>
                  <p:cNvCxnSpPr>
                    <a:cxnSpLocks/>
                  </p:cNvCxnSpPr>
                  <p:nvPr/>
                </p:nvCxnSpPr>
                <p:spPr>
                  <a:xfrm flipV="1">
                    <a:off x="4762500" y="2402418"/>
                    <a:ext cx="232833" cy="821265"/>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6" name="Straight Connector 145">
                    <a:extLst>
                      <a:ext uri="{FF2B5EF4-FFF2-40B4-BE49-F238E27FC236}">
                        <a16:creationId xmlns:a16="http://schemas.microsoft.com/office/drawing/2014/main" id="{26545596-D48C-477C-B9A6-B563F110720C}"/>
                      </a:ext>
                    </a:extLst>
                  </p:cNvPr>
                  <p:cNvCxnSpPr>
                    <a:cxnSpLocks/>
                  </p:cNvCxnSpPr>
                  <p:nvPr/>
                </p:nvCxnSpPr>
                <p:spPr>
                  <a:xfrm flipH="1" flipV="1">
                    <a:off x="4273550" y="2984500"/>
                    <a:ext cx="495300" cy="25188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7" name="Straight Connector 146">
                    <a:extLst>
                      <a:ext uri="{FF2B5EF4-FFF2-40B4-BE49-F238E27FC236}">
                        <a16:creationId xmlns:a16="http://schemas.microsoft.com/office/drawing/2014/main" id="{3B3965A5-2268-462C-AAC2-8C532CF94990}"/>
                      </a:ext>
                    </a:extLst>
                  </p:cNvPr>
                  <p:cNvCxnSpPr>
                    <a:cxnSpLocks/>
                  </p:cNvCxnSpPr>
                  <p:nvPr/>
                </p:nvCxnSpPr>
                <p:spPr>
                  <a:xfrm flipH="1" flipV="1">
                    <a:off x="4417483" y="2537884"/>
                    <a:ext cx="647700" cy="338666"/>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8" name="Straight Connector 147">
                    <a:extLst>
                      <a:ext uri="{FF2B5EF4-FFF2-40B4-BE49-F238E27FC236}">
                        <a16:creationId xmlns:a16="http://schemas.microsoft.com/office/drawing/2014/main" id="{76625647-74C3-483E-B553-3BD23EE3C39C}"/>
                      </a:ext>
                    </a:extLst>
                  </p:cNvPr>
                  <p:cNvCxnSpPr>
                    <a:cxnSpLocks/>
                  </p:cNvCxnSpPr>
                  <p:nvPr/>
                </p:nvCxnSpPr>
                <p:spPr>
                  <a:xfrm flipV="1">
                    <a:off x="4277783" y="2874433"/>
                    <a:ext cx="770467" cy="107950"/>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9" name="Straight Connector 148">
                    <a:extLst>
                      <a:ext uri="{FF2B5EF4-FFF2-40B4-BE49-F238E27FC236}">
                        <a16:creationId xmlns:a16="http://schemas.microsoft.com/office/drawing/2014/main" id="{09044013-54C9-4EE3-8E08-C44346EFE6B7}"/>
                      </a:ext>
                    </a:extLst>
                  </p:cNvPr>
                  <p:cNvCxnSpPr>
                    <a:cxnSpLocks/>
                  </p:cNvCxnSpPr>
                  <p:nvPr/>
                </p:nvCxnSpPr>
                <p:spPr>
                  <a:xfrm flipH="1" flipV="1">
                    <a:off x="4413250" y="2531533"/>
                    <a:ext cx="353483" cy="698500"/>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0" name="Straight Connector 149">
                    <a:extLst>
                      <a:ext uri="{FF2B5EF4-FFF2-40B4-BE49-F238E27FC236}">
                        <a16:creationId xmlns:a16="http://schemas.microsoft.com/office/drawing/2014/main" id="{489AB49B-AC85-46CB-9BDF-911217A1F0E0}"/>
                      </a:ext>
                    </a:extLst>
                  </p:cNvPr>
                  <p:cNvCxnSpPr>
                    <a:cxnSpLocks/>
                  </p:cNvCxnSpPr>
                  <p:nvPr/>
                </p:nvCxnSpPr>
                <p:spPr>
                  <a:xfrm flipH="1" flipV="1">
                    <a:off x="4715933" y="2698750"/>
                    <a:ext cx="50800" cy="54398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1" name="Straight Connector 150">
                    <a:extLst>
                      <a:ext uri="{FF2B5EF4-FFF2-40B4-BE49-F238E27FC236}">
                        <a16:creationId xmlns:a16="http://schemas.microsoft.com/office/drawing/2014/main" id="{7CDF5EC2-9B50-48AC-8CFF-3BA8569B91E0}"/>
                      </a:ext>
                    </a:extLst>
                  </p:cNvPr>
                  <p:cNvCxnSpPr>
                    <a:cxnSpLocks/>
                  </p:cNvCxnSpPr>
                  <p:nvPr/>
                </p:nvCxnSpPr>
                <p:spPr>
                  <a:xfrm flipH="1" flipV="1">
                    <a:off x="5052483" y="2899834"/>
                    <a:ext cx="234950" cy="218016"/>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2" name="Straight Connector 151">
                    <a:extLst>
                      <a:ext uri="{FF2B5EF4-FFF2-40B4-BE49-F238E27FC236}">
                        <a16:creationId xmlns:a16="http://schemas.microsoft.com/office/drawing/2014/main" id="{086DF099-9E6D-45F2-B1AC-8D4457B315CF}"/>
                      </a:ext>
                    </a:extLst>
                  </p:cNvPr>
                  <p:cNvCxnSpPr>
                    <a:cxnSpLocks/>
                  </p:cNvCxnSpPr>
                  <p:nvPr/>
                </p:nvCxnSpPr>
                <p:spPr>
                  <a:xfrm flipV="1">
                    <a:off x="4762500" y="2876550"/>
                    <a:ext cx="292101" cy="34078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131" name="Oval 19">
                  <a:extLst>
                    <a:ext uri="{FF2B5EF4-FFF2-40B4-BE49-F238E27FC236}">
                      <a16:creationId xmlns:a16="http://schemas.microsoft.com/office/drawing/2014/main" id="{98B32F2A-2956-494C-BA2B-0B953A533129}"/>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gradFill>
                      <a:gsLst>
                        <a:gs pos="0">
                          <a:srgbClr val="3C3C41"/>
                        </a:gs>
                        <a:gs pos="100000">
                          <a:srgbClr val="3C3C41"/>
                        </a:gs>
                      </a:gsLst>
                      <a:lin ang="5400000" scaled="1"/>
                    </a:gradFill>
                    <a:effectLst/>
                    <a:uLnTx/>
                    <a:uFillTx/>
                    <a:latin typeface="Segoe UI"/>
                    <a:ea typeface="+mn-ea"/>
                    <a:cs typeface="+mn-cs"/>
                  </a:endParaRPr>
                </a:p>
              </p:txBody>
            </p:sp>
            <p:sp useBgFill="1">
              <p:nvSpPr>
                <p:cNvPr id="132" name="Oval 19">
                  <a:extLst>
                    <a:ext uri="{FF2B5EF4-FFF2-40B4-BE49-F238E27FC236}">
                      <a16:creationId xmlns:a16="http://schemas.microsoft.com/office/drawing/2014/main" id="{6283AD0F-AEE6-4B7D-8F27-D9C50E91CFB3}"/>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gradFill>
                      <a:gsLst>
                        <a:gs pos="0">
                          <a:srgbClr val="3C3C41"/>
                        </a:gs>
                        <a:gs pos="100000">
                          <a:srgbClr val="3C3C41"/>
                        </a:gs>
                      </a:gsLst>
                      <a:lin ang="5400000" scaled="1"/>
                    </a:gradFill>
                    <a:effectLst/>
                    <a:uLnTx/>
                    <a:uFillTx/>
                    <a:latin typeface="Segoe UI"/>
                    <a:ea typeface="+mn-ea"/>
                    <a:cs typeface="+mn-cs"/>
                  </a:endParaRPr>
                </a:p>
              </p:txBody>
            </p:sp>
            <p:sp useBgFill="1">
              <p:nvSpPr>
                <p:cNvPr id="133" name="Oval 19">
                  <a:extLst>
                    <a:ext uri="{FF2B5EF4-FFF2-40B4-BE49-F238E27FC236}">
                      <a16:creationId xmlns:a16="http://schemas.microsoft.com/office/drawing/2014/main" id="{418B66E4-8AF5-4FB7-A6E3-42FB954005B6}"/>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gradFill>
                      <a:gsLst>
                        <a:gs pos="0">
                          <a:srgbClr val="3C3C41"/>
                        </a:gs>
                        <a:gs pos="100000">
                          <a:srgbClr val="3C3C41"/>
                        </a:gs>
                      </a:gsLst>
                      <a:lin ang="5400000" scaled="1"/>
                    </a:gradFill>
                    <a:effectLst/>
                    <a:uLnTx/>
                    <a:uFillTx/>
                    <a:latin typeface="Segoe UI"/>
                    <a:ea typeface="+mn-ea"/>
                    <a:cs typeface="+mn-cs"/>
                  </a:endParaRPr>
                </a:p>
              </p:txBody>
            </p:sp>
            <p:sp useBgFill="1">
              <p:nvSpPr>
                <p:cNvPr id="134" name="Oval 19">
                  <a:extLst>
                    <a:ext uri="{FF2B5EF4-FFF2-40B4-BE49-F238E27FC236}">
                      <a16:creationId xmlns:a16="http://schemas.microsoft.com/office/drawing/2014/main" id="{6EF27885-61FA-4C1A-8E94-257E7DEF4014}"/>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gradFill>
                      <a:gsLst>
                        <a:gs pos="0">
                          <a:srgbClr val="3C3C41"/>
                        </a:gs>
                        <a:gs pos="100000">
                          <a:srgbClr val="3C3C41"/>
                        </a:gs>
                      </a:gsLst>
                      <a:lin ang="5400000" scaled="1"/>
                    </a:gradFill>
                    <a:effectLst/>
                    <a:uLnTx/>
                    <a:uFillTx/>
                    <a:latin typeface="Segoe UI"/>
                    <a:ea typeface="+mn-ea"/>
                    <a:cs typeface="+mn-cs"/>
                  </a:endParaRPr>
                </a:p>
              </p:txBody>
            </p:sp>
            <p:sp useBgFill="1">
              <p:nvSpPr>
                <p:cNvPr id="135" name="Oval 19">
                  <a:extLst>
                    <a:ext uri="{FF2B5EF4-FFF2-40B4-BE49-F238E27FC236}">
                      <a16:creationId xmlns:a16="http://schemas.microsoft.com/office/drawing/2014/main" id="{1C404463-BFC6-469A-9A78-1D3B65A0D0D1}"/>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gradFill>
                      <a:gsLst>
                        <a:gs pos="0">
                          <a:srgbClr val="3C3C41"/>
                        </a:gs>
                        <a:gs pos="100000">
                          <a:srgbClr val="3C3C41"/>
                        </a:gs>
                      </a:gsLst>
                      <a:lin ang="5400000" scaled="1"/>
                    </a:gradFill>
                    <a:effectLst/>
                    <a:uLnTx/>
                    <a:uFillTx/>
                    <a:latin typeface="Segoe UI"/>
                    <a:ea typeface="+mn-ea"/>
                    <a:cs typeface="+mn-cs"/>
                  </a:endParaRPr>
                </a:p>
              </p:txBody>
            </p:sp>
            <p:sp useBgFill="1">
              <p:nvSpPr>
                <p:cNvPr id="136" name="Oval 19">
                  <a:extLst>
                    <a:ext uri="{FF2B5EF4-FFF2-40B4-BE49-F238E27FC236}">
                      <a16:creationId xmlns:a16="http://schemas.microsoft.com/office/drawing/2014/main" id="{116CDCBA-2113-4B1B-B931-C3123FC21A22}"/>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gradFill>
                      <a:gsLst>
                        <a:gs pos="0">
                          <a:srgbClr val="3C3C41"/>
                        </a:gs>
                        <a:gs pos="100000">
                          <a:srgbClr val="3C3C41"/>
                        </a:gs>
                      </a:gsLst>
                      <a:lin ang="5400000" scaled="1"/>
                    </a:gradFill>
                    <a:effectLst/>
                    <a:uLnTx/>
                    <a:uFillTx/>
                    <a:latin typeface="Segoe UI"/>
                    <a:ea typeface="+mn-ea"/>
                    <a:cs typeface="+mn-cs"/>
                  </a:endParaRPr>
                </a:p>
              </p:txBody>
            </p:sp>
            <p:sp useBgFill="1">
              <p:nvSpPr>
                <p:cNvPr id="137" name="Oval 19">
                  <a:extLst>
                    <a:ext uri="{FF2B5EF4-FFF2-40B4-BE49-F238E27FC236}">
                      <a16:creationId xmlns:a16="http://schemas.microsoft.com/office/drawing/2014/main" id="{4B3B48D0-4EB6-4702-BEE9-D05FE0A52556}"/>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gradFill>
                      <a:gsLst>
                        <a:gs pos="0">
                          <a:srgbClr val="3C3C41"/>
                        </a:gs>
                        <a:gs pos="100000">
                          <a:srgbClr val="3C3C41"/>
                        </a:gs>
                      </a:gsLst>
                      <a:lin ang="5400000" scaled="1"/>
                    </a:gradFill>
                    <a:effectLst/>
                    <a:uLnTx/>
                    <a:uFillTx/>
                    <a:latin typeface="Segoe UI"/>
                    <a:ea typeface="+mn-ea"/>
                    <a:cs typeface="+mn-cs"/>
                  </a:endParaRPr>
                </a:p>
              </p:txBody>
            </p:sp>
            <p:sp useBgFill="1">
              <p:nvSpPr>
                <p:cNvPr id="138" name="Oval 19">
                  <a:extLst>
                    <a:ext uri="{FF2B5EF4-FFF2-40B4-BE49-F238E27FC236}">
                      <a16:creationId xmlns:a16="http://schemas.microsoft.com/office/drawing/2014/main" id="{D975F671-6AF6-404E-A13A-06C36978D96F}"/>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gradFill>
                      <a:gsLst>
                        <a:gs pos="0">
                          <a:srgbClr val="3C3C41"/>
                        </a:gs>
                        <a:gs pos="100000">
                          <a:srgbClr val="3C3C41"/>
                        </a:gs>
                      </a:gsLst>
                      <a:lin ang="5400000" scaled="1"/>
                    </a:gradFill>
                    <a:effectLst/>
                    <a:uLnTx/>
                    <a:uFillTx/>
                    <a:latin typeface="Segoe UI"/>
                    <a:ea typeface="+mn-ea"/>
                    <a:cs typeface="+mn-cs"/>
                  </a:endParaRPr>
                </a:p>
              </p:txBody>
            </p:sp>
          </p:grpSp>
        </p:grpSp>
      </p:grpSp>
      <p:grpSp>
        <p:nvGrpSpPr>
          <p:cNvPr id="280" name="Group 279">
            <a:extLst>
              <a:ext uri="{FF2B5EF4-FFF2-40B4-BE49-F238E27FC236}">
                <a16:creationId xmlns:a16="http://schemas.microsoft.com/office/drawing/2014/main" id="{DBA38EA2-A2F2-4E7B-B255-961B6B1DA799}"/>
              </a:ext>
            </a:extLst>
          </p:cNvPr>
          <p:cNvGrpSpPr/>
          <p:nvPr/>
        </p:nvGrpSpPr>
        <p:grpSpPr>
          <a:xfrm>
            <a:off x="5648099" y="2409716"/>
            <a:ext cx="1577673" cy="2749591"/>
            <a:chOff x="5761354" y="2457539"/>
            <a:chExt cx="1609309" cy="2804726"/>
          </a:xfrm>
        </p:grpSpPr>
        <p:sp>
          <p:nvSpPr>
            <p:cNvPr id="66" name="TextBox 65">
              <a:extLst>
                <a:ext uri="{FF2B5EF4-FFF2-40B4-BE49-F238E27FC236}">
                  <a16:creationId xmlns:a16="http://schemas.microsoft.com/office/drawing/2014/main" id="{0E7FAD95-104D-4DEC-A86A-F36C73BACFA1}"/>
                </a:ext>
              </a:extLst>
            </p:cNvPr>
            <p:cNvSpPr txBox="1"/>
            <p:nvPr/>
          </p:nvSpPr>
          <p:spPr>
            <a:xfrm>
              <a:off x="5772744" y="2463820"/>
              <a:ext cx="1597919" cy="55028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rPr>
                <a:t>Experimentation and pipelines</a:t>
              </a:r>
            </a:p>
          </p:txBody>
        </p:sp>
        <p:grpSp>
          <p:nvGrpSpPr>
            <p:cNvPr id="67" name="Group 66">
              <a:extLst>
                <a:ext uri="{FF2B5EF4-FFF2-40B4-BE49-F238E27FC236}">
                  <a16:creationId xmlns:a16="http://schemas.microsoft.com/office/drawing/2014/main" id="{D7B3C6ED-23D6-4C8B-9EA8-0154B6174B55}"/>
                </a:ext>
              </a:extLst>
            </p:cNvPr>
            <p:cNvGrpSpPr/>
            <p:nvPr/>
          </p:nvGrpSpPr>
          <p:grpSpPr>
            <a:xfrm>
              <a:off x="5761354" y="2457539"/>
              <a:ext cx="1599571" cy="2804726"/>
              <a:chOff x="3208859" y="4070542"/>
              <a:chExt cx="1458309" cy="2411828"/>
            </a:xfrm>
          </p:grpSpPr>
          <p:sp>
            <p:nvSpPr>
              <p:cNvPr id="68" name="Rectangle 67">
                <a:extLst>
                  <a:ext uri="{FF2B5EF4-FFF2-40B4-BE49-F238E27FC236}">
                    <a16:creationId xmlns:a16="http://schemas.microsoft.com/office/drawing/2014/main" id="{D7E27CF5-4175-4508-9FA1-C4819E3A18BA}"/>
                  </a:ext>
                </a:extLst>
              </p:cNvPr>
              <p:cNvSpPr/>
              <p:nvPr/>
            </p:nvSpPr>
            <p:spPr bwMode="auto">
              <a:xfrm>
                <a:off x="3208859" y="4070542"/>
                <a:ext cx="1456803" cy="241182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0FD65F42-2853-4B2A-935A-2DA3680A374D}"/>
                  </a:ext>
                </a:extLst>
              </p:cNvPr>
              <p:cNvCxnSpPr>
                <a:cxnSpLocks/>
              </p:cNvCxnSpPr>
              <p:nvPr/>
            </p:nvCxnSpPr>
            <p:spPr>
              <a:xfrm>
                <a:off x="3208859" y="4541668"/>
                <a:ext cx="1458309"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4" name="Group 153">
              <a:extLst>
                <a:ext uri="{FF2B5EF4-FFF2-40B4-BE49-F238E27FC236}">
                  <a16:creationId xmlns:a16="http://schemas.microsoft.com/office/drawing/2014/main" id="{309C420D-11C2-476C-ACBA-9DE2341111F3}"/>
                </a:ext>
              </a:extLst>
            </p:cNvPr>
            <p:cNvGrpSpPr/>
            <p:nvPr/>
          </p:nvGrpSpPr>
          <p:grpSpPr>
            <a:xfrm rot="16200000">
              <a:off x="5954942" y="3927503"/>
              <a:ext cx="1233524" cy="911785"/>
              <a:chOff x="3863969" y="5013705"/>
              <a:chExt cx="909508" cy="505347"/>
            </a:xfrm>
          </p:grpSpPr>
          <p:sp>
            <p:nvSpPr>
              <p:cNvPr id="155" name="Cylinder 828">
                <a:extLst>
                  <a:ext uri="{FF2B5EF4-FFF2-40B4-BE49-F238E27FC236}">
                    <a16:creationId xmlns:a16="http://schemas.microsoft.com/office/drawing/2014/main" id="{692D54D6-9563-4F2A-8EF4-ACDE5FBC049F}"/>
                  </a:ext>
                </a:extLst>
              </p:cNvPr>
              <p:cNvSpPr/>
              <p:nvPr/>
            </p:nvSpPr>
            <p:spPr bwMode="auto">
              <a:xfrm rot="5400000">
                <a:off x="3732837" y="5144837"/>
                <a:ext cx="505346" cy="243081"/>
              </a:xfrm>
              <a:prstGeom prst="can">
                <a:avLst>
                  <a:gd name="adj" fmla="val 5000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0078D3"/>
                  </a:solidFill>
                  <a:effectLst/>
                  <a:uLnTx/>
                  <a:uFillTx/>
                  <a:latin typeface="Segoe UI Semibold"/>
                  <a:ea typeface="Segoe UI" pitchFamily="34" charset="0"/>
                  <a:cs typeface="Segoe UI" pitchFamily="34" charset="0"/>
                </a:endParaRPr>
              </a:p>
            </p:txBody>
          </p:sp>
          <p:sp>
            <p:nvSpPr>
              <p:cNvPr id="156" name="Cylinder 828">
                <a:extLst>
                  <a:ext uri="{FF2B5EF4-FFF2-40B4-BE49-F238E27FC236}">
                    <a16:creationId xmlns:a16="http://schemas.microsoft.com/office/drawing/2014/main" id="{404CC736-C870-44FC-B064-B22B4EA36B05}"/>
                  </a:ext>
                </a:extLst>
              </p:cNvPr>
              <p:cNvSpPr/>
              <p:nvPr/>
            </p:nvSpPr>
            <p:spPr bwMode="auto">
              <a:xfrm rot="5400000">
                <a:off x="4110202" y="4958596"/>
                <a:ext cx="430050" cy="615564"/>
              </a:xfrm>
              <a:prstGeom prst="can">
                <a:avLst>
                  <a:gd name="adj" fmla="val 17907"/>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0078D3"/>
                  </a:solidFill>
                  <a:effectLst/>
                  <a:uLnTx/>
                  <a:uFillTx/>
                  <a:latin typeface="Segoe UI Semibold"/>
                  <a:ea typeface="Segoe UI" pitchFamily="34" charset="0"/>
                  <a:cs typeface="Segoe UI" pitchFamily="34" charset="0"/>
                </a:endParaRPr>
              </a:p>
            </p:txBody>
          </p:sp>
          <p:sp>
            <p:nvSpPr>
              <p:cNvPr id="157" name="Cylinder 828">
                <a:extLst>
                  <a:ext uri="{FF2B5EF4-FFF2-40B4-BE49-F238E27FC236}">
                    <a16:creationId xmlns:a16="http://schemas.microsoft.com/office/drawing/2014/main" id="{CC3B40B5-2BE6-48A6-9A93-EC073419C0EE}"/>
                  </a:ext>
                </a:extLst>
              </p:cNvPr>
              <p:cNvSpPr/>
              <p:nvPr/>
            </p:nvSpPr>
            <p:spPr bwMode="auto">
              <a:xfrm rot="5400000">
                <a:off x="4399264" y="5144838"/>
                <a:ext cx="505346" cy="243081"/>
              </a:xfrm>
              <a:prstGeom prst="can">
                <a:avLst>
                  <a:gd name="adj" fmla="val 5000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0078D3"/>
                  </a:solidFill>
                  <a:effectLst/>
                  <a:uLnTx/>
                  <a:uFillTx/>
                  <a:latin typeface="Segoe UI Semibold"/>
                  <a:ea typeface="Segoe UI" pitchFamily="34" charset="0"/>
                  <a:cs typeface="Segoe UI" pitchFamily="34" charset="0"/>
                </a:endParaRPr>
              </a:p>
            </p:txBody>
          </p:sp>
        </p:grpSp>
        <p:grpSp>
          <p:nvGrpSpPr>
            <p:cNvPr id="158" name="Group 20">
              <a:extLst>
                <a:ext uri="{FF2B5EF4-FFF2-40B4-BE49-F238E27FC236}">
                  <a16:creationId xmlns:a16="http://schemas.microsoft.com/office/drawing/2014/main" id="{B905EE4C-5620-496A-A0AB-08374E607BAC}"/>
                </a:ext>
              </a:extLst>
            </p:cNvPr>
            <p:cNvGrpSpPr>
              <a:grpSpLocks noChangeAspect="1"/>
            </p:cNvGrpSpPr>
            <p:nvPr/>
          </p:nvGrpSpPr>
          <p:grpSpPr bwMode="auto">
            <a:xfrm>
              <a:off x="6352732" y="3464312"/>
              <a:ext cx="479602" cy="419822"/>
              <a:chOff x="3764" y="3313"/>
              <a:chExt cx="353" cy="309"/>
            </a:xfrm>
          </p:grpSpPr>
          <p:sp>
            <p:nvSpPr>
              <p:cNvPr id="159" name="Freeform 21">
                <a:extLst>
                  <a:ext uri="{FF2B5EF4-FFF2-40B4-BE49-F238E27FC236}">
                    <a16:creationId xmlns:a16="http://schemas.microsoft.com/office/drawing/2014/main" id="{87E8DC1C-13C8-4661-AEAE-D78A878F468E}"/>
                  </a:ext>
                </a:extLst>
              </p:cNvPr>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60" name="Freeform 22">
                <a:extLst>
                  <a:ext uri="{FF2B5EF4-FFF2-40B4-BE49-F238E27FC236}">
                    <a16:creationId xmlns:a16="http://schemas.microsoft.com/office/drawing/2014/main" id="{0E901512-1AB8-4975-947B-FB5A4DAA2BD6}"/>
                  </a:ext>
                </a:extLst>
              </p:cNvPr>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61" name="Freeform 23">
                <a:extLst>
                  <a:ext uri="{FF2B5EF4-FFF2-40B4-BE49-F238E27FC236}">
                    <a16:creationId xmlns:a16="http://schemas.microsoft.com/office/drawing/2014/main" id="{E2897025-3D68-4B8B-9A92-E10568E963EC}"/>
                  </a:ext>
                </a:extLst>
              </p:cNvPr>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62" name="Freeform 24">
                <a:extLst>
                  <a:ext uri="{FF2B5EF4-FFF2-40B4-BE49-F238E27FC236}">
                    <a16:creationId xmlns:a16="http://schemas.microsoft.com/office/drawing/2014/main" id="{F01F5F08-0371-48FA-8F4F-834ED7A6A332}"/>
                  </a:ext>
                </a:extLst>
              </p:cNvPr>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63" name="Freeform 25">
                <a:extLst>
                  <a:ext uri="{FF2B5EF4-FFF2-40B4-BE49-F238E27FC236}">
                    <a16:creationId xmlns:a16="http://schemas.microsoft.com/office/drawing/2014/main" id="{04107197-6220-4514-B9F7-F0B78CE435D4}"/>
                  </a:ext>
                </a:extLst>
              </p:cNvPr>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64" name="Freeform 26">
                <a:extLst>
                  <a:ext uri="{FF2B5EF4-FFF2-40B4-BE49-F238E27FC236}">
                    <a16:creationId xmlns:a16="http://schemas.microsoft.com/office/drawing/2014/main" id="{2FC3C904-2195-49C9-A92E-1CF512A73F9E}"/>
                  </a:ext>
                </a:extLst>
              </p:cNvPr>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65" name="Freeform 27">
                <a:extLst>
                  <a:ext uri="{FF2B5EF4-FFF2-40B4-BE49-F238E27FC236}">
                    <a16:creationId xmlns:a16="http://schemas.microsoft.com/office/drawing/2014/main" id="{32D4F55D-D688-4248-990E-33BB8BBF322B}"/>
                  </a:ext>
                </a:extLst>
              </p:cNvPr>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66" name="Freeform 28">
                <a:extLst>
                  <a:ext uri="{FF2B5EF4-FFF2-40B4-BE49-F238E27FC236}">
                    <a16:creationId xmlns:a16="http://schemas.microsoft.com/office/drawing/2014/main" id="{A54DAA4C-9B02-4AB8-866A-90B802D4BA4A}"/>
                  </a:ext>
                </a:extLst>
              </p:cNvPr>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67" name="Freeform 29">
                <a:extLst>
                  <a:ext uri="{FF2B5EF4-FFF2-40B4-BE49-F238E27FC236}">
                    <a16:creationId xmlns:a16="http://schemas.microsoft.com/office/drawing/2014/main" id="{02E70F45-9F3C-43AF-B958-B936701DA19D}"/>
                  </a:ext>
                </a:extLst>
              </p:cNvPr>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68" name="Freeform 30">
                <a:extLst>
                  <a:ext uri="{FF2B5EF4-FFF2-40B4-BE49-F238E27FC236}">
                    <a16:creationId xmlns:a16="http://schemas.microsoft.com/office/drawing/2014/main" id="{2626286D-8A71-4B38-B462-19F0E8AD4E56}"/>
                  </a:ext>
                </a:extLst>
              </p:cNvPr>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69" name="Freeform 31">
                <a:extLst>
                  <a:ext uri="{FF2B5EF4-FFF2-40B4-BE49-F238E27FC236}">
                    <a16:creationId xmlns:a16="http://schemas.microsoft.com/office/drawing/2014/main" id="{53058B24-0583-4555-AF95-12DD68395D3B}"/>
                  </a:ext>
                </a:extLst>
              </p:cNvPr>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70" name="Freeform 32">
                <a:extLst>
                  <a:ext uri="{FF2B5EF4-FFF2-40B4-BE49-F238E27FC236}">
                    <a16:creationId xmlns:a16="http://schemas.microsoft.com/office/drawing/2014/main" id="{8760C7AC-99F3-4B52-AD34-7652FF5C1BC0}"/>
                  </a:ext>
                </a:extLst>
              </p:cNvPr>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71" name="Freeform 33">
                <a:extLst>
                  <a:ext uri="{FF2B5EF4-FFF2-40B4-BE49-F238E27FC236}">
                    <a16:creationId xmlns:a16="http://schemas.microsoft.com/office/drawing/2014/main" id="{7EF4DD0E-9C9B-4590-B568-FD9893DAFE56}"/>
                  </a:ext>
                </a:extLst>
              </p:cNvPr>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72" name="Freeform 34">
                <a:extLst>
                  <a:ext uri="{FF2B5EF4-FFF2-40B4-BE49-F238E27FC236}">
                    <a16:creationId xmlns:a16="http://schemas.microsoft.com/office/drawing/2014/main" id="{14146093-CC9E-423E-A189-C832D27FE89D}"/>
                  </a:ext>
                </a:extLst>
              </p:cNvPr>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73" name="Freeform 35">
                <a:extLst>
                  <a:ext uri="{FF2B5EF4-FFF2-40B4-BE49-F238E27FC236}">
                    <a16:creationId xmlns:a16="http://schemas.microsoft.com/office/drawing/2014/main" id="{9F144BF0-C7B6-4336-B3FE-E9E26CC64D5C}"/>
                  </a:ext>
                </a:extLst>
              </p:cNvPr>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74" name="Freeform 36">
                <a:extLst>
                  <a:ext uri="{FF2B5EF4-FFF2-40B4-BE49-F238E27FC236}">
                    <a16:creationId xmlns:a16="http://schemas.microsoft.com/office/drawing/2014/main" id="{F43B98CE-2FFC-4414-A519-7F72D5018542}"/>
                  </a:ext>
                </a:extLst>
              </p:cNvPr>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75" name="Freeform 37">
                <a:extLst>
                  <a:ext uri="{FF2B5EF4-FFF2-40B4-BE49-F238E27FC236}">
                    <a16:creationId xmlns:a16="http://schemas.microsoft.com/office/drawing/2014/main" id="{910B94DC-2976-4D25-B2A7-C520786836A7}"/>
                  </a:ext>
                </a:extLst>
              </p:cNvPr>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76" name="Freeform 38">
                <a:extLst>
                  <a:ext uri="{FF2B5EF4-FFF2-40B4-BE49-F238E27FC236}">
                    <a16:creationId xmlns:a16="http://schemas.microsoft.com/office/drawing/2014/main" id="{FC6B3C98-7AAD-4AFE-A18F-D380B0E6F2A9}"/>
                  </a:ext>
                </a:extLst>
              </p:cNvPr>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79" name="Group 278">
            <a:extLst>
              <a:ext uri="{FF2B5EF4-FFF2-40B4-BE49-F238E27FC236}">
                <a16:creationId xmlns:a16="http://schemas.microsoft.com/office/drawing/2014/main" id="{15EB0153-84BE-4F40-8A25-120098F23108}"/>
              </a:ext>
            </a:extLst>
          </p:cNvPr>
          <p:cNvGrpSpPr/>
          <p:nvPr/>
        </p:nvGrpSpPr>
        <p:grpSpPr>
          <a:xfrm>
            <a:off x="3537552" y="2415666"/>
            <a:ext cx="1568127" cy="2756007"/>
            <a:chOff x="3608486" y="2463608"/>
            <a:chExt cx="1599571" cy="2811271"/>
          </a:xfrm>
        </p:grpSpPr>
        <p:sp>
          <p:nvSpPr>
            <p:cNvPr id="62" name="TextBox 61">
              <a:extLst>
                <a:ext uri="{FF2B5EF4-FFF2-40B4-BE49-F238E27FC236}">
                  <a16:creationId xmlns:a16="http://schemas.microsoft.com/office/drawing/2014/main" id="{E69A5B79-85F3-4A1A-9303-B28CA49A33B5}"/>
                </a:ext>
              </a:extLst>
            </p:cNvPr>
            <p:cNvSpPr txBox="1"/>
            <p:nvPr/>
          </p:nvSpPr>
          <p:spPr>
            <a:xfrm>
              <a:off x="3608486" y="2463608"/>
              <a:ext cx="1597919" cy="55028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rPr>
                <a:t>Hyperparameter tuning </a:t>
              </a:r>
            </a:p>
          </p:txBody>
        </p:sp>
        <p:grpSp>
          <p:nvGrpSpPr>
            <p:cNvPr id="63" name="Group 62">
              <a:extLst>
                <a:ext uri="{FF2B5EF4-FFF2-40B4-BE49-F238E27FC236}">
                  <a16:creationId xmlns:a16="http://schemas.microsoft.com/office/drawing/2014/main" id="{9AA4F058-4864-4C86-9A04-0ECFDAAAF48B}"/>
                </a:ext>
              </a:extLst>
            </p:cNvPr>
            <p:cNvGrpSpPr/>
            <p:nvPr/>
          </p:nvGrpSpPr>
          <p:grpSpPr>
            <a:xfrm>
              <a:off x="3608486" y="2470153"/>
              <a:ext cx="1599571" cy="2804726"/>
              <a:chOff x="3208859" y="4070542"/>
              <a:chExt cx="1458309" cy="2411828"/>
            </a:xfrm>
          </p:grpSpPr>
          <p:sp>
            <p:nvSpPr>
              <p:cNvPr id="64" name="Rectangle 63">
                <a:extLst>
                  <a:ext uri="{FF2B5EF4-FFF2-40B4-BE49-F238E27FC236}">
                    <a16:creationId xmlns:a16="http://schemas.microsoft.com/office/drawing/2014/main" id="{6E466891-BC17-4D06-AA59-CB1A445B801B}"/>
                  </a:ext>
                </a:extLst>
              </p:cNvPr>
              <p:cNvSpPr/>
              <p:nvPr/>
            </p:nvSpPr>
            <p:spPr bwMode="auto">
              <a:xfrm>
                <a:off x="3208859" y="4070542"/>
                <a:ext cx="1456803" cy="241182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5" name="Straight Connector 64">
                <a:extLst>
                  <a:ext uri="{FF2B5EF4-FFF2-40B4-BE49-F238E27FC236}">
                    <a16:creationId xmlns:a16="http://schemas.microsoft.com/office/drawing/2014/main" id="{F80081D5-60DC-47B3-B05B-5AA9F79AAD17}"/>
                  </a:ext>
                </a:extLst>
              </p:cNvPr>
              <p:cNvCxnSpPr>
                <a:cxnSpLocks/>
              </p:cNvCxnSpPr>
              <p:nvPr/>
            </p:nvCxnSpPr>
            <p:spPr>
              <a:xfrm>
                <a:off x="3208859" y="4541668"/>
                <a:ext cx="1458309"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53" name="Freeform 17">
              <a:extLst>
                <a:ext uri="{FF2B5EF4-FFF2-40B4-BE49-F238E27FC236}">
                  <a16:creationId xmlns:a16="http://schemas.microsoft.com/office/drawing/2014/main" id="{0B0BEFD6-2684-4FF0-8B8A-62D1BD1BB8A2}"/>
                </a:ext>
              </a:extLst>
            </p:cNvPr>
            <p:cNvSpPr>
              <a:spLocks noEditPoints="1"/>
            </p:cNvSpPr>
            <p:nvPr/>
          </p:nvSpPr>
          <p:spPr bwMode="auto">
            <a:xfrm>
              <a:off x="3915354" y="3352113"/>
              <a:ext cx="846553" cy="780935"/>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nvGrpSpPr>
            <p:cNvPr id="177" name="Group 176">
              <a:extLst>
                <a:ext uri="{FF2B5EF4-FFF2-40B4-BE49-F238E27FC236}">
                  <a16:creationId xmlns:a16="http://schemas.microsoft.com/office/drawing/2014/main" id="{63C74CE1-33EF-4468-AC5C-72DD310B38F8}"/>
                </a:ext>
              </a:extLst>
            </p:cNvPr>
            <p:cNvGrpSpPr/>
            <p:nvPr/>
          </p:nvGrpSpPr>
          <p:grpSpPr>
            <a:xfrm>
              <a:off x="3972610" y="4239763"/>
              <a:ext cx="823081" cy="723675"/>
              <a:chOff x="5378450" y="2388754"/>
              <a:chExt cx="1314450" cy="1155700"/>
            </a:xfrm>
          </p:grpSpPr>
          <p:cxnSp>
            <p:nvCxnSpPr>
              <p:cNvPr id="178" name="Straight Connector 177">
                <a:extLst>
                  <a:ext uri="{FF2B5EF4-FFF2-40B4-BE49-F238E27FC236}">
                    <a16:creationId xmlns:a16="http://schemas.microsoft.com/office/drawing/2014/main" id="{D2B611D1-CF9D-4BC0-A2DF-56FCB6304F50}"/>
                  </a:ext>
                </a:extLst>
              </p:cNvPr>
              <p:cNvCxnSpPr/>
              <p:nvPr/>
            </p:nvCxnSpPr>
            <p:spPr>
              <a:xfrm>
                <a:off x="6035675" y="2388754"/>
                <a:ext cx="0" cy="1155700"/>
              </a:xfrm>
              <a:prstGeom prst="line">
                <a:avLst/>
              </a:prstGeom>
              <a:noFill/>
              <a:ln w="12700" cap="flat" cmpd="sng" algn="ctr">
                <a:solidFill>
                  <a:schemeClr val="tx2"/>
                </a:solidFill>
                <a:prstDash val="solid"/>
                <a:headEnd type="none"/>
                <a:tailEnd type="none"/>
              </a:ln>
              <a:effectLst/>
            </p:spPr>
          </p:cxnSp>
          <p:sp>
            <p:nvSpPr>
              <p:cNvPr id="179" name="check">
                <a:extLst>
                  <a:ext uri="{FF2B5EF4-FFF2-40B4-BE49-F238E27FC236}">
                    <a16:creationId xmlns:a16="http://schemas.microsoft.com/office/drawing/2014/main" id="{A7DD95C6-8CAF-4CBC-B09D-45C455828E0C}"/>
                  </a:ext>
                </a:extLst>
              </p:cNvPr>
              <p:cNvSpPr>
                <a:spLocks noChangeAspect="1"/>
              </p:cNvSpPr>
              <p:nvPr/>
            </p:nvSpPr>
            <p:spPr bwMode="auto">
              <a:xfrm>
                <a:off x="5565996" y="2490522"/>
                <a:ext cx="276004" cy="19489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80" name="check">
                <a:extLst>
                  <a:ext uri="{FF2B5EF4-FFF2-40B4-BE49-F238E27FC236}">
                    <a16:creationId xmlns:a16="http://schemas.microsoft.com/office/drawing/2014/main" id="{F12D4298-5B90-4B47-807F-C8517611DC01}"/>
                  </a:ext>
                </a:extLst>
              </p:cNvPr>
              <p:cNvSpPr>
                <a:spLocks noChangeAspect="1"/>
              </p:cNvSpPr>
              <p:nvPr/>
            </p:nvSpPr>
            <p:spPr bwMode="auto">
              <a:xfrm>
                <a:off x="6213696" y="2490522"/>
                <a:ext cx="276004" cy="19489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81" name="check">
                <a:extLst>
                  <a:ext uri="{FF2B5EF4-FFF2-40B4-BE49-F238E27FC236}">
                    <a16:creationId xmlns:a16="http://schemas.microsoft.com/office/drawing/2014/main" id="{385925B6-6EB4-4937-90C9-F32B5694C7FA}"/>
                  </a:ext>
                </a:extLst>
              </p:cNvPr>
              <p:cNvSpPr>
                <a:spLocks noChangeAspect="1"/>
              </p:cNvSpPr>
              <p:nvPr/>
            </p:nvSpPr>
            <p:spPr bwMode="auto">
              <a:xfrm>
                <a:off x="5565996" y="2858822"/>
                <a:ext cx="276004" cy="19489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82" name="check">
                <a:extLst>
                  <a:ext uri="{FF2B5EF4-FFF2-40B4-BE49-F238E27FC236}">
                    <a16:creationId xmlns:a16="http://schemas.microsoft.com/office/drawing/2014/main" id="{58CDAF87-473E-492F-80A0-D922B7E8C650}"/>
                  </a:ext>
                </a:extLst>
              </p:cNvPr>
              <p:cNvSpPr>
                <a:spLocks noChangeAspect="1"/>
              </p:cNvSpPr>
              <p:nvPr/>
            </p:nvSpPr>
            <p:spPr bwMode="auto">
              <a:xfrm>
                <a:off x="5565996" y="3252522"/>
                <a:ext cx="276004" cy="19489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83" name="check">
                <a:extLst>
                  <a:ext uri="{FF2B5EF4-FFF2-40B4-BE49-F238E27FC236}">
                    <a16:creationId xmlns:a16="http://schemas.microsoft.com/office/drawing/2014/main" id="{062D8735-9872-4BFB-B13B-1E4E51884F63}"/>
                  </a:ext>
                </a:extLst>
              </p:cNvPr>
              <p:cNvSpPr>
                <a:spLocks noChangeAspect="1"/>
              </p:cNvSpPr>
              <p:nvPr/>
            </p:nvSpPr>
            <p:spPr bwMode="auto">
              <a:xfrm>
                <a:off x="6213696" y="3252522"/>
                <a:ext cx="276004" cy="19489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184" name="Group 183">
                <a:extLst>
                  <a:ext uri="{FF2B5EF4-FFF2-40B4-BE49-F238E27FC236}">
                    <a16:creationId xmlns:a16="http://schemas.microsoft.com/office/drawing/2014/main" id="{0C33CE1A-07BA-4D3A-AE8F-F8CF993B6E60}"/>
                  </a:ext>
                </a:extLst>
              </p:cNvPr>
              <p:cNvGrpSpPr/>
              <p:nvPr/>
            </p:nvGrpSpPr>
            <p:grpSpPr>
              <a:xfrm>
                <a:off x="5378450" y="2782454"/>
                <a:ext cx="1314450" cy="368300"/>
                <a:chOff x="1873250" y="3079750"/>
                <a:chExt cx="1314450" cy="368300"/>
              </a:xfrm>
            </p:grpSpPr>
            <p:cxnSp>
              <p:nvCxnSpPr>
                <p:cNvPr id="185" name="Straight Connector 184">
                  <a:extLst>
                    <a:ext uri="{FF2B5EF4-FFF2-40B4-BE49-F238E27FC236}">
                      <a16:creationId xmlns:a16="http://schemas.microsoft.com/office/drawing/2014/main" id="{12F0A4C1-0DF8-4C97-B521-D8813885485F}"/>
                    </a:ext>
                  </a:extLst>
                </p:cNvPr>
                <p:cNvCxnSpPr/>
                <p:nvPr/>
              </p:nvCxnSpPr>
              <p:spPr>
                <a:xfrm>
                  <a:off x="1873250" y="3079750"/>
                  <a:ext cx="1314450" cy="0"/>
                </a:xfrm>
                <a:prstGeom prst="line">
                  <a:avLst/>
                </a:prstGeom>
                <a:noFill/>
                <a:ln w="12700" cap="flat" cmpd="sng" algn="ctr">
                  <a:solidFill>
                    <a:schemeClr val="tx2"/>
                  </a:solidFill>
                  <a:prstDash val="solid"/>
                  <a:headEnd type="none"/>
                  <a:tailEnd type="none"/>
                </a:ln>
                <a:effectLst/>
              </p:spPr>
            </p:cxnSp>
            <p:cxnSp>
              <p:nvCxnSpPr>
                <p:cNvPr id="186" name="Straight Connector 185">
                  <a:extLst>
                    <a:ext uri="{FF2B5EF4-FFF2-40B4-BE49-F238E27FC236}">
                      <a16:creationId xmlns:a16="http://schemas.microsoft.com/office/drawing/2014/main" id="{DFFF190A-B32F-4534-8763-C7198380DFB7}"/>
                    </a:ext>
                  </a:extLst>
                </p:cNvPr>
                <p:cNvCxnSpPr/>
                <p:nvPr/>
              </p:nvCxnSpPr>
              <p:spPr>
                <a:xfrm>
                  <a:off x="1873250" y="3448050"/>
                  <a:ext cx="1314450" cy="0"/>
                </a:xfrm>
                <a:prstGeom prst="line">
                  <a:avLst/>
                </a:prstGeom>
                <a:noFill/>
                <a:ln w="12700" cap="flat" cmpd="sng" algn="ctr">
                  <a:solidFill>
                    <a:schemeClr val="tx2"/>
                  </a:solidFill>
                  <a:prstDash val="solid"/>
                  <a:headEnd type="none"/>
                  <a:tailEnd type="none"/>
                </a:ln>
                <a:effectLst/>
              </p:spPr>
            </p:cxnSp>
          </p:grpSp>
        </p:grpSp>
      </p:grpSp>
      <p:grpSp>
        <p:nvGrpSpPr>
          <p:cNvPr id="282" name="Group 281">
            <a:extLst>
              <a:ext uri="{FF2B5EF4-FFF2-40B4-BE49-F238E27FC236}">
                <a16:creationId xmlns:a16="http://schemas.microsoft.com/office/drawing/2014/main" id="{37A3A77A-BB79-46FF-A4A8-62EAB264557C}"/>
              </a:ext>
            </a:extLst>
          </p:cNvPr>
          <p:cNvGrpSpPr/>
          <p:nvPr/>
        </p:nvGrpSpPr>
        <p:grpSpPr>
          <a:xfrm>
            <a:off x="9889549" y="2409716"/>
            <a:ext cx="1585325" cy="2749591"/>
            <a:chOff x="10087855" y="2457539"/>
            <a:chExt cx="1617114" cy="2804726"/>
          </a:xfrm>
        </p:grpSpPr>
        <p:grpSp>
          <p:nvGrpSpPr>
            <p:cNvPr id="75" name="Group 74">
              <a:extLst>
                <a:ext uri="{FF2B5EF4-FFF2-40B4-BE49-F238E27FC236}">
                  <a16:creationId xmlns:a16="http://schemas.microsoft.com/office/drawing/2014/main" id="{7C76C57F-AC0C-4D38-AB3A-896FAE91AAC6}"/>
                </a:ext>
              </a:extLst>
            </p:cNvPr>
            <p:cNvGrpSpPr/>
            <p:nvPr/>
          </p:nvGrpSpPr>
          <p:grpSpPr>
            <a:xfrm>
              <a:off x="10087855" y="2457539"/>
              <a:ext cx="1617114" cy="2804726"/>
              <a:chOff x="8107209" y="3065834"/>
              <a:chExt cx="1617114" cy="2804726"/>
            </a:xfrm>
          </p:grpSpPr>
          <p:grpSp>
            <p:nvGrpSpPr>
              <p:cNvPr id="76" name="Group 75">
                <a:extLst>
                  <a:ext uri="{FF2B5EF4-FFF2-40B4-BE49-F238E27FC236}">
                    <a16:creationId xmlns:a16="http://schemas.microsoft.com/office/drawing/2014/main" id="{D74D0C9C-009E-4C10-A7A3-B12A7C055179}"/>
                  </a:ext>
                </a:extLst>
              </p:cNvPr>
              <p:cNvGrpSpPr/>
              <p:nvPr/>
            </p:nvGrpSpPr>
            <p:grpSpPr>
              <a:xfrm>
                <a:off x="8107209" y="3065834"/>
                <a:ext cx="1599571" cy="2804726"/>
                <a:chOff x="3208859" y="4070542"/>
                <a:chExt cx="1458309" cy="2411828"/>
              </a:xfrm>
            </p:grpSpPr>
            <p:sp>
              <p:nvSpPr>
                <p:cNvPr id="78" name="Rectangle 77">
                  <a:extLst>
                    <a:ext uri="{FF2B5EF4-FFF2-40B4-BE49-F238E27FC236}">
                      <a16:creationId xmlns:a16="http://schemas.microsoft.com/office/drawing/2014/main" id="{A4787C52-8EE0-4FB7-A5FB-D932E60E3E80}"/>
                    </a:ext>
                  </a:extLst>
                </p:cNvPr>
                <p:cNvSpPr/>
                <p:nvPr/>
              </p:nvSpPr>
              <p:spPr bwMode="auto">
                <a:xfrm>
                  <a:off x="3208859" y="4070542"/>
                  <a:ext cx="1456803" cy="241182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9" name="Straight Connector 78">
                  <a:extLst>
                    <a:ext uri="{FF2B5EF4-FFF2-40B4-BE49-F238E27FC236}">
                      <a16:creationId xmlns:a16="http://schemas.microsoft.com/office/drawing/2014/main" id="{B6AADBBA-B6E4-4FB2-8E5E-34F06BC98129}"/>
                    </a:ext>
                  </a:extLst>
                </p:cNvPr>
                <p:cNvCxnSpPr>
                  <a:cxnSpLocks/>
                </p:cNvCxnSpPr>
                <p:nvPr/>
              </p:nvCxnSpPr>
              <p:spPr>
                <a:xfrm>
                  <a:off x="3208859" y="4541668"/>
                  <a:ext cx="1458309"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7" name="TextBox 76">
                <a:extLst>
                  <a:ext uri="{FF2B5EF4-FFF2-40B4-BE49-F238E27FC236}">
                    <a16:creationId xmlns:a16="http://schemas.microsoft.com/office/drawing/2014/main" id="{7F72A909-8D53-466B-A8FB-46CADD19FC3C}"/>
                  </a:ext>
                </a:extLst>
              </p:cNvPr>
              <p:cNvSpPr txBox="1"/>
              <p:nvPr/>
            </p:nvSpPr>
            <p:spPr>
              <a:xfrm>
                <a:off x="8126404" y="3065834"/>
                <a:ext cx="1597919" cy="55028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rPr>
                  <a:t>DevOps for data science</a:t>
                </a:r>
              </a:p>
            </p:txBody>
          </p:sp>
        </p:grpSp>
        <p:grpSp>
          <p:nvGrpSpPr>
            <p:cNvPr id="187" name="Group 186">
              <a:extLst>
                <a:ext uri="{FF2B5EF4-FFF2-40B4-BE49-F238E27FC236}">
                  <a16:creationId xmlns:a16="http://schemas.microsoft.com/office/drawing/2014/main" id="{97A7E32B-2DE1-409A-BF3E-1AC682462DCD}"/>
                </a:ext>
              </a:extLst>
            </p:cNvPr>
            <p:cNvGrpSpPr/>
            <p:nvPr/>
          </p:nvGrpSpPr>
          <p:grpSpPr>
            <a:xfrm>
              <a:off x="10356988" y="3378050"/>
              <a:ext cx="1119682" cy="1403911"/>
              <a:chOff x="13906501" y="3886200"/>
              <a:chExt cx="619125" cy="776287"/>
            </a:xfrm>
          </p:grpSpPr>
          <p:sp>
            <p:nvSpPr>
              <p:cNvPr id="188" name="Freeform 17">
                <a:extLst>
                  <a:ext uri="{FF2B5EF4-FFF2-40B4-BE49-F238E27FC236}">
                    <a16:creationId xmlns:a16="http://schemas.microsoft.com/office/drawing/2014/main" id="{EA44C9BD-17EE-4A88-91BB-3FB26F95980F}"/>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89" name="Freeform 18">
                <a:extLst>
                  <a:ext uri="{FF2B5EF4-FFF2-40B4-BE49-F238E27FC236}">
                    <a16:creationId xmlns:a16="http://schemas.microsoft.com/office/drawing/2014/main" id="{1A033CA0-3674-44D6-BE5D-3125550C3FCE}"/>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90" name="Line 19">
                <a:extLst>
                  <a:ext uri="{FF2B5EF4-FFF2-40B4-BE49-F238E27FC236}">
                    <a16:creationId xmlns:a16="http://schemas.microsoft.com/office/drawing/2014/main" id="{3D09CCB7-59D4-4368-87D8-D77D580943A1}"/>
                  </a:ext>
                </a:extLst>
              </p:cNvPr>
              <p:cNvSpPr>
                <a:spLocks noChangeShapeType="1"/>
              </p:cNvSpPr>
              <p:nvPr/>
            </p:nvSpPr>
            <p:spPr bwMode="auto">
              <a:xfrm>
                <a:off x="14216063" y="4221163"/>
                <a:ext cx="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91" name="Freeform 20">
                <a:extLst>
                  <a:ext uri="{FF2B5EF4-FFF2-40B4-BE49-F238E27FC236}">
                    <a16:creationId xmlns:a16="http://schemas.microsoft.com/office/drawing/2014/main" id="{0EE4CAA5-AE95-4D57-87B1-47156C139616}"/>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92" name="Line 21">
                <a:extLst>
                  <a:ext uri="{FF2B5EF4-FFF2-40B4-BE49-F238E27FC236}">
                    <a16:creationId xmlns:a16="http://schemas.microsoft.com/office/drawing/2014/main" id="{52C99023-E9EB-44E6-B091-F83944E50972}"/>
                  </a:ext>
                </a:extLst>
              </p:cNvPr>
              <p:cNvSpPr>
                <a:spLocks noChangeShapeType="1"/>
              </p:cNvSpPr>
              <p:nvPr/>
            </p:nvSpPr>
            <p:spPr bwMode="auto">
              <a:xfrm>
                <a:off x="14216063" y="3967163"/>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93" name="Freeform 22">
                <a:extLst>
                  <a:ext uri="{FF2B5EF4-FFF2-40B4-BE49-F238E27FC236}">
                    <a16:creationId xmlns:a16="http://schemas.microsoft.com/office/drawing/2014/main" id="{0B856B7B-A532-493D-9E34-092FDE929B65}"/>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94" name="Line 23">
                <a:extLst>
                  <a:ext uri="{FF2B5EF4-FFF2-40B4-BE49-F238E27FC236}">
                    <a16:creationId xmlns:a16="http://schemas.microsoft.com/office/drawing/2014/main" id="{2C1A2F20-22E3-48E4-85EF-16D67668E635}"/>
                  </a:ext>
                </a:extLst>
              </p:cNvPr>
              <p:cNvSpPr>
                <a:spLocks noChangeShapeType="1"/>
              </p:cNvSpPr>
              <p:nvPr/>
            </p:nvSpPr>
            <p:spPr bwMode="auto">
              <a:xfrm flipH="1">
                <a:off x="14177963" y="4581525"/>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grpSp>
        <p:grpSp>
          <p:nvGrpSpPr>
            <p:cNvPr id="249" name="Group 248">
              <a:extLst>
                <a:ext uri="{FF2B5EF4-FFF2-40B4-BE49-F238E27FC236}">
                  <a16:creationId xmlns:a16="http://schemas.microsoft.com/office/drawing/2014/main" id="{C5718830-4759-43C1-9989-9D60B785CC69}"/>
                </a:ext>
              </a:extLst>
            </p:cNvPr>
            <p:cNvGrpSpPr/>
            <p:nvPr/>
          </p:nvGrpSpPr>
          <p:grpSpPr>
            <a:xfrm>
              <a:off x="10704931" y="3715311"/>
              <a:ext cx="441410" cy="653002"/>
              <a:chOff x="7961123" y="2412912"/>
              <a:chExt cx="826716" cy="1223007"/>
            </a:xfrm>
          </p:grpSpPr>
          <p:grpSp>
            <p:nvGrpSpPr>
              <p:cNvPr id="250" name="Group 249">
                <a:extLst>
                  <a:ext uri="{FF2B5EF4-FFF2-40B4-BE49-F238E27FC236}">
                    <a16:creationId xmlns:a16="http://schemas.microsoft.com/office/drawing/2014/main" id="{46439029-7E0A-42D7-8F07-BE8A939AF371}"/>
                  </a:ext>
                </a:extLst>
              </p:cNvPr>
              <p:cNvGrpSpPr/>
              <p:nvPr/>
            </p:nvGrpSpPr>
            <p:grpSpPr>
              <a:xfrm>
                <a:off x="7961123" y="2735181"/>
                <a:ext cx="826716" cy="900738"/>
                <a:chOff x="514349" y="3279731"/>
                <a:chExt cx="2565735" cy="2795467"/>
              </a:xfrm>
            </p:grpSpPr>
            <p:sp>
              <p:nvSpPr>
                <p:cNvPr id="254" name="Line 14">
                  <a:extLst>
                    <a:ext uri="{FF2B5EF4-FFF2-40B4-BE49-F238E27FC236}">
                      <a16:creationId xmlns:a16="http://schemas.microsoft.com/office/drawing/2014/main" id="{5EF87FE7-EE48-43F9-B474-5EE906422D4E}"/>
                    </a:ext>
                  </a:extLst>
                </p:cNvPr>
                <p:cNvSpPr>
                  <a:spLocks noChangeShapeType="1"/>
                </p:cNvSpPr>
                <p:nvPr/>
              </p:nvSpPr>
              <p:spPr bwMode="auto">
                <a:xfrm>
                  <a:off x="1934666" y="3784356"/>
                  <a:ext cx="36653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55" name="Line 15">
                  <a:extLst>
                    <a:ext uri="{FF2B5EF4-FFF2-40B4-BE49-F238E27FC236}">
                      <a16:creationId xmlns:a16="http://schemas.microsoft.com/office/drawing/2014/main" id="{7CCEF1EA-872A-4D9E-9C1B-F3EAD7F4A526}"/>
                    </a:ext>
                  </a:extLst>
                </p:cNvPr>
                <p:cNvSpPr>
                  <a:spLocks noChangeShapeType="1"/>
                </p:cNvSpPr>
                <p:nvPr/>
              </p:nvSpPr>
              <p:spPr bwMode="auto">
                <a:xfrm>
                  <a:off x="1934666" y="4288341"/>
                  <a:ext cx="36653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56" name="Line 16">
                  <a:extLst>
                    <a:ext uri="{FF2B5EF4-FFF2-40B4-BE49-F238E27FC236}">
                      <a16:creationId xmlns:a16="http://schemas.microsoft.com/office/drawing/2014/main" id="{B05DB525-C127-44B2-BACB-2CC7CDB2A7BA}"/>
                    </a:ext>
                  </a:extLst>
                </p:cNvPr>
                <p:cNvSpPr>
                  <a:spLocks noChangeShapeType="1"/>
                </p:cNvSpPr>
                <p:nvPr/>
              </p:nvSpPr>
              <p:spPr bwMode="auto">
                <a:xfrm>
                  <a:off x="1934666" y="4815238"/>
                  <a:ext cx="595617"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57" name="Line 13">
                  <a:extLst>
                    <a:ext uri="{FF2B5EF4-FFF2-40B4-BE49-F238E27FC236}">
                      <a16:creationId xmlns:a16="http://schemas.microsoft.com/office/drawing/2014/main" id="{C3D315E1-1CDC-4C47-822E-1606B9693287}"/>
                    </a:ext>
                  </a:extLst>
                </p:cNvPr>
                <p:cNvSpPr>
                  <a:spLocks noChangeShapeType="1"/>
                </p:cNvSpPr>
                <p:nvPr/>
              </p:nvSpPr>
              <p:spPr bwMode="auto">
                <a:xfrm>
                  <a:off x="1064149" y="3279731"/>
                  <a:ext cx="1438419"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58" name="Freeform 12">
                  <a:extLst>
                    <a:ext uri="{FF2B5EF4-FFF2-40B4-BE49-F238E27FC236}">
                      <a16:creationId xmlns:a16="http://schemas.microsoft.com/office/drawing/2014/main" id="{B7CEF0D5-B0E9-417F-AB86-A757BAA1CB95}"/>
                    </a:ext>
                  </a:extLst>
                </p:cNvPr>
                <p:cNvSpPr>
                  <a:spLocks/>
                </p:cNvSpPr>
                <p:nvPr/>
              </p:nvSpPr>
              <p:spPr bwMode="auto">
                <a:xfrm>
                  <a:off x="514349" y="3280373"/>
                  <a:ext cx="2565735" cy="2794825"/>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251" name="Freeform 199">
                <a:extLst>
                  <a:ext uri="{FF2B5EF4-FFF2-40B4-BE49-F238E27FC236}">
                    <a16:creationId xmlns:a16="http://schemas.microsoft.com/office/drawing/2014/main" id="{AA49ACA8-FDDD-49C9-9674-5A98BBD1D59F}"/>
                  </a:ext>
                </a:extLst>
              </p:cNvPr>
              <p:cNvSpPr/>
              <p:nvPr/>
            </p:nvSpPr>
            <p:spPr bwMode="auto">
              <a:xfrm>
                <a:off x="8293354" y="2634916"/>
                <a:ext cx="128338" cy="100401"/>
              </a:xfrm>
              <a:custGeom>
                <a:avLst/>
                <a:gdLst>
                  <a:gd name="connsiteX0" fmla="*/ 64169 w 128338"/>
                  <a:gd name="connsiteY0" fmla="*/ 0 h 100401"/>
                  <a:gd name="connsiteX1" fmla="*/ 128338 w 128338"/>
                  <a:gd name="connsiteY1" fmla="*/ 64169 h 100401"/>
                  <a:gd name="connsiteX2" fmla="*/ 123295 w 128338"/>
                  <a:gd name="connsiteY2" fmla="*/ 89147 h 100401"/>
                  <a:gd name="connsiteX3" fmla="*/ 115708 w 128338"/>
                  <a:gd name="connsiteY3" fmla="*/ 100401 h 100401"/>
                  <a:gd name="connsiteX4" fmla="*/ 12631 w 128338"/>
                  <a:gd name="connsiteY4" fmla="*/ 100401 h 100401"/>
                  <a:gd name="connsiteX5" fmla="*/ 5043 w 128338"/>
                  <a:gd name="connsiteY5" fmla="*/ 89147 h 100401"/>
                  <a:gd name="connsiteX6" fmla="*/ 0 w 128338"/>
                  <a:gd name="connsiteY6" fmla="*/ 64169 h 100401"/>
                  <a:gd name="connsiteX7" fmla="*/ 64169 w 128338"/>
                  <a:gd name="connsiteY7" fmla="*/ 0 h 100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338" h="100401">
                    <a:moveTo>
                      <a:pt x="64169" y="0"/>
                    </a:moveTo>
                    <a:cubicBezTo>
                      <a:pt x="99609" y="0"/>
                      <a:pt x="128338" y="28729"/>
                      <a:pt x="128338" y="64169"/>
                    </a:cubicBezTo>
                    <a:cubicBezTo>
                      <a:pt x="128338" y="73029"/>
                      <a:pt x="126542" y="81469"/>
                      <a:pt x="123295" y="89147"/>
                    </a:cubicBezTo>
                    <a:lnTo>
                      <a:pt x="115708" y="100401"/>
                    </a:lnTo>
                    <a:lnTo>
                      <a:pt x="12631" y="100401"/>
                    </a:lnTo>
                    <a:lnTo>
                      <a:pt x="5043" y="89147"/>
                    </a:lnTo>
                    <a:cubicBezTo>
                      <a:pt x="1796" y="81469"/>
                      <a:pt x="0" y="73029"/>
                      <a:pt x="0" y="64169"/>
                    </a:cubicBezTo>
                    <a:cubicBezTo>
                      <a:pt x="0" y="28729"/>
                      <a:pt x="28729" y="0"/>
                      <a:pt x="64169" y="0"/>
                    </a:cubicBezTo>
                    <a:close/>
                  </a:path>
                </a:pathLst>
              </a:custGeom>
              <a:noFill/>
              <a:ln w="12700" cap="rnd">
                <a:solidFill>
                  <a:schemeClr val="tx2"/>
                </a:solidFill>
                <a:miter lim="800000"/>
                <a:headEnd/>
                <a:tailEnd/>
              </a:ln>
              <a:effectLst/>
            </p:spPr>
            <p:txBody>
              <a:bodyPr wrap="square" lIns="89642" tIns="44821" rIns="89642" bIns="44821" numCol="1" spcCol="0" rtlCol="0" fromWordArt="0" anchor="ctr" anchorCtr="0" forceAA="0" compatLnSpc="1"/>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2" name="Oval 251">
                <a:extLst>
                  <a:ext uri="{FF2B5EF4-FFF2-40B4-BE49-F238E27FC236}">
                    <a16:creationId xmlns:a16="http://schemas.microsoft.com/office/drawing/2014/main" id="{952CE89D-6827-492F-ACB9-7AFB5BF1EEAF}"/>
                  </a:ext>
                </a:extLst>
              </p:cNvPr>
              <p:cNvSpPr/>
              <p:nvPr/>
            </p:nvSpPr>
            <p:spPr bwMode="auto">
              <a:xfrm>
                <a:off x="8406962" y="2522482"/>
                <a:ext cx="55180" cy="55180"/>
              </a:xfrm>
              <a:prstGeom prst="ellipse">
                <a:avLst/>
              </a:prstGeom>
              <a:noFill/>
              <a:ln w="12700" cap="rnd">
                <a:solidFill>
                  <a:schemeClr val="tx2"/>
                </a:solidFill>
                <a:miter lim="800000"/>
                <a:headEnd/>
                <a:tailEnd/>
              </a:ln>
              <a:effectLst/>
            </p:spPr>
            <p:txBody>
              <a:bodyPr wrap="none" rtlCol="0"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3" name="Oval 252">
                <a:extLst>
                  <a:ext uri="{FF2B5EF4-FFF2-40B4-BE49-F238E27FC236}">
                    <a16:creationId xmlns:a16="http://schemas.microsoft.com/office/drawing/2014/main" id="{420A2DA6-1B33-4026-A6A6-A68B905796BB}"/>
                  </a:ext>
                </a:extLst>
              </p:cNvPr>
              <p:cNvSpPr/>
              <p:nvPr/>
            </p:nvSpPr>
            <p:spPr bwMode="auto">
              <a:xfrm>
                <a:off x="8321040" y="2412912"/>
                <a:ext cx="45720" cy="45720"/>
              </a:xfrm>
              <a:prstGeom prst="ellipse">
                <a:avLst/>
              </a:prstGeom>
              <a:noFill/>
              <a:ln w="12700" cap="rnd">
                <a:solidFill>
                  <a:schemeClr val="tx2"/>
                </a:solidFill>
                <a:miter lim="800000"/>
                <a:headEnd/>
                <a:tailEnd/>
              </a:ln>
              <a:effectLst/>
            </p:spPr>
            <p:txBody>
              <a:bodyPr wrap="none" rtlCol="0"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grpSp>
        <p:nvGrpSpPr>
          <p:cNvPr id="281" name="Group 280">
            <a:extLst>
              <a:ext uri="{FF2B5EF4-FFF2-40B4-BE49-F238E27FC236}">
                <a16:creationId xmlns:a16="http://schemas.microsoft.com/office/drawing/2014/main" id="{45A032EA-068C-481F-9A30-87CC2F888CF5}"/>
              </a:ext>
            </a:extLst>
          </p:cNvPr>
          <p:cNvGrpSpPr/>
          <p:nvPr/>
        </p:nvGrpSpPr>
        <p:grpSpPr>
          <a:xfrm>
            <a:off x="7779002" y="2422082"/>
            <a:ext cx="1585325" cy="2749591"/>
            <a:chOff x="7934987" y="2470153"/>
            <a:chExt cx="1617114" cy="2804726"/>
          </a:xfrm>
        </p:grpSpPr>
        <p:grpSp>
          <p:nvGrpSpPr>
            <p:cNvPr id="74" name="Group 73">
              <a:extLst>
                <a:ext uri="{FF2B5EF4-FFF2-40B4-BE49-F238E27FC236}">
                  <a16:creationId xmlns:a16="http://schemas.microsoft.com/office/drawing/2014/main" id="{4EB548B6-4225-43C8-918C-A852FBF0785C}"/>
                </a:ext>
              </a:extLst>
            </p:cNvPr>
            <p:cNvGrpSpPr/>
            <p:nvPr/>
          </p:nvGrpSpPr>
          <p:grpSpPr>
            <a:xfrm>
              <a:off x="7934987" y="2470153"/>
              <a:ext cx="1617114" cy="2804726"/>
              <a:chOff x="8107209" y="3065834"/>
              <a:chExt cx="1617114" cy="2804726"/>
            </a:xfrm>
          </p:grpSpPr>
          <p:grpSp>
            <p:nvGrpSpPr>
              <p:cNvPr id="70" name="Group 69">
                <a:extLst>
                  <a:ext uri="{FF2B5EF4-FFF2-40B4-BE49-F238E27FC236}">
                    <a16:creationId xmlns:a16="http://schemas.microsoft.com/office/drawing/2014/main" id="{65E5FA80-5F6C-47EF-B945-A24C8E25BEE7}"/>
                  </a:ext>
                </a:extLst>
              </p:cNvPr>
              <p:cNvGrpSpPr/>
              <p:nvPr/>
            </p:nvGrpSpPr>
            <p:grpSpPr>
              <a:xfrm>
                <a:off x="8107209" y="3065834"/>
                <a:ext cx="1599571" cy="2804726"/>
                <a:chOff x="3208859" y="4070542"/>
                <a:chExt cx="1458309" cy="2411828"/>
              </a:xfrm>
            </p:grpSpPr>
            <p:sp>
              <p:nvSpPr>
                <p:cNvPr id="71" name="Rectangle 70">
                  <a:extLst>
                    <a:ext uri="{FF2B5EF4-FFF2-40B4-BE49-F238E27FC236}">
                      <a16:creationId xmlns:a16="http://schemas.microsoft.com/office/drawing/2014/main" id="{0391B1BC-9EE6-46A7-943E-43C5649F6CFF}"/>
                    </a:ext>
                  </a:extLst>
                </p:cNvPr>
                <p:cNvSpPr/>
                <p:nvPr/>
              </p:nvSpPr>
              <p:spPr bwMode="auto">
                <a:xfrm>
                  <a:off x="3208859" y="4070542"/>
                  <a:ext cx="1456803" cy="241182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2FA53280-A008-4DF8-9868-32ED03DE5000}"/>
                    </a:ext>
                  </a:extLst>
                </p:cNvPr>
                <p:cNvCxnSpPr>
                  <a:cxnSpLocks/>
                </p:cNvCxnSpPr>
                <p:nvPr/>
              </p:nvCxnSpPr>
              <p:spPr>
                <a:xfrm>
                  <a:off x="3208859" y="4541668"/>
                  <a:ext cx="1458309"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3" name="TextBox 72">
                <a:extLst>
                  <a:ext uri="{FF2B5EF4-FFF2-40B4-BE49-F238E27FC236}">
                    <a16:creationId xmlns:a16="http://schemas.microsoft.com/office/drawing/2014/main" id="{883B726D-D2F0-4EAB-819F-BB5A8371F394}"/>
                  </a:ext>
                </a:extLst>
              </p:cNvPr>
              <p:cNvSpPr txBox="1"/>
              <p:nvPr/>
            </p:nvSpPr>
            <p:spPr>
              <a:xfrm>
                <a:off x="8126404" y="3065834"/>
                <a:ext cx="1597919" cy="55028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rPr>
                  <a:t>Deployment</a:t>
                </a:r>
              </a:p>
            </p:txBody>
          </p:sp>
        </p:grpSp>
        <p:grpSp>
          <p:nvGrpSpPr>
            <p:cNvPr id="265" name="Group 264">
              <a:extLst>
                <a:ext uri="{FF2B5EF4-FFF2-40B4-BE49-F238E27FC236}">
                  <a16:creationId xmlns:a16="http://schemas.microsoft.com/office/drawing/2014/main" id="{C973E2FA-B57B-4216-8514-8170E05A836D}"/>
                </a:ext>
              </a:extLst>
            </p:cNvPr>
            <p:cNvGrpSpPr/>
            <p:nvPr/>
          </p:nvGrpSpPr>
          <p:grpSpPr>
            <a:xfrm>
              <a:off x="8240993" y="4177631"/>
              <a:ext cx="965141" cy="797842"/>
              <a:chOff x="9524460" y="2632636"/>
              <a:chExt cx="2021177" cy="1670823"/>
            </a:xfrm>
          </p:grpSpPr>
          <p:sp>
            <p:nvSpPr>
              <p:cNvPr id="269" name="gear_3">
                <a:extLst>
                  <a:ext uri="{FF2B5EF4-FFF2-40B4-BE49-F238E27FC236}">
                    <a16:creationId xmlns:a16="http://schemas.microsoft.com/office/drawing/2014/main" id="{F1038FE7-0D38-4FC9-8A9A-F9D9C7D13F9A}"/>
                  </a:ext>
                </a:extLst>
              </p:cNvPr>
              <p:cNvSpPr>
                <a:spLocks noChangeAspect="1" noEditPoints="1"/>
              </p:cNvSpPr>
              <p:nvPr/>
            </p:nvSpPr>
            <p:spPr bwMode="auto">
              <a:xfrm>
                <a:off x="9524460" y="3183698"/>
                <a:ext cx="1110355" cy="111976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0" name="gear_3">
                <a:extLst>
                  <a:ext uri="{FF2B5EF4-FFF2-40B4-BE49-F238E27FC236}">
                    <a16:creationId xmlns:a16="http://schemas.microsoft.com/office/drawing/2014/main" id="{B5659DF4-C1CA-44A3-A382-863AF26594EC}"/>
                  </a:ext>
                </a:extLst>
              </p:cNvPr>
              <p:cNvSpPr>
                <a:spLocks noChangeAspect="1" noEditPoints="1"/>
              </p:cNvSpPr>
              <p:nvPr/>
            </p:nvSpPr>
            <p:spPr bwMode="auto">
              <a:xfrm>
                <a:off x="10421433" y="2632636"/>
                <a:ext cx="735342" cy="74157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1" name="gear_3">
                <a:extLst>
                  <a:ext uri="{FF2B5EF4-FFF2-40B4-BE49-F238E27FC236}">
                    <a16:creationId xmlns:a16="http://schemas.microsoft.com/office/drawing/2014/main" id="{E831E26D-75A9-4384-BA61-D0A554EE551B}"/>
                  </a:ext>
                </a:extLst>
              </p:cNvPr>
              <p:cNvSpPr>
                <a:spLocks noChangeAspect="1" noEditPoints="1"/>
              </p:cNvSpPr>
              <p:nvPr/>
            </p:nvSpPr>
            <p:spPr bwMode="auto">
              <a:xfrm>
                <a:off x="11022746" y="3309209"/>
                <a:ext cx="522891" cy="527320"/>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272" name="Group 271">
              <a:extLst>
                <a:ext uri="{FF2B5EF4-FFF2-40B4-BE49-F238E27FC236}">
                  <a16:creationId xmlns:a16="http://schemas.microsoft.com/office/drawing/2014/main" id="{2E359A57-19B3-43D4-97C4-A8C59AA47825}"/>
                </a:ext>
              </a:extLst>
            </p:cNvPr>
            <p:cNvGrpSpPr/>
            <p:nvPr/>
          </p:nvGrpSpPr>
          <p:grpSpPr>
            <a:xfrm>
              <a:off x="8249297" y="3399195"/>
              <a:ext cx="849131" cy="627807"/>
              <a:chOff x="10902845" y="2693238"/>
              <a:chExt cx="644231" cy="476314"/>
            </a:xfrm>
          </p:grpSpPr>
          <p:sp>
            <p:nvSpPr>
              <p:cNvPr id="273" name="Freeform 146">
                <a:extLst>
                  <a:ext uri="{FF2B5EF4-FFF2-40B4-BE49-F238E27FC236}">
                    <a16:creationId xmlns:a16="http://schemas.microsoft.com/office/drawing/2014/main" id="{B4462F19-E371-4BB6-AB3C-09EFE5F88B12}"/>
                  </a:ext>
                </a:extLst>
              </p:cNvPr>
              <p:cNvSpPr>
                <a:spLocks noChangeAspect="1"/>
              </p:cNvSpPr>
              <p:nvPr/>
            </p:nvSpPr>
            <p:spPr bwMode="auto">
              <a:xfrm>
                <a:off x="10902845" y="2693238"/>
                <a:ext cx="644231" cy="40799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ct val="0"/>
                  </a:spcBef>
                  <a:spcAft>
                    <a:spcPct val="0"/>
                  </a:spcAft>
                  <a:buClrTx/>
                  <a:buSzTx/>
                  <a:buFontTx/>
                  <a:buNone/>
                  <a:tabLst/>
                  <a:defRPr/>
                </a:pPr>
                <a:endParaRPr kumimoji="0" lang="en-IN" sz="192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74" name="Rectangle 273">
                <a:extLst>
                  <a:ext uri="{FF2B5EF4-FFF2-40B4-BE49-F238E27FC236}">
                    <a16:creationId xmlns:a16="http://schemas.microsoft.com/office/drawing/2014/main" id="{1A385601-8155-4550-9224-F0930CB64496}"/>
                  </a:ext>
                </a:extLst>
              </p:cNvPr>
              <p:cNvSpPr/>
              <p:nvPr/>
            </p:nvSpPr>
            <p:spPr bwMode="auto">
              <a:xfrm>
                <a:off x="11138157" y="3021086"/>
                <a:ext cx="205040" cy="1484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6" name="Arrow: Up 275">
              <a:extLst>
                <a:ext uri="{FF2B5EF4-FFF2-40B4-BE49-F238E27FC236}">
                  <a16:creationId xmlns:a16="http://schemas.microsoft.com/office/drawing/2014/main" id="{7A9FB5B8-D87A-4426-AD99-85783A7A3DAA}"/>
                </a:ext>
              </a:extLst>
            </p:cNvPr>
            <p:cNvSpPr/>
            <p:nvPr/>
          </p:nvSpPr>
          <p:spPr bwMode="auto">
            <a:xfrm>
              <a:off x="8586063" y="3675127"/>
              <a:ext cx="217029" cy="438275"/>
            </a:xfrm>
            <a:prstGeom prst="upArrow">
              <a:avLst>
                <a:gd name="adj1" fmla="val 50000"/>
                <a:gd name="adj2" fmla="val 69446"/>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custDataLst>
      <p:tags r:id="rId1"/>
    </p:custDataLst>
    <p:extLst>
      <p:ext uri="{BB962C8B-B14F-4D97-AF65-F5344CB8AC3E}">
        <p14:creationId xmlns:p14="http://schemas.microsoft.com/office/powerpoint/2010/main" val="2102243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3"/>
                                        </p:tgtEl>
                                        <p:attrNameLst>
                                          <p:attrName>style.visibility</p:attrName>
                                        </p:attrNameLst>
                                      </p:cBhvr>
                                      <p:to>
                                        <p:strVal val="visible"/>
                                      </p:to>
                                    </p:set>
                                    <p:animEffect transition="in" filter="fade">
                                      <p:cBhvr>
                                        <p:cTn id="7" dur="500"/>
                                        <p:tgtEl>
                                          <p:spTgt spid="28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3"/>
                                        </p:tgtEl>
                                        <p:attrNameLst>
                                          <p:attrName>style.visibility</p:attrName>
                                        </p:attrNameLst>
                                      </p:cBhvr>
                                      <p:to>
                                        <p:strVal val="visible"/>
                                      </p:to>
                                    </p:set>
                                    <p:animEffect transition="in" filter="wipe(left)">
                                      <p:cBhvr>
                                        <p:cTn id="11" dur="500"/>
                                        <p:tgtEl>
                                          <p:spTgt spid="11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84"/>
                                        </p:tgtEl>
                                        <p:attrNameLst>
                                          <p:attrName>style.visibility</p:attrName>
                                        </p:attrNameLst>
                                      </p:cBhvr>
                                      <p:to>
                                        <p:strVal val="visible"/>
                                      </p:to>
                                    </p:set>
                                    <p:animEffect transition="in" filter="fade">
                                      <p:cBhvr>
                                        <p:cTn id="15" dur="500"/>
                                        <p:tgtEl>
                                          <p:spTgt spid="284"/>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81"/>
                                        </p:tgtEl>
                                        <p:attrNameLst>
                                          <p:attrName>style.visibility</p:attrName>
                                        </p:attrNameLst>
                                      </p:cBhvr>
                                      <p:to>
                                        <p:strVal val="visible"/>
                                      </p:to>
                                    </p:set>
                                    <p:animEffect transition="in" filter="wipe(left)">
                                      <p:cBhvr>
                                        <p:cTn id="19" dur="500"/>
                                        <p:tgtEl>
                                          <p:spTgt spid="8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79"/>
                                        </p:tgtEl>
                                        <p:attrNameLst>
                                          <p:attrName>style.visibility</p:attrName>
                                        </p:attrNameLst>
                                      </p:cBhvr>
                                      <p:to>
                                        <p:strVal val="visible"/>
                                      </p:to>
                                    </p:set>
                                    <p:animEffect transition="in" filter="fade">
                                      <p:cBhvr>
                                        <p:cTn id="23" dur="500"/>
                                        <p:tgtEl>
                                          <p:spTgt spid="279"/>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82"/>
                                        </p:tgtEl>
                                        <p:attrNameLst>
                                          <p:attrName>style.visibility</p:attrName>
                                        </p:attrNameLst>
                                      </p:cBhvr>
                                      <p:to>
                                        <p:strVal val="visible"/>
                                      </p:to>
                                    </p:set>
                                    <p:animEffect transition="in" filter="wipe(left)">
                                      <p:cBhvr>
                                        <p:cTn id="27" dur="500"/>
                                        <p:tgtEl>
                                          <p:spTgt spid="82"/>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280"/>
                                        </p:tgtEl>
                                        <p:attrNameLst>
                                          <p:attrName>style.visibility</p:attrName>
                                        </p:attrNameLst>
                                      </p:cBhvr>
                                      <p:to>
                                        <p:strVal val="visible"/>
                                      </p:to>
                                    </p:set>
                                    <p:animEffect transition="in" filter="fade">
                                      <p:cBhvr>
                                        <p:cTn id="31" dur="500"/>
                                        <p:tgtEl>
                                          <p:spTgt spid="280"/>
                                        </p:tgtEl>
                                      </p:cBhvr>
                                    </p:animEffect>
                                  </p:childTnLst>
                                </p:cTn>
                              </p:par>
                            </p:childTnLst>
                          </p:cTn>
                        </p:par>
                        <p:par>
                          <p:cTn id="32" fill="hold">
                            <p:stCondLst>
                              <p:cond delay="3500"/>
                            </p:stCondLst>
                            <p:childTnLst>
                              <p:par>
                                <p:cTn id="33" presetID="22" presetClass="entr" presetSubtype="8" fill="hold" nodeType="afterEffect">
                                  <p:stCondLst>
                                    <p:cond delay="0"/>
                                  </p:stCondLst>
                                  <p:childTnLst>
                                    <p:set>
                                      <p:cBhvr>
                                        <p:cTn id="34" dur="1" fill="hold">
                                          <p:stCondLst>
                                            <p:cond delay="0"/>
                                          </p:stCondLst>
                                        </p:cTn>
                                        <p:tgtEl>
                                          <p:spTgt spid="83"/>
                                        </p:tgtEl>
                                        <p:attrNameLst>
                                          <p:attrName>style.visibility</p:attrName>
                                        </p:attrNameLst>
                                      </p:cBhvr>
                                      <p:to>
                                        <p:strVal val="visible"/>
                                      </p:to>
                                    </p:set>
                                    <p:animEffect transition="in" filter="wipe(left)">
                                      <p:cBhvr>
                                        <p:cTn id="35" dur="500"/>
                                        <p:tgtEl>
                                          <p:spTgt spid="83"/>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281"/>
                                        </p:tgtEl>
                                        <p:attrNameLst>
                                          <p:attrName>style.visibility</p:attrName>
                                        </p:attrNameLst>
                                      </p:cBhvr>
                                      <p:to>
                                        <p:strVal val="visible"/>
                                      </p:to>
                                    </p:set>
                                    <p:animEffect transition="in" filter="fade">
                                      <p:cBhvr>
                                        <p:cTn id="39" dur="500"/>
                                        <p:tgtEl>
                                          <p:spTgt spid="281"/>
                                        </p:tgtEl>
                                      </p:cBhvr>
                                    </p:animEffect>
                                  </p:childTnLst>
                                </p:cTn>
                              </p:par>
                            </p:childTnLst>
                          </p:cTn>
                        </p:par>
                        <p:par>
                          <p:cTn id="40" fill="hold">
                            <p:stCondLst>
                              <p:cond delay="4500"/>
                            </p:stCondLst>
                            <p:childTnLst>
                              <p:par>
                                <p:cTn id="41" presetID="22" presetClass="entr" presetSubtype="8" fill="hold" nodeType="afterEffect">
                                  <p:stCondLst>
                                    <p:cond delay="0"/>
                                  </p:stCondLst>
                                  <p:childTnLst>
                                    <p:set>
                                      <p:cBhvr>
                                        <p:cTn id="42" dur="1" fill="hold">
                                          <p:stCondLst>
                                            <p:cond delay="0"/>
                                          </p:stCondLst>
                                        </p:cTn>
                                        <p:tgtEl>
                                          <p:spTgt spid="84"/>
                                        </p:tgtEl>
                                        <p:attrNameLst>
                                          <p:attrName>style.visibility</p:attrName>
                                        </p:attrNameLst>
                                      </p:cBhvr>
                                      <p:to>
                                        <p:strVal val="visible"/>
                                      </p:to>
                                    </p:set>
                                    <p:animEffect transition="in" filter="wipe(left)">
                                      <p:cBhvr>
                                        <p:cTn id="43" dur="500"/>
                                        <p:tgtEl>
                                          <p:spTgt spid="84"/>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282"/>
                                        </p:tgtEl>
                                        <p:attrNameLst>
                                          <p:attrName>style.visibility</p:attrName>
                                        </p:attrNameLst>
                                      </p:cBhvr>
                                      <p:to>
                                        <p:strVal val="visible"/>
                                      </p:to>
                                    </p:set>
                                    <p:animEffect transition="in" filter="fade">
                                      <p:cBhvr>
                                        <p:cTn id="47" dur="500"/>
                                        <p:tgtEl>
                                          <p:spTgt spid="282"/>
                                        </p:tgtEl>
                                      </p:cBhvr>
                                    </p:animEffect>
                                  </p:childTnLst>
                                </p:cTn>
                              </p:par>
                            </p:childTnLst>
                          </p:cTn>
                        </p:par>
                        <p:par>
                          <p:cTn id="48" fill="hold">
                            <p:stCondLst>
                              <p:cond delay="5500"/>
                            </p:stCondLst>
                            <p:childTnLst>
                              <p:par>
                                <p:cTn id="49" presetID="22" presetClass="entr" presetSubtype="2" fill="hold" nodeType="afterEffect">
                                  <p:stCondLst>
                                    <p:cond delay="0"/>
                                  </p:stCondLst>
                                  <p:childTnLst>
                                    <p:set>
                                      <p:cBhvr>
                                        <p:cTn id="50" dur="1" fill="hold">
                                          <p:stCondLst>
                                            <p:cond delay="0"/>
                                          </p:stCondLst>
                                        </p:cTn>
                                        <p:tgtEl>
                                          <p:spTgt spid="86"/>
                                        </p:tgtEl>
                                        <p:attrNameLst>
                                          <p:attrName>style.visibility</p:attrName>
                                        </p:attrNameLst>
                                      </p:cBhvr>
                                      <p:to>
                                        <p:strVal val="visible"/>
                                      </p:to>
                                    </p:set>
                                    <p:animEffect transition="in" filter="wipe(right)">
                                      <p:cBhvr>
                                        <p:cTn id="51"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27"/>
        <p:cNvGrpSpPr/>
        <p:nvPr/>
      </p:nvGrpSpPr>
      <p:grpSpPr>
        <a:xfrm>
          <a:off x="0" y="0"/>
          <a:ext cx="0" cy="0"/>
          <a:chOff x="0" y="0"/>
          <a:chExt cx="0" cy="0"/>
        </a:xfrm>
      </p:grpSpPr>
      <p:sp>
        <p:nvSpPr>
          <p:cNvPr id="129" name="Google Shape;129;p22"/>
          <p:cNvSpPr/>
          <p:nvPr/>
        </p:nvSpPr>
        <p:spPr>
          <a:xfrm>
            <a:off x="3939525" y="2922711"/>
            <a:ext cx="1680000" cy="988000"/>
          </a:xfrm>
          <a:prstGeom prst="rect">
            <a:avLst/>
          </a:prstGeom>
          <a:solidFill>
            <a:srgbClr val="052CA3"/>
          </a:solidFill>
          <a:ln>
            <a:noFill/>
          </a:ln>
        </p:spPr>
        <p:txBody>
          <a:bodyPr spcFirstLastPara="1" wrap="square" lIns="91433" tIns="91433" rIns="91433" bIns="91433" anchor="ctr" anchorCtr="0">
            <a:noAutofit/>
          </a:bodyPr>
          <a:lstStyle/>
          <a:p>
            <a:pPr algn="ctr"/>
            <a:r>
              <a:rPr lang="en" sz="1467" b="1">
                <a:solidFill>
                  <a:schemeClr val="lt1"/>
                </a:solidFill>
                <a:latin typeface="Trebuchet MS"/>
                <a:ea typeface="Trebuchet MS"/>
                <a:cs typeface="Trebuchet MS"/>
                <a:sym typeface="Trebuchet MS"/>
              </a:rPr>
              <a:t>Building</a:t>
            </a:r>
            <a:br>
              <a:rPr lang="en" sz="1467" b="1">
                <a:solidFill>
                  <a:schemeClr val="lt1"/>
                </a:solidFill>
                <a:latin typeface="Trebuchet MS"/>
                <a:ea typeface="Trebuchet MS"/>
                <a:cs typeface="Trebuchet MS"/>
                <a:sym typeface="Trebuchet MS"/>
              </a:rPr>
            </a:br>
            <a:r>
              <a:rPr lang="en" sz="1467" b="1">
                <a:solidFill>
                  <a:schemeClr val="lt1"/>
                </a:solidFill>
                <a:latin typeface="Trebuchet MS"/>
                <a:ea typeface="Trebuchet MS"/>
                <a:cs typeface="Trebuchet MS"/>
                <a:sym typeface="Trebuchet MS"/>
              </a:rPr>
              <a:t>a model</a:t>
            </a:r>
            <a:endParaRPr sz="1467" b="1">
              <a:solidFill>
                <a:schemeClr val="lt1"/>
              </a:solidFill>
              <a:latin typeface="Trebuchet MS"/>
              <a:ea typeface="Trebuchet MS"/>
              <a:cs typeface="Trebuchet MS"/>
              <a:sym typeface="Trebuchet MS"/>
            </a:endParaRPr>
          </a:p>
        </p:txBody>
      </p:sp>
      <p:grpSp>
        <p:nvGrpSpPr>
          <p:cNvPr id="130" name="Google Shape;130;p22"/>
          <p:cNvGrpSpPr/>
          <p:nvPr/>
        </p:nvGrpSpPr>
        <p:grpSpPr>
          <a:xfrm>
            <a:off x="704653" y="1622702"/>
            <a:ext cx="2156400" cy="987900"/>
            <a:chOff x="704653" y="2333900"/>
            <a:chExt cx="2156400" cy="987900"/>
          </a:xfrm>
        </p:grpSpPr>
        <p:sp>
          <p:nvSpPr>
            <p:cNvPr id="131" name="Google Shape;131;p22"/>
            <p:cNvSpPr/>
            <p:nvPr/>
          </p:nvSpPr>
          <p:spPr>
            <a:xfrm>
              <a:off x="704653" y="2333900"/>
              <a:ext cx="1680000" cy="987900"/>
            </a:xfrm>
            <a:prstGeom prst="rect">
              <a:avLst/>
            </a:prstGeom>
            <a:solidFill>
              <a:srgbClr val="052CA3"/>
            </a:solidFill>
            <a:ln>
              <a:noFill/>
            </a:ln>
          </p:spPr>
          <p:txBody>
            <a:bodyPr spcFirstLastPara="1" wrap="square" lIns="91433" tIns="91433" rIns="91433" bIns="91433" anchor="ctr" anchorCtr="0">
              <a:noAutofit/>
            </a:bodyPr>
            <a:lstStyle/>
            <a:p>
              <a:pPr algn="ctr"/>
              <a:r>
                <a:rPr lang="en" sz="1467" b="1">
                  <a:solidFill>
                    <a:schemeClr val="lt1"/>
                  </a:solidFill>
                  <a:latin typeface="Google Sans"/>
                  <a:ea typeface="Google Sans"/>
                  <a:cs typeface="Google Sans"/>
                  <a:sym typeface="Google Sans"/>
                </a:rPr>
                <a:t>Data ingestion</a:t>
              </a:r>
              <a:endParaRPr sz="1467" b="1">
                <a:solidFill>
                  <a:schemeClr val="lt1"/>
                </a:solidFill>
                <a:latin typeface="Google Sans"/>
                <a:ea typeface="Google Sans"/>
                <a:cs typeface="Google Sans"/>
                <a:sym typeface="Google Sans"/>
              </a:endParaRPr>
            </a:p>
          </p:txBody>
        </p:sp>
        <p:cxnSp>
          <p:nvCxnSpPr>
            <p:cNvPr id="132" name="Google Shape;132;p22"/>
            <p:cNvCxnSpPr>
              <a:stCxn id="131" idx="3"/>
              <a:endCxn id="133" idx="1"/>
            </p:cNvCxnSpPr>
            <p:nvPr/>
          </p:nvCxnSpPr>
          <p:spPr>
            <a:xfrm>
              <a:off x="2384653" y="2827850"/>
              <a:ext cx="476400" cy="0"/>
            </a:xfrm>
            <a:prstGeom prst="straightConnector1">
              <a:avLst/>
            </a:prstGeom>
            <a:noFill/>
            <a:ln w="19050" cap="flat" cmpd="sng">
              <a:solidFill>
                <a:schemeClr val="dk2"/>
              </a:solidFill>
              <a:prstDash val="solid"/>
              <a:round/>
              <a:headEnd type="none" w="med" len="med"/>
              <a:tailEnd type="triangle" w="med" len="med"/>
            </a:ln>
          </p:spPr>
        </p:cxnSp>
      </p:grpSp>
      <p:grpSp>
        <p:nvGrpSpPr>
          <p:cNvPr id="134" name="Google Shape;134;p22"/>
          <p:cNvGrpSpPr/>
          <p:nvPr/>
        </p:nvGrpSpPr>
        <p:grpSpPr>
          <a:xfrm>
            <a:off x="2861165" y="1622702"/>
            <a:ext cx="2156400" cy="987900"/>
            <a:chOff x="2861165" y="2333900"/>
            <a:chExt cx="2156400" cy="987900"/>
          </a:xfrm>
        </p:grpSpPr>
        <p:sp>
          <p:nvSpPr>
            <p:cNvPr id="133" name="Google Shape;133;p22"/>
            <p:cNvSpPr/>
            <p:nvPr/>
          </p:nvSpPr>
          <p:spPr>
            <a:xfrm>
              <a:off x="2861165" y="2333900"/>
              <a:ext cx="1680000" cy="987900"/>
            </a:xfrm>
            <a:prstGeom prst="rect">
              <a:avLst/>
            </a:prstGeom>
            <a:solidFill>
              <a:srgbClr val="052CA3"/>
            </a:solidFill>
            <a:ln>
              <a:noFill/>
            </a:ln>
          </p:spPr>
          <p:txBody>
            <a:bodyPr spcFirstLastPara="1" wrap="square" lIns="91433" tIns="91433" rIns="91433" bIns="91433" anchor="ctr" anchorCtr="0">
              <a:noAutofit/>
            </a:bodyPr>
            <a:lstStyle/>
            <a:p>
              <a:pPr algn="ctr"/>
              <a:r>
                <a:rPr lang="en" sz="1467" b="1">
                  <a:solidFill>
                    <a:schemeClr val="lt1"/>
                  </a:solidFill>
                  <a:latin typeface="Google Sans"/>
                  <a:ea typeface="Google Sans"/>
                  <a:cs typeface="Google Sans"/>
                  <a:sym typeface="Google Sans"/>
                </a:rPr>
                <a:t>Data analysis</a:t>
              </a:r>
              <a:endParaRPr sz="1467" b="1">
                <a:solidFill>
                  <a:schemeClr val="lt1"/>
                </a:solidFill>
                <a:latin typeface="Google Sans"/>
                <a:ea typeface="Google Sans"/>
                <a:cs typeface="Google Sans"/>
                <a:sym typeface="Google Sans"/>
              </a:endParaRPr>
            </a:p>
          </p:txBody>
        </p:sp>
        <p:cxnSp>
          <p:nvCxnSpPr>
            <p:cNvPr id="135" name="Google Shape;135;p22"/>
            <p:cNvCxnSpPr>
              <a:stCxn id="133" idx="3"/>
              <a:endCxn id="136" idx="1"/>
            </p:cNvCxnSpPr>
            <p:nvPr/>
          </p:nvCxnSpPr>
          <p:spPr>
            <a:xfrm>
              <a:off x="4541165" y="2827850"/>
              <a:ext cx="476400" cy="0"/>
            </a:xfrm>
            <a:prstGeom prst="straightConnector1">
              <a:avLst/>
            </a:prstGeom>
            <a:noFill/>
            <a:ln w="19050" cap="flat" cmpd="sng">
              <a:solidFill>
                <a:schemeClr val="dk2"/>
              </a:solidFill>
              <a:prstDash val="solid"/>
              <a:round/>
              <a:headEnd type="none" w="med" len="med"/>
              <a:tailEnd type="triangle" w="med" len="med"/>
            </a:ln>
          </p:spPr>
        </p:cxnSp>
      </p:grpSp>
      <p:grpSp>
        <p:nvGrpSpPr>
          <p:cNvPr id="137" name="Google Shape;137;p22"/>
          <p:cNvGrpSpPr/>
          <p:nvPr/>
        </p:nvGrpSpPr>
        <p:grpSpPr>
          <a:xfrm>
            <a:off x="5017677" y="1622702"/>
            <a:ext cx="2156400" cy="987900"/>
            <a:chOff x="5017678" y="2333900"/>
            <a:chExt cx="2156400" cy="987900"/>
          </a:xfrm>
        </p:grpSpPr>
        <p:sp>
          <p:nvSpPr>
            <p:cNvPr id="136" name="Google Shape;136;p22"/>
            <p:cNvSpPr/>
            <p:nvPr/>
          </p:nvSpPr>
          <p:spPr>
            <a:xfrm>
              <a:off x="5017678" y="2333900"/>
              <a:ext cx="1680000" cy="987900"/>
            </a:xfrm>
            <a:prstGeom prst="rect">
              <a:avLst/>
            </a:prstGeom>
            <a:solidFill>
              <a:srgbClr val="052CA3"/>
            </a:solidFill>
            <a:ln>
              <a:noFill/>
            </a:ln>
          </p:spPr>
          <p:txBody>
            <a:bodyPr spcFirstLastPara="1" wrap="square" lIns="91433" tIns="91433" rIns="91433" bIns="91433" anchor="ctr" anchorCtr="0">
              <a:noAutofit/>
            </a:bodyPr>
            <a:lstStyle/>
            <a:p>
              <a:pPr algn="ctr"/>
              <a:r>
                <a:rPr lang="en" sz="1467" b="1">
                  <a:solidFill>
                    <a:schemeClr val="lt1"/>
                  </a:solidFill>
                  <a:latin typeface="Google Sans"/>
                  <a:ea typeface="Google Sans"/>
                  <a:cs typeface="Google Sans"/>
                  <a:sym typeface="Google Sans"/>
                </a:rPr>
                <a:t>Data transformation</a:t>
              </a:r>
              <a:endParaRPr sz="1467" b="1">
                <a:solidFill>
                  <a:schemeClr val="lt1"/>
                </a:solidFill>
                <a:latin typeface="Google Sans"/>
                <a:ea typeface="Google Sans"/>
                <a:cs typeface="Google Sans"/>
                <a:sym typeface="Google Sans"/>
              </a:endParaRPr>
            </a:p>
          </p:txBody>
        </p:sp>
        <p:cxnSp>
          <p:nvCxnSpPr>
            <p:cNvPr id="138" name="Google Shape;138;p22"/>
            <p:cNvCxnSpPr>
              <a:stCxn id="136" idx="3"/>
              <a:endCxn id="139" idx="1"/>
            </p:cNvCxnSpPr>
            <p:nvPr/>
          </p:nvCxnSpPr>
          <p:spPr>
            <a:xfrm>
              <a:off x="6697678" y="2827850"/>
              <a:ext cx="476400" cy="0"/>
            </a:xfrm>
            <a:prstGeom prst="straightConnector1">
              <a:avLst/>
            </a:prstGeom>
            <a:noFill/>
            <a:ln w="19050" cap="flat" cmpd="sng">
              <a:solidFill>
                <a:schemeClr val="dk2"/>
              </a:solidFill>
              <a:prstDash val="solid"/>
              <a:round/>
              <a:headEnd type="none" w="med" len="med"/>
              <a:tailEnd type="triangle" w="med" len="med"/>
            </a:ln>
          </p:spPr>
        </p:cxnSp>
      </p:grpSp>
      <p:grpSp>
        <p:nvGrpSpPr>
          <p:cNvPr id="140" name="Google Shape;140;p22"/>
          <p:cNvGrpSpPr/>
          <p:nvPr/>
        </p:nvGrpSpPr>
        <p:grpSpPr>
          <a:xfrm>
            <a:off x="7174191" y="1622702"/>
            <a:ext cx="2156400" cy="987900"/>
            <a:chOff x="7174190" y="2333900"/>
            <a:chExt cx="2156400" cy="987900"/>
          </a:xfrm>
        </p:grpSpPr>
        <p:sp>
          <p:nvSpPr>
            <p:cNvPr id="139" name="Google Shape;139;p22"/>
            <p:cNvSpPr/>
            <p:nvPr/>
          </p:nvSpPr>
          <p:spPr>
            <a:xfrm>
              <a:off x="7174190" y="2333900"/>
              <a:ext cx="1680000" cy="987900"/>
            </a:xfrm>
            <a:prstGeom prst="rect">
              <a:avLst/>
            </a:prstGeom>
            <a:solidFill>
              <a:srgbClr val="052CA3"/>
            </a:solidFill>
            <a:ln>
              <a:noFill/>
            </a:ln>
          </p:spPr>
          <p:txBody>
            <a:bodyPr spcFirstLastPara="1" wrap="square" lIns="91433" tIns="91433" rIns="91433" bIns="91433" anchor="ctr" anchorCtr="0">
              <a:noAutofit/>
            </a:bodyPr>
            <a:lstStyle/>
            <a:p>
              <a:pPr algn="ctr"/>
              <a:r>
                <a:rPr lang="en" sz="1467" b="1">
                  <a:solidFill>
                    <a:schemeClr val="lt1"/>
                  </a:solidFill>
                  <a:latin typeface="Google Sans"/>
                  <a:ea typeface="Google Sans"/>
                  <a:cs typeface="Google Sans"/>
                  <a:sym typeface="Google Sans"/>
                </a:rPr>
                <a:t>Data validation</a:t>
              </a:r>
              <a:endParaRPr sz="1467" b="1">
                <a:solidFill>
                  <a:schemeClr val="lt1"/>
                </a:solidFill>
                <a:latin typeface="Google Sans"/>
                <a:ea typeface="Google Sans"/>
                <a:cs typeface="Google Sans"/>
                <a:sym typeface="Google Sans"/>
              </a:endParaRPr>
            </a:p>
          </p:txBody>
        </p:sp>
        <p:cxnSp>
          <p:nvCxnSpPr>
            <p:cNvPr id="141" name="Google Shape;141;p22"/>
            <p:cNvCxnSpPr>
              <a:stCxn id="139" idx="3"/>
              <a:endCxn id="142" idx="1"/>
            </p:cNvCxnSpPr>
            <p:nvPr/>
          </p:nvCxnSpPr>
          <p:spPr>
            <a:xfrm>
              <a:off x="8854190" y="2827850"/>
              <a:ext cx="476400" cy="0"/>
            </a:xfrm>
            <a:prstGeom prst="straightConnector1">
              <a:avLst/>
            </a:prstGeom>
            <a:noFill/>
            <a:ln w="19050" cap="flat" cmpd="sng">
              <a:solidFill>
                <a:schemeClr val="dk2"/>
              </a:solidFill>
              <a:prstDash val="solid"/>
              <a:round/>
              <a:headEnd type="none" w="med" len="med"/>
              <a:tailEnd type="triangle" w="med" len="med"/>
            </a:ln>
          </p:spPr>
        </p:cxnSp>
      </p:grpSp>
      <p:grpSp>
        <p:nvGrpSpPr>
          <p:cNvPr id="143" name="Google Shape;143;p22"/>
          <p:cNvGrpSpPr/>
          <p:nvPr/>
        </p:nvGrpSpPr>
        <p:grpSpPr>
          <a:xfrm>
            <a:off x="9330705" y="1622702"/>
            <a:ext cx="2156495" cy="987900"/>
            <a:chOff x="9330703" y="2333900"/>
            <a:chExt cx="2156494" cy="987900"/>
          </a:xfrm>
        </p:grpSpPr>
        <p:sp>
          <p:nvSpPr>
            <p:cNvPr id="142" name="Google Shape;142;p22"/>
            <p:cNvSpPr/>
            <p:nvPr/>
          </p:nvSpPr>
          <p:spPr>
            <a:xfrm>
              <a:off x="9330703" y="2333900"/>
              <a:ext cx="1680000" cy="987900"/>
            </a:xfrm>
            <a:prstGeom prst="rect">
              <a:avLst/>
            </a:prstGeom>
            <a:solidFill>
              <a:srgbClr val="052CA3"/>
            </a:solidFill>
            <a:ln>
              <a:noFill/>
            </a:ln>
          </p:spPr>
          <p:txBody>
            <a:bodyPr spcFirstLastPara="1" wrap="square" lIns="91433" tIns="91433" rIns="91433" bIns="91433" anchor="ctr" anchorCtr="0">
              <a:noAutofit/>
            </a:bodyPr>
            <a:lstStyle/>
            <a:p>
              <a:pPr algn="ctr"/>
              <a:r>
                <a:rPr lang="en" sz="1467" b="1">
                  <a:solidFill>
                    <a:schemeClr val="lt1"/>
                  </a:solidFill>
                  <a:latin typeface="Google Sans"/>
                  <a:ea typeface="Google Sans"/>
                  <a:cs typeface="Google Sans"/>
                  <a:sym typeface="Google Sans"/>
                </a:rPr>
                <a:t>Data splitting</a:t>
              </a:r>
              <a:endParaRPr sz="1467" b="1">
                <a:solidFill>
                  <a:schemeClr val="lt1"/>
                </a:solidFill>
                <a:latin typeface="Google Sans"/>
                <a:ea typeface="Google Sans"/>
                <a:cs typeface="Google Sans"/>
                <a:sym typeface="Google Sans"/>
              </a:endParaRPr>
            </a:p>
          </p:txBody>
        </p:sp>
        <p:cxnSp>
          <p:nvCxnSpPr>
            <p:cNvPr id="144" name="Google Shape;144;p22"/>
            <p:cNvCxnSpPr/>
            <p:nvPr/>
          </p:nvCxnSpPr>
          <p:spPr>
            <a:xfrm>
              <a:off x="11010797" y="2827850"/>
              <a:ext cx="476400" cy="0"/>
            </a:xfrm>
            <a:prstGeom prst="straightConnector1">
              <a:avLst/>
            </a:prstGeom>
            <a:noFill/>
            <a:ln w="19050" cap="flat" cmpd="sng">
              <a:solidFill>
                <a:schemeClr val="dk2"/>
              </a:solidFill>
              <a:prstDash val="solid"/>
              <a:round/>
              <a:headEnd type="none" w="med" len="med"/>
              <a:tailEnd type="triangle" w="med" len="med"/>
            </a:ln>
          </p:spPr>
        </p:cxnSp>
      </p:grpSp>
      <p:grpSp>
        <p:nvGrpSpPr>
          <p:cNvPr id="145" name="Google Shape;145;p22"/>
          <p:cNvGrpSpPr/>
          <p:nvPr/>
        </p:nvGrpSpPr>
        <p:grpSpPr>
          <a:xfrm>
            <a:off x="1783095" y="2922711"/>
            <a:ext cx="2156400" cy="987900"/>
            <a:chOff x="1783095" y="3633910"/>
            <a:chExt cx="2156400" cy="987900"/>
          </a:xfrm>
        </p:grpSpPr>
        <p:sp>
          <p:nvSpPr>
            <p:cNvPr id="146" name="Google Shape;146;p22"/>
            <p:cNvSpPr/>
            <p:nvPr/>
          </p:nvSpPr>
          <p:spPr>
            <a:xfrm>
              <a:off x="1783095" y="3633910"/>
              <a:ext cx="1680000" cy="987900"/>
            </a:xfrm>
            <a:prstGeom prst="rect">
              <a:avLst/>
            </a:prstGeom>
            <a:solidFill>
              <a:srgbClr val="052CA3"/>
            </a:solidFill>
            <a:ln>
              <a:noFill/>
            </a:ln>
          </p:spPr>
          <p:txBody>
            <a:bodyPr spcFirstLastPara="1" wrap="square" lIns="91433" tIns="91433" rIns="91433" bIns="91433" anchor="ctr" anchorCtr="0">
              <a:noAutofit/>
            </a:bodyPr>
            <a:lstStyle/>
            <a:p>
              <a:pPr algn="ctr"/>
              <a:r>
                <a:rPr lang="en" sz="1467" b="1">
                  <a:solidFill>
                    <a:schemeClr val="lt1"/>
                  </a:solidFill>
                  <a:latin typeface="Trebuchet MS"/>
                  <a:ea typeface="Trebuchet MS"/>
                  <a:cs typeface="Trebuchet MS"/>
                  <a:sym typeface="Trebuchet MS"/>
                </a:rPr>
                <a:t>Trainer</a:t>
              </a:r>
              <a:endParaRPr sz="1467" b="1">
                <a:solidFill>
                  <a:schemeClr val="lt1"/>
                </a:solidFill>
                <a:latin typeface="Trebuchet MS"/>
                <a:ea typeface="Trebuchet MS"/>
                <a:cs typeface="Trebuchet MS"/>
                <a:sym typeface="Trebuchet MS"/>
              </a:endParaRPr>
            </a:p>
          </p:txBody>
        </p:sp>
        <p:cxnSp>
          <p:nvCxnSpPr>
            <p:cNvPr id="147" name="Google Shape;147;p22"/>
            <p:cNvCxnSpPr>
              <a:stCxn id="146" idx="3"/>
              <a:endCxn id="129" idx="1"/>
            </p:cNvCxnSpPr>
            <p:nvPr/>
          </p:nvCxnSpPr>
          <p:spPr>
            <a:xfrm>
              <a:off x="3463095" y="4127860"/>
              <a:ext cx="476400" cy="0"/>
            </a:xfrm>
            <a:prstGeom prst="straightConnector1">
              <a:avLst/>
            </a:prstGeom>
            <a:noFill/>
            <a:ln w="19050" cap="flat" cmpd="sng">
              <a:solidFill>
                <a:schemeClr val="dk2"/>
              </a:solidFill>
              <a:prstDash val="solid"/>
              <a:round/>
              <a:headEnd type="none" w="med" len="med"/>
              <a:tailEnd type="triangle" w="med" len="med"/>
            </a:ln>
          </p:spPr>
        </p:cxnSp>
      </p:grpSp>
      <p:cxnSp>
        <p:nvCxnSpPr>
          <p:cNvPr id="148" name="Google Shape;148;p22"/>
          <p:cNvCxnSpPr>
            <a:stCxn id="129" idx="3"/>
            <a:endCxn id="149" idx="1"/>
          </p:cNvCxnSpPr>
          <p:nvPr/>
        </p:nvCxnSpPr>
        <p:spPr>
          <a:xfrm>
            <a:off x="5619525" y="3416711"/>
            <a:ext cx="476400" cy="0"/>
          </a:xfrm>
          <a:prstGeom prst="straightConnector1">
            <a:avLst/>
          </a:prstGeom>
          <a:noFill/>
          <a:ln w="19050" cap="flat" cmpd="sng">
            <a:solidFill>
              <a:schemeClr val="dk2"/>
            </a:solidFill>
            <a:prstDash val="solid"/>
            <a:round/>
            <a:headEnd type="none" w="med" len="med"/>
            <a:tailEnd type="triangle" w="med" len="med"/>
          </a:ln>
        </p:spPr>
      </p:cxnSp>
      <p:grpSp>
        <p:nvGrpSpPr>
          <p:cNvPr id="150" name="Google Shape;150;p22"/>
          <p:cNvGrpSpPr/>
          <p:nvPr/>
        </p:nvGrpSpPr>
        <p:grpSpPr>
          <a:xfrm>
            <a:off x="6095956" y="2922711"/>
            <a:ext cx="2156400" cy="987900"/>
            <a:chOff x="6095955" y="3633910"/>
            <a:chExt cx="2156400" cy="987900"/>
          </a:xfrm>
        </p:grpSpPr>
        <p:sp>
          <p:nvSpPr>
            <p:cNvPr id="149" name="Google Shape;149;p22"/>
            <p:cNvSpPr/>
            <p:nvPr/>
          </p:nvSpPr>
          <p:spPr>
            <a:xfrm>
              <a:off x="6095955" y="3633910"/>
              <a:ext cx="1680000" cy="987900"/>
            </a:xfrm>
            <a:prstGeom prst="rect">
              <a:avLst/>
            </a:prstGeom>
            <a:solidFill>
              <a:srgbClr val="052CA3"/>
            </a:solidFill>
            <a:ln>
              <a:noFill/>
            </a:ln>
          </p:spPr>
          <p:txBody>
            <a:bodyPr spcFirstLastPara="1" wrap="square" lIns="91433" tIns="91433" rIns="91433" bIns="91433" anchor="ctr" anchorCtr="0">
              <a:noAutofit/>
            </a:bodyPr>
            <a:lstStyle/>
            <a:p>
              <a:pPr algn="ctr"/>
              <a:r>
                <a:rPr lang="en" sz="1467" b="1">
                  <a:solidFill>
                    <a:schemeClr val="lt1"/>
                  </a:solidFill>
                  <a:latin typeface="Trebuchet MS"/>
                  <a:ea typeface="Trebuchet MS"/>
                  <a:cs typeface="Trebuchet MS"/>
                  <a:sym typeface="Trebuchet MS"/>
                </a:rPr>
                <a:t>Model</a:t>
              </a:r>
              <a:br>
                <a:rPr lang="en" sz="1467" b="1">
                  <a:solidFill>
                    <a:schemeClr val="lt1"/>
                  </a:solidFill>
                  <a:latin typeface="Trebuchet MS"/>
                  <a:ea typeface="Trebuchet MS"/>
                  <a:cs typeface="Trebuchet MS"/>
                  <a:sym typeface="Trebuchet MS"/>
                </a:rPr>
              </a:br>
              <a:r>
                <a:rPr lang="en" sz="1467" b="1">
                  <a:solidFill>
                    <a:schemeClr val="lt1"/>
                  </a:solidFill>
                  <a:latin typeface="Trebuchet MS"/>
                  <a:ea typeface="Trebuchet MS"/>
                  <a:cs typeface="Trebuchet MS"/>
                  <a:sym typeface="Trebuchet MS"/>
                </a:rPr>
                <a:t>validation</a:t>
              </a:r>
              <a:endParaRPr sz="1467" b="1">
                <a:solidFill>
                  <a:schemeClr val="lt1"/>
                </a:solidFill>
                <a:latin typeface="Trebuchet MS"/>
                <a:ea typeface="Trebuchet MS"/>
                <a:cs typeface="Trebuchet MS"/>
                <a:sym typeface="Trebuchet MS"/>
              </a:endParaRPr>
            </a:p>
          </p:txBody>
        </p:sp>
        <p:cxnSp>
          <p:nvCxnSpPr>
            <p:cNvPr id="151" name="Google Shape;151;p22"/>
            <p:cNvCxnSpPr>
              <a:stCxn id="149" idx="3"/>
              <a:endCxn id="152" idx="1"/>
            </p:cNvCxnSpPr>
            <p:nvPr/>
          </p:nvCxnSpPr>
          <p:spPr>
            <a:xfrm>
              <a:off x="7775955" y="4127860"/>
              <a:ext cx="476400" cy="0"/>
            </a:xfrm>
            <a:prstGeom prst="straightConnector1">
              <a:avLst/>
            </a:prstGeom>
            <a:noFill/>
            <a:ln w="19050" cap="flat" cmpd="sng">
              <a:solidFill>
                <a:schemeClr val="dk2"/>
              </a:solidFill>
              <a:prstDash val="solid"/>
              <a:round/>
              <a:headEnd type="none" w="med" len="med"/>
              <a:tailEnd type="triangle" w="med" len="med"/>
            </a:ln>
          </p:spPr>
        </p:cxnSp>
      </p:grpSp>
      <p:grpSp>
        <p:nvGrpSpPr>
          <p:cNvPr id="153" name="Google Shape;153;p22"/>
          <p:cNvGrpSpPr/>
          <p:nvPr/>
        </p:nvGrpSpPr>
        <p:grpSpPr>
          <a:xfrm>
            <a:off x="8252387" y="2922711"/>
            <a:ext cx="2156359" cy="987900"/>
            <a:chOff x="8252386" y="3633910"/>
            <a:chExt cx="2156358" cy="987900"/>
          </a:xfrm>
        </p:grpSpPr>
        <p:sp>
          <p:nvSpPr>
            <p:cNvPr id="152" name="Google Shape;152;p22"/>
            <p:cNvSpPr/>
            <p:nvPr/>
          </p:nvSpPr>
          <p:spPr>
            <a:xfrm>
              <a:off x="8252386" y="3633910"/>
              <a:ext cx="1680000" cy="987900"/>
            </a:xfrm>
            <a:prstGeom prst="rect">
              <a:avLst/>
            </a:prstGeom>
            <a:solidFill>
              <a:srgbClr val="052CA3"/>
            </a:solidFill>
            <a:ln>
              <a:noFill/>
            </a:ln>
          </p:spPr>
          <p:txBody>
            <a:bodyPr spcFirstLastPara="1" wrap="square" lIns="91433" tIns="91433" rIns="91433" bIns="91433" anchor="ctr" anchorCtr="0">
              <a:noAutofit/>
            </a:bodyPr>
            <a:lstStyle/>
            <a:p>
              <a:pPr algn="ctr"/>
              <a:r>
                <a:rPr lang="en" sz="1467" b="1">
                  <a:solidFill>
                    <a:schemeClr val="lt1"/>
                  </a:solidFill>
                  <a:latin typeface="Trebuchet MS"/>
                  <a:ea typeface="Trebuchet MS"/>
                  <a:cs typeface="Trebuchet MS"/>
                  <a:sym typeface="Trebuchet MS"/>
                </a:rPr>
                <a:t>Training</a:t>
              </a:r>
              <a:br>
                <a:rPr lang="en" sz="1467" b="1">
                  <a:solidFill>
                    <a:schemeClr val="lt1"/>
                  </a:solidFill>
                  <a:latin typeface="Trebuchet MS"/>
                  <a:ea typeface="Trebuchet MS"/>
                  <a:cs typeface="Trebuchet MS"/>
                  <a:sym typeface="Trebuchet MS"/>
                </a:rPr>
              </a:br>
              <a:r>
                <a:rPr lang="en" sz="1467" b="1">
                  <a:solidFill>
                    <a:schemeClr val="lt1"/>
                  </a:solidFill>
                  <a:latin typeface="Trebuchet MS"/>
                  <a:ea typeface="Trebuchet MS"/>
                  <a:cs typeface="Trebuchet MS"/>
                  <a:sym typeface="Trebuchet MS"/>
                </a:rPr>
                <a:t>at scale</a:t>
              </a:r>
              <a:endParaRPr sz="1467" b="1">
                <a:solidFill>
                  <a:schemeClr val="lt1"/>
                </a:solidFill>
                <a:latin typeface="Trebuchet MS"/>
                <a:ea typeface="Trebuchet MS"/>
                <a:cs typeface="Trebuchet MS"/>
                <a:sym typeface="Trebuchet MS"/>
              </a:endParaRPr>
            </a:p>
          </p:txBody>
        </p:sp>
        <p:cxnSp>
          <p:nvCxnSpPr>
            <p:cNvPr id="154" name="Google Shape;154;p22"/>
            <p:cNvCxnSpPr/>
            <p:nvPr/>
          </p:nvCxnSpPr>
          <p:spPr>
            <a:xfrm>
              <a:off x="9932344" y="4127762"/>
              <a:ext cx="476400" cy="0"/>
            </a:xfrm>
            <a:prstGeom prst="straightConnector1">
              <a:avLst/>
            </a:prstGeom>
            <a:noFill/>
            <a:ln w="19050" cap="flat" cmpd="sng">
              <a:solidFill>
                <a:schemeClr val="dk2"/>
              </a:solidFill>
              <a:prstDash val="solid"/>
              <a:round/>
              <a:headEnd type="none" w="med" len="med"/>
              <a:tailEnd type="triangle" w="med" len="med"/>
            </a:ln>
          </p:spPr>
        </p:cxnSp>
      </p:grpSp>
      <p:sp>
        <p:nvSpPr>
          <p:cNvPr id="155" name="Google Shape;155;p22"/>
          <p:cNvSpPr/>
          <p:nvPr/>
        </p:nvSpPr>
        <p:spPr>
          <a:xfrm>
            <a:off x="8252391" y="4222536"/>
            <a:ext cx="1680000" cy="988000"/>
          </a:xfrm>
          <a:prstGeom prst="rect">
            <a:avLst/>
          </a:prstGeom>
          <a:solidFill>
            <a:srgbClr val="052CA3"/>
          </a:solidFill>
          <a:ln>
            <a:noFill/>
          </a:ln>
        </p:spPr>
        <p:txBody>
          <a:bodyPr spcFirstLastPara="1" wrap="square" lIns="91433" tIns="91433" rIns="91433" bIns="91433" anchor="ctr" anchorCtr="0">
            <a:noAutofit/>
          </a:bodyPr>
          <a:lstStyle/>
          <a:p>
            <a:pPr algn="ctr"/>
            <a:r>
              <a:rPr lang="en" sz="1467" b="1">
                <a:solidFill>
                  <a:schemeClr val="lt1"/>
                </a:solidFill>
                <a:latin typeface="Trebuchet MS"/>
                <a:ea typeface="Trebuchet MS"/>
                <a:cs typeface="Trebuchet MS"/>
                <a:sym typeface="Trebuchet MS"/>
              </a:rPr>
              <a:t>Logging</a:t>
            </a:r>
            <a:endParaRPr sz="1467" b="1">
              <a:solidFill>
                <a:schemeClr val="lt1"/>
              </a:solidFill>
              <a:latin typeface="Trebuchet MS"/>
              <a:ea typeface="Trebuchet MS"/>
              <a:cs typeface="Trebuchet MS"/>
              <a:sym typeface="Trebuchet MS"/>
            </a:endParaRPr>
          </a:p>
        </p:txBody>
      </p:sp>
      <p:grpSp>
        <p:nvGrpSpPr>
          <p:cNvPr id="156" name="Google Shape;156;p22"/>
          <p:cNvGrpSpPr/>
          <p:nvPr/>
        </p:nvGrpSpPr>
        <p:grpSpPr>
          <a:xfrm>
            <a:off x="1783100" y="4222538"/>
            <a:ext cx="2156400" cy="987900"/>
            <a:chOff x="1783100" y="4933736"/>
            <a:chExt cx="2156400" cy="987900"/>
          </a:xfrm>
        </p:grpSpPr>
        <p:sp>
          <p:nvSpPr>
            <p:cNvPr id="157" name="Google Shape;157;p22"/>
            <p:cNvSpPr/>
            <p:nvPr/>
          </p:nvSpPr>
          <p:spPr>
            <a:xfrm>
              <a:off x="1783100" y="4933736"/>
              <a:ext cx="1680000" cy="987900"/>
            </a:xfrm>
            <a:prstGeom prst="rect">
              <a:avLst/>
            </a:prstGeom>
            <a:solidFill>
              <a:srgbClr val="052CA3"/>
            </a:solidFill>
            <a:ln>
              <a:noFill/>
            </a:ln>
          </p:spPr>
          <p:txBody>
            <a:bodyPr spcFirstLastPara="1" wrap="square" lIns="91433" tIns="91433" rIns="91433" bIns="91433" anchor="ctr" anchorCtr="0">
              <a:noAutofit/>
            </a:bodyPr>
            <a:lstStyle/>
            <a:p>
              <a:pPr algn="ctr"/>
              <a:r>
                <a:rPr lang="en" sz="1467" b="1">
                  <a:solidFill>
                    <a:schemeClr val="lt1"/>
                  </a:solidFill>
                  <a:latin typeface="Trebuchet MS"/>
                  <a:ea typeface="Trebuchet MS"/>
                  <a:cs typeface="Trebuchet MS"/>
                  <a:sym typeface="Trebuchet MS"/>
                </a:rPr>
                <a:t>Roll-out</a:t>
              </a:r>
              <a:endParaRPr sz="1467" b="1">
                <a:solidFill>
                  <a:schemeClr val="lt1"/>
                </a:solidFill>
                <a:latin typeface="Trebuchet MS"/>
                <a:ea typeface="Trebuchet MS"/>
                <a:cs typeface="Trebuchet MS"/>
                <a:sym typeface="Trebuchet MS"/>
              </a:endParaRPr>
            </a:p>
          </p:txBody>
        </p:sp>
        <p:cxnSp>
          <p:nvCxnSpPr>
            <p:cNvPr id="158" name="Google Shape;158;p22"/>
            <p:cNvCxnSpPr>
              <a:stCxn id="157" idx="3"/>
              <a:endCxn id="159" idx="1"/>
            </p:cNvCxnSpPr>
            <p:nvPr/>
          </p:nvCxnSpPr>
          <p:spPr>
            <a:xfrm>
              <a:off x="3463100" y="5427686"/>
              <a:ext cx="476400" cy="0"/>
            </a:xfrm>
            <a:prstGeom prst="straightConnector1">
              <a:avLst/>
            </a:prstGeom>
            <a:noFill/>
            <a:ln w="19050" cap="flat" cmpd="sng">
              <a:solidFill>
                <a:schemeClr val="dk2"/>
              </a:solidFill>
              <a:prstDash val="solid"/>
              <a:round/>
              <a:headEnd type="none" w="med" len="med"/>
              <a:tailEnd type="triangle" w="med" len="med"/>
            </a:ln>
          </p:spPr>
        </p:cxnSp>
      </p:grpSp>
      <p:grpSp>
        <p:nvGrpSpPr>
          <p:cNvPr id="160" name="Google Shape;160;p22"/>
          <p:cNvGrpSpPr/>
          <p:nvPr/>
        </p:nvGrpSpPr>
        <p:grpSpPr>
          <a:xfrm>
            <a:off x="3939529" y="4222538"/>
            <a:ext cx="2156400" cy="987900"/>
            <a:chOff x="3939530" y="4933736"/>
            <a:chExt cx="2156400" cy="987900"/>
          </a:xfrm>
        </p:grpSpPr>
        <p:sp>
          <p:nvSpPr>
            <p:cNvPr id="159" name="Google Shape;159;p22"/>
            <p:cNvSpPr/>
            <p:nvPr/>
          </p:nvSpPr>
          <p:spPr>
            <a:xfrm>
              <a:off x="3939530" y="4933736"/>
              <a:ext cx="1680000" cy="987900"/>
            </a:xfrm>
            <a:prstGeom prst="rect">
              <a:avLst/>
            </a:prstGeom>
            <a:solidFill>
              <a:srgbClr val="052CA3"/>
            </a:solidFill>
            <a:ln>
              <a:noFill/>
            </a:ln>
          </p:spPr>
          <p:txBody>
            <a:bodyPr spcFirstLastPara="1" wrap="square" lIns="91433" tIns="91433" rIns="91433" bIns="91433" anchor="ctr" anchorCtr="0">
              <a:noAutofit/>
            </a:bodyPr>
            <a:lstStyle/>
            <a:p>
              <a:pPr algn="ctr"/>
              <a:r>
                <a:rPr lang="en" sz="1467" b="1">
                  <a:solidFill>
                    <a:schemeClr val="lt1"/>
                  </a:solidFill>
                  <a:latin typeface="Trebuchet MS"/>
                  <a:ea typeface="Trebuchet MS"/>
                  <a:cs typeface="Trebuchet MS"/>
                  <a:sym typeface="Trebuchet MS"/>
                </a:rPr>
                <a:t>Serving</a:t>
              </a:r>
              <a:endParaRPr sz="1467" b="1">
                <a:solidFill>
                  <a:schemeClr val="lt1"/>
                </a:solidFill>
                <a:latin typeface="Trebuchet MS"/>
                <a:ea typeface="Trebuchet MS"/>
                <a:cs typeface="Trebuchet MS"/>
                <a:sym typeface="Trebuchet MS"/>
              </a:endParaRPr>
            </a:p>
          </p:txBody>
        </p:sp>
        <p:cxnSp>
          <p:nvCxnSpPr>
            <p:cNvPr id="161" name="Google Shape;161;p22"/>
            <p:cNvCxnSpPr>
              <a:stCxn id="159" idx="3"/>
              <a:endCxn id="162" idx="1"/>
            </p:cNvCxnSpPr>
            <p:nvPr/>
          </p:nvCxnSpPr>
          <p:spPr>
            <a:xfrm>
              <a:off x="5619530" y="5427686"/>
              <a:ext cx="476400" cy="0"/>
            </a:xfrm>
            <a:prstGeom prst="straightConnector1">
              <a:avLst/>
            </a:prstGeom>
            <a:noFill/>
            <a:ln w="19050" cap="flat" cmpd="sng">
              <a:solidFill>
                <a:schemeClr val="dk2"/>
              </a:solidFill>
              <a:prstDash val="solid"/>
              <a:round/>
              <a:headEnd type="none" w="med" len="med"/>
              <a:tailEnd type="triangle" w="med" len="med"/>
            </a:ln>
          </p:spPr>
        </p:cxnSp>
      </p:grpSp>
      <p:grpSp>
        <p:nvGrpSpPr>
          <p:cNvPr id="163" name="Google Shape;163;p22"/>
          <p:cNvGrpSpPr/>
          <p:nvPr/>
        </p:nvGrpSpPr>
        <p:grpSpPr>
          <a:xfrm>
            <a:off x="6095960" y="4222538"/>
            <a:ext cx="2156400" cy="987900"/>
            <a:chOff x="6095960" y="4933736"/>
            <a:chExt cx="2156400" cy="987900"/>
          </a:xfrm>
        </p:grpSpPr>
        <p:sp>
          <p:nvSpPr>
            <p:cNvPr id="162" name="Google Shape;162;p22"/>
            <p:cNvSpPr/>
            <p:nvPr/>
          </p:nvSpPr>
          <p:spPr>
            <a:xfrm>
              <a:off x="6095960" y="4933736"/>
              <a:ext cx="1680000" cy="987900"/>
            </a:xfrm>
            <a:prstGeom prst="rect">
              <a:avLst/>
            </a:prstGeom>
            <a:solidFill>
              <a:srgbClr val="052CA3"/>
            </a:solidFill>
            <a:ln>
              <a:noFill/>
            </a:ln>
          </p:spPr>
          <p:txBody>
            <a:bodyPr spcFirstLastPara="1" wrap="square" lIns="91433" tIns="91433" rIns="91433" bIns="91433" anchor="ctr" anchorCtr="0">
              <a:noAutofit/>
            </a:bodyPr>
            <a:lstStyle/>
            <a:p>
              <a:pPr algn="ctr"/>
              <a:r>
                <a:rPr lang="en" sz="1467" b="1">
                  <a:solidFill>
                    <a:schemeClr val="lt1"/>
                  </a:solidFill>
                  <a:latin typeface="Trebuchet MS"/>
                  <a:ea typeface="Trebuchet MS"/>
                  <a:cs typeface="Trebuchet MS"/>
                  <a:sym typeface="Trebuchet MS"/>
                </a:rPr>
                <a:t>Monitoring</a:t>
              </a:r>
              <a:endParaRPr sz="1467" b="1">
                <a:solidFill>
                  <a:schemeClr val="lt1"/>
                </a:solidFill>
                <a:latin typeface="Trebuchet MS"/>
                <a:ea typeface="Trebuchet MS"/>
                <a:cs typeface="Trebuchet MS"/>
                <a:sym typeface="Trebuchet MS"/>
              </a:endParaRPr>
            </a:p>
          </p:txBody>
        </p:sp>
        <p:cxnSp>
          <p:nvCxnSpPr>
            <p:cNvPr id="164" name="Google Shape;164;p22"/>
            <p:cNvCxnSpPr>
              <a:stCxn id="162" idx="3"/>
              <a:endCxn id="155" idx="1"/>
            </p:cNvCxnSpPr>
            <p:nvPr/>
          </p:nvCxnSpPr>
          <p:spPr>
            <a:xfrm>
              <a:off x="7775960" y="5427686"/>
              <a:ext cx="476400" cy="0"/>
            </a:xfrm>
            <a:prstGeom prst="straightConnector1">
              <a:avLst/>
            </a:prstGeom>
            <a:noFill/>
            <a:ln w="19050" cap="flat" cmpd="sng">
              <a:solidFill>
                <a:schemeClr val="dk2"/>
              </a:solidFill>
              <a:prstDash val="solid"/>
              <a:round/>
              <a:headEnd type="none" w="med" len="med"/>
              <a:tailEnd type="triangle" w="med" len="med"/>
            </a:ln>
          </p:spPr>
        </p:cxnSp>
      </p:grpSp>
    </p:spTree>
    <p:extLst>
      <p:ext uri="{BB962C8B-B14F-4D97-AF65-F5344CB8AC3E}">
        <p14:creationId xmlns:p14="http://schemas.microsoft.com/office/powerpoint/2010/main" val="3863382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0"/>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300"/>
                                  </p:stCondLst>
                                  <p:childTnLst>
                                    <p:set>
                                      <p:cBhvr>
                                        <p:cTn id="9" dur="1" fill="hold">
                                          <p:stCondLst>
                                            <p:cond delay="0"/>
                                          </p:stCondLst>
                                        </p:cTn>
                                        <p:tgtEl>
                                          <p:spTgt spid="134"/>
                                        </p:tgtEl>
                                        <p:attrNameLst>
                                          <p:attrName>style.visibility</p:attrName>
                                        </p:attrNameLst>
                                      </p:cBhvr>
                                      <p:to>
                                        <p:strVal val="visible"/>
                                      </p:to>
                                    </p:set>
                                  </p:childTnLst>
                                </p:cTn>
                              </p:par>
                            </p:childTnLst>
                          </p:cTn>
                        </p:par>
                        <p:par>
                          <p:cTn id="10" fill="hold">
                            <p:stCondLst>
                              <p:cond delay="300"/>
                            </p:stCondLst>
                            <p:childTnLst>
                              <p:par>
                                <p:cTn id="11" presetID="1" presetClass="entr" presetSubtype="0" fill="hold" nodeType="afterEffect">
                                  <p:stCondLst>
                                    <p:cond delay="300"/>
                                  </p:stCondLst>
                                  <p:childTnLst>
                                    <p:set>
                                      <p:cBhvr>
                                        <p:cTn id="12" dur="1" fill="hold">
                                          <p:stCondLst>
                                            <p:cond delay="0"/>
                                          </p:stCondLst>
                                        </p:cTn>
                                        <p:tgtEl>
                                          <p:spTgt spid="137"/>
                                        </p:tgtEl>
                                        <p:attrNameLst>
                                          <p:attrName>style.visibility</p:attrName>
                                        </p:attrNameLst>
                                      </p:cBhvr>
                                      <p:to>
                                        <p:strVal val="visible"/>
                                      </p:to>
                                    </p:set>
                                  </p:childTnLst>
                                </p:cTn>
                              </p:par>
                            </p:childTnLst>
                          </p:cTn>
                        </p:par>
                        <p:par>
                          <p:cTn id="13" fill="hold">
                            <p:stCondLst>
                              <p:cond delay="600"/>
                            </p:stCondLst>
                            <p:childTnLst>
                              <p:par>
                                <p:cTn id="14" presetID="1" presetClass="entr" presetSubtype="0" fill="hold" nodeType="afterEffect">
                                  <p:stCondLst>
                                    <p:cond delay="300"/>
                                  </p:stCondLst>
                                  <p:childTnLst>
                                    <p:set>
                                      <p:cBhvr>
                                        <p:cTn id="15" dur="1" fill="hold">
                                          <p:stCondLst>
                                            <p:cond delay="0"/>
                                          </p:stCondLst>
                                        </p:cTn>
                                        <p:tgtEl>
                                          <p:spTgt spid="140"/>
                                        </p:tgtEl>
                                        <p:attrNameLst>
                                          <p:attrName>style.visibility</p:attrName>
                                        </p:attrNameLst>
                                      </p:cBhvr>
                                      <p:to>
                                        <p:strVal val="visible"/>
                                      </p:to>
                                    </p:set>
                                  </p:childTnLst>
                                </p:cTn>
                              </p:par>
                            </p:childTnLst>
                          </p:cTn>
                        </p:par>
                        <p:par>
                          <p:cTn id="16" fill="hold">
                            <p:stCondLst>
                              <p:cond delay="900"/>
                            </p:stCondLst>
                            <p:childTnLst>
                              <p:par>
                                <p:cTn id="17" presetID="1" presetClass="entr" presetSubtype="0" fill="hold" nodeType="afterEffect">
                                  <p:stCondLst>
                                    <p:cond delay="300"/>
                                  </p:stCondLst>
                                  <p:childTnLst>
                                    <p:set>
                                      <p:cBhvr>
                                        <p:cTn id="18" dur="1" fill="hold">
                                          <p:stCondLst>
                                            <p:cond delay="0"/>
                                          </p:stCondLst>
                                        </p:cTn>
                                        <p:tgtEl>
                                          <p:spTgt spid="143"/>
                                        </p:tgtEl>
                                        <p:attrNameLst>
                                          <p:attrName>style.visibility</p:attrName>
                                        </p:attrNameLst>
                                      </p:cBhvr>
                                      <p:to>
                                        <p:strVal val="visible"/>
                                      </p:to>
                                    </p:set>
                                  </p:childTnLst>
                                </p:cTn>
                              </p:par>
                            </p:childTnLst>
                          </p:cTn>
                        </p:par>
                        <p:par>
                          <p:cTn id="19" fill="hold">
                            <p:stCondLst>
                              <p:cond delay="1200"/>
                            </p:stCondLst>
                            <p:childTnLst>
                              <p:par>
                                <p:cTn id="20" presetID="1" presetClass="entr" presetSubtype="0" fill="hold" nodeType="afterEffect">
                                  <p:stCondLst>
                                    <p:cond delay="300"/>
                                  </p:stCondLst>
                                  <p:childTnLst>
                                    <p:set>
                                      <p:cBhvr>
                                        <p:cTn id="21" dur="1" fill="hold">
                                          <p:stCondLst>
                                            <p:cond delay="0"/>
                                          </p:stCondLst>
                                        </p:cTn>
                                        <p:tgtEl>
                                          <p:spTgt spid="145"/>
                                        </p:tgtEl>
                                        <p:attrNameLst>
                                          <p:attrName>style.visibility</p:attrName>
                                        </p:attrNameLst>
                                      </p:cBhvr>
                                      <p:to>
                                        <p:strVal val="visible"/>
                                      </p:to>
                                    </p:set>
                                  </p:childTnLst>
                                </p:cTn>
                              </p:par>
                            </p:childTnLst>
                          </p:cTn>
                        </p:par>
                        <p:par>
                          <p:cTn id="22" fill="hold">
                            <p:stCondLst>
                              <p:cond delay="1500"/>
                            </p:stCondLst>
                            <p:childTnLst>
                              <p:par>
                                <p:cTn id="23" presetID="1" presetClass="entr" presetSubtype="0" fill="hold" nodeType="afterEffect">
                                  <p:stCondLst>
                                    <p:cond delay="300"/>
                                  </p:stCondLst>
                                  <p:childTnLst>
                                    <p:set>
                                      <p:cBhvr>
                                        <p:cTn id="24" dur="1" fill="hold">
                                          <p:stCondLst>
                                            <p:cond delay="0"/>
                                          </p:stCondLst>
                                        </p:cTn>
                                        <p:tgtEl>
                                          <p:spTgt spid="148"/>
                                        </p:tgtEl>
                                        <p:attrNameLst>
                                          <p:attrName>style.visibility</p:attrName>
                                        </p:attrNameLst>
                                      </p:cBhvr>
                                      <p:to>
                                        <p:strVal val="visible"/>
                                      </p:to>
                                    </p:set>
                                  </p:childTnLst>
                                </p:cTn>
                              </p:par>
                            </p:childTnLst>
                          </p:cTn>
                        </p:par>
                        <p:par>
                          <p:cTn id="25" fill="hold">
                            <p:stCondLst>
                              <p:cond delay="1800"/>
                            </p:stCondLst>
                            <p:childTnLst>
                              <p:par>
                                <p:cTn id="26" presetID="1" presetClass="entr" presetSubtype="0" fill="hold" nodeType="afterEffect">
                                  <p:stCondLst>
                                    <p:cond delay="300"/>
                                  </p:stCondLst>
                                  <p:childTnLst>
                                    <p:set>
                                      <p:cBhvr>
                                        <p:cTn id="27" dur="1" fill="hold">
                                          <p:stCondLst>
                                            <p:cond delay="0"/>
                                          </p:stCondLst>
                                        </p:cTn>
                                        <p:tgtEl>
                                          <p:spTgt spid="150"/>
                                        </p:tgtEl>
                                        <p:attrNameLst>
                                          <p:attrName>style.visibility</p:attrName>
                                        </p:attrNameLst>
                                      </p:cBhvr>
                                      <p:to>
                                        <p:strVal val="visible"/>
                                      </p:to>
                                    </p:set>
                                  </p:childTnLst>
                                </p:cTn>
                              </p:par>
                            </p:childTnLst>
                          </p:cTn>
                        </p:par>
                        <p:par>
                          <p:cTn id="28" fill="hold">
                            <p:stCondLst>
                              <p:cond delay="2100"/>
                            </p:stCondLst>
                            <p:childTnLst>
                              <p:par>
                                <p:cTn id="29" presetID="1" presetClass="entr" presetSubtype="0" fill="hold" nodeType="afterEffect">
                                  <p:stCondLst>
                                    <p:cond delay="300"/>
                                  </p:stCondLst>
                                  <p:childTnLst>
                                    <p:set>
                                      <p:cBhvr>
                                        <p:cTn id="30" dur="1" fill="hold">
                                          <p:stCondLst>
                                            <p:cond delay="0"/>
                                          </p:stCondLst>
                                        </p:cTn>
                                        <p:tgtEl>
                                          <p:spTgt spid="153"/>
                                        </p:tgtEl>
                                        <p:attrNameLst>
                                          <p:attrName>style.visibility</p:attrName>
                                        </p:attrNameLst>
                                      </p:cBhvr>
                                      <p:to>
                                        <p:strVal val="visible"/>
                                      </p:to>
                                    </p:set>
                                  </p:childTnLst>
                                </p:cTn>
                              </p:par>
                            </p:childTnLst>
                          </p:cTn>
                        </p:par>
                        <p:par>
                          <p:cTn id="31" fill="hold">
                            <p:stCondLst>
                              <p:cond delay="2400"/>
                            </p:stCondLst>
                            <p:childTnLst>
                              <p:par>
                                <p:cTn id="32" presetID="1" presetClass="entr" presetSubtype="0" fill="hold" nodeType="afterEffect">
                                  <p:stCondLst>
                                    <p:cond delay="300"/>
                                  </p:stCondLst>
                                  <p:childTnLst>
                                    <p:set>
                                      <p:cBhvr>
                                        <p:cTn id="33" dur="1" fill="hold">
                                          <p:stCondLst>
                                            <p:cond delay="0"/>
                                          </p:stCondLst>
                                        </p:cTn>
                                        <p:tgtEl>
                                          <p:spTgt spid="156"/>
                                        </p:tgtEl>
                                        <p:attrNameLst>
                                          <p:attrName>style.visibility</p:attrName>
                                        </p:attrNameLst>
                                      </p:cBhvr>
                                      <p:to>
                                        <p:strVal val="visible"/>
                                      </p:to>
                                    </p:set>
                                  </p:childTnLst>
                                </p:cTn>
                              </p:par>
                            </p:childTnLst>
                          </p:cTn>
                        </p:par>
                        <p:par>
                          <p:cTn id="34" fill="hold">
                            <p:stCondLst>
                              <p:cond delay="2700"/>
                            </p:stCondLst>
                            <p:childTnLst>
                              <p:par>
                                <p:cTn id="35" presetID="1" presetClass="entr" presetSubtype="0" fill="hold" nodeType="afterEffect">
                                  <p:stCondLst>
                                    <p:cond delay="300"/>
                                  </p:stCondLst>
                                  <p:childTnLst>
                                    <p:set>
                                      <p:cBhvr>
                                        <p:cTn id="36" dur="1" fill="hold">
                                          <p:stCondLst>
                                            <p:cond delay="0"/>
                                          </p:stCondLst>
                                        </p:cTn>
                                        <p:tgtEl>
                                          <p:spTgt spid="160"/>
                                        </p:tgtEl>
                                        <p:attrNameLst>
                                          <p:attrName>style.visibility</p:attrName>
                                        </p:attrNameLst>
                                      </p:cBhvr>
                                      <p:to>
                                        <p:strVal val="visible"/>
                                      </p:to>
                                    </p:set>
                                  </p:childTnLst>
                                </p:cTn>
                              </p:par>
                            </p:childTnLst>
                          </p:cTn>
                        </p:par>
                        <p:par>
                          <p:cTn id="37" fill="hold">
                            <p:stCondLst>
                              <p:cond delay="3000"/>
                            </p:stCondLst>
                            <p:childTnLst>
                              <p:par>
                                <p:cTn id="38" presetID="1" presetClass="entr" presetSubtype="0" fill="hold" nodeType="afterEffect">
                                  <p:stCondLst>
                                    <p:cond delay="300"/>
                                  </p:stCondLst>
                                  <p:childTnLst>
                                    <p:set>
                                      <p:cBhvr>
                                        <p:cTn id="39" dur="1" fill="hold">
                                          <p:stCondLst>
                                            <p:cond delay="0"/>
                                          </p:stCondLst>
                                        </p:cTn>
                                        <p:tgtEl>
                                          <p:spTgt spid="163"/>
                                        </p:tgtEl>
                                        <p:attrNameLst>
                                          <p:attrName>style.visibility</p:attrName>
                                        </p:attrNameLst>
                                      </p:cBhvr>
                                      <p:to>
                                        <p:strVal val="visible"/>
                                      </p:to>
                                    </p:set>
                                  </p:childTnLst>
                                </p:cTn>
                              </p:par>
                            </p:childTnLst>
                          </p:cTn>
                        </p:par>
                        <p:par>
                          <p:cTn id="40" fill="hold">
                            <p:stCondLst>
                              <p:cond delay="3300"/>
                            </p:stCondLst>
                            <p:childTnLst>
                              <p:par>
                                <p:cTn id="41" presetID="1" presetClass="entr" presetSubtype="0" fill="hold" grpId="0" nodeType="afterEffect">
                                  <p:stCondLst>
                                    <p:cond delay="300"/>
                                  </p:stCondLst>
                                  <p:childTnLst>
                                    <p:set>
                                      <p:cBhvr>
                                        <p:cTn id="42" dur="1" fill="hold">
                                          <p:stCondLst>
                                            <p:cond delay="0"/>
                                          </p:stCondLst>
                                        </p:cTn>
                                        <p:tgtEl>
                                          <p:spTgt spid="1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solidFill>
                  <a:schemeClr val="tx1"/>
                </a:solidFill>
              </a:rPr>
              <a:t>MLOps = ML + DEV + OPS</a:t>
            </a:r>
          </a:p>
        </p:txBody>
      </p:sp>
      <p:sp>
        <p:nvSpPr>
          <p:cNvPr id="140" name="TextBox 8">
            <a:extLst>
              <a:ext uri="{FF2B5EF4-FFF2-40B4-BE49-F238E27FC236}">
                <a16:creationId xmlns:a16="http://schemas.microsoft.com/office/drawing/2014/main" id="{C9C72490-9715-440A-963C-BD1E0CD77FCA}"/>
              </a:ext>
            </a:extLst>
          </p:cNvPr>
          <p:cNvSpPr txBox="1"/>
          <p:nvPr/>
        </p:nvSpPr>
        <p:spPr>
          <a:xfrm>
            <a:off x="778074" y="4856207"/>
            <a:ext cx="3130428" cy="1253420"/>
          </a:xfrm>
          <a:prstGeom prst="rect">
            <a:avLst/>
          </a:prstGeom>
          <a:noFill/>
        </p:spPr>
        <p:txBody>
          <a:bodyPr wrap="square" lIns="0" tIns="0" rIns="0" bIns="0" rtlCol="0">
            <a:spAutoFit/>
          </a:bodyPr>
          <a:lstStyle/>
          <a:p>
            <a:pPr defTabSz="896196">
              <a:defRPr/>
            </a:pPr>
            <a:r>
              <a:rPr lang="en-US" sz="2745" b="1" kern="800" spc="99">
                <a:solidFill>
                  <a:srgbClr val="3C3C3C"/>
                </a:solidFill>
                <a:latin typeface="Segoe UI Light"/>
                <a:cs typeface="Segoe UI Semibold" panose="020B0702040204020203" pitchFamily="34" charset="0"/>
              </a:rPr>
              <a:t>Experiment</a:t>
            </a:r>
          </a:p>
          <a:p>
            <a:pPr defTabSz="896196">
              <a:defRPr/>
            </a:pPr>
            <a:r>
              <a:rPr lang="en-US" b="1" kern="800" spc="99">
                <a:solidFill>
                  <a:srgbClr val="3C3C3C"/>
                </a:solidFill>
                <a:latin typeface="Segoe UI Light"/>
                <a:cs typeface="Segoe UI Semibold" panose="020B0702040204020203" pitchFamily="34" charset="0"/>
              </a:rPr>
              <a:t>Data Acquisition </a:t>
            </a:r>
          </a:p>
          <a:p>
            <a:pPr defTabSz="896196">
              <a:defRPr/>
            </a:pPr>
            <a:r>
              <a:rPr lang="en-US" b="1" kern="800" spc="99">
                <a:solidFill>
                  <a:srgbClr val="3C3C3C"/>
                </a:solidFill>
                <a:latin typeface="Segoe UI Light"/>
                <a:cs typeface="Segoe UI Semibold" panose="020B0702040204020203" pitchFamily="34" charset="0"/>
              </a:rPr>
              <a:t>Business Understanding</a:t>
            </a:r>
          </a:p>
          <a:p>
            <a:pPr defTabSz="896196">
              <a:defRPr/>
            </a:pPr>
            <a:r>
              <a:rPr lang="en-US" b="1" kern="800" spc="99">
                <a:solidFill>
                  <a:srgbClr val="3C3C3C"/>
                </a:solidFill>
                <a:latin typeface="Segoe UI Light"/>
                <a:cs typeface="Segoe UI Semibold" panose="020B0702040204020203" pitchFamily="34" charset="0"/>
              </a:rPr>
              <a:t>Initial Modeling</a:t>
            </a:r>
          </a:p>
        </p:txBody>
      </p:sp>
      <p:sp>
        <p:nvSpPr>
          <p:cNvPr id="141" name="TextBox 8">
            <a:extLst>
              <a:ext uri="{FF2B5EF4-FFF2-40B4-BE49-F238E27FC236}">
                <a16:creationId xmlns:a16="http://schemas.microsoft.com/office/drawing/2014/main" id="{EC787D24-B4BA-426A-AED2-3452B1B39754}"/>
              </a:ext>
            </a:extLst>
          </p:cNvPr>
          <p:cNvSpPr txBox="1"/>
          <p:nvPr/>
        </p:nvSpPr>
        <p:spPr>
          <a:xfrm>
            <a:off x="4897463" y="4856207"/>
            <a:ext cx="3130428" cy="699422"/>
          </a:xfrm>
          <a:prstGeom prst="rect">
            <a:avLst/>
          </a:prstGeom>
          <a:noFill/>
        </p:spPr>
        <p:txBody>
          <a:bodyPr wrap="square" lIns="0" tIns="0" rIns="0" bIns="0" rtlCol="0">
            <a:spAutoFit/>
          </a:bodyPr>
          <a:lstStyle/>
          <a:p>
            <a:pPr defTabSz="896196">
              <a:defRPr/>
            </a:pPr>
            <a:r>
              <a:rPr lang="en-US" sz="2745" b="1" kern="800" spc="99">
                <a:solidFill>
                  <a:srgbClr val="3C3C3C"/>
                </a:solidFill>
                <a:latin typeface="Segoe UI Light"/>
                <a:cs typeface="Segoe UI Semibold" panose="020B0702040204020203" pitchFamily="34" charset="0"/>
              </a:rPr>
              <a:t>Develop</a:t>
            </a:r>
          </a:p>
          <a:p>
            <a:pPr defTabSz="896196">
              <a:defRPr/>
            </a:pPr>
            <a:r>
              <a:rPr lang="en-US" b="1" kern="800" spc="99">
                <a:solidFill>
                  <a:srgbClr val="1A1A1A"/>
                </a:solidFill>
                <a:latin typeface="Segoe UI Light"/>
                <a:cs typeface="Segoe UI Semibold" panose="020B0702040204020203" pitchFamily="34" charset="0"/>
              </a:rPr>
              <a:t>Modeling</a:t>
            </a:r>
            <a:endParaRPr lang="en-US" b="1" kern="800" spc="99">
              <a:solidFill>
                <a:srgbClr val="0078D4"/>
              </a:solidFill>
              <a:latin typeface="Segoe UI Light"/>
              <a:cs typeface="Segoe UI Semibold" panose="020B0702040204020203" pitchFamily="34" charset="0"/>
            </a:endParaRPr>
          </a:p>
        </p:txBody>
      </p:sp>
      <p:sp>
        <p:nvSpPr>
          <p:cNvPr id="142" name="TextBox 44">
            <a:extLst>
              <a:ext uri="{FF2B5EF4-FFF2-40B4-BE49-F238E27FC236}">
                <a16:creationId xmlns:a16="http://schemas.microsoft.com/office/drawing/2014/main" id="{89B7706A-696C-4DD4-BC16-63897AC86E47}"/>
              </a:ext>
            </a:extLst>
          </p:cNvPr>
          <p:cNvSpPr txBox="1"/>
          <p:nvPr/>
        </p:nvSpPr>
        <p:spPr>
          <a:xfrm>
            <a:off x="8361105" y="4858528"/>
            <a:ext cx="3129224" cy="1675843"/>
          </a:xfrm>
          <a:prstGeom prst="rect">
            <a:avLst/>
          </a:prstGeom>
          <a:noFill/>
        </p:spPr>
        <p:txBody>
          <a:bodyPr wrap="square" lIns="0" tIns="0" rIns="0" bIns="0" rtlCol="0">
            <a:spAutoFit/>
          </a:bodyPr>
          <a:lstStyle/>
          <a:p>
            <a:pPr defTabSz="896196">
              <a:defRPr/>
            </a:pPr>
            <a:r>
              <a:rPr lang="de-DE" sz="2745" b="1" kern="800" spc="99">
                <a:solidFill>
                  <a:srgbClr val="3C3C3C"/>
                </a:solidFill>
                <a:latin typeface="Segoe UI Light"/>
                <a:cs typeface="Segoe UI Semibold" panose="020B0702040204020203" pitchFamily="34" charset="0"/>
              </a:rPr>
              <a:t>Operate</a:t>
            </a:r>
          </a:p>
          <a:p>
            <a:pPr defTabSz="896196">
              <a:defRPr/>
            </a:pPr>
            <a:r>
              <a:rPr lang="en-US" b="1" kern="800" spc="99">
                <a:solidFill>
                  <a:srgbClr val="0078D4"/>
                </a:solidFill>
                <a:latin typeface="Segoe UI Light"/>
                <a:cs typeface="Segoe UI Semibold" panose="020B0702040204020203" pitchFamily="34" charset="0"/>
              </a:rPr>
              <a:t>Continuous Delivery</a:t>
            </a:r>
          </a:p>
          <a:p>
            <a:pPr defTabSz="896196">
              <a:defRPr/>
            </a:pPr>
            <a:r>
              <a:rPr lang="en-US" b="1" kern="800" spc="99">
                <a:solidFill>
                  <a:srgbClr val="0078D4"/>
                </a:solidFill>
                <a:latin typeface="Segoe UI Light"/>
                <a:cs typeface="Segoe UI Semibold" panose="020B0702040204020203" pitchFamily="34" charset="0"/>
              </a:rPr>
              <a:t>Data Feedback Loop</a:t>
            </a:r>
          </a:p>
          <a:p>
            <a:pPr defTabSz="896196">
              <a:defRPr/>
            </a:pPr>
            <a:r>
              <a:rPr lang="en-US" b="1" kern="800" spc="99">
                <a:solidFill>
                  <a:srgbClr val="0078D4"/>
                </a:solidFill>
                <a:latin typeface="Segoe UI Light"/>
                <a:cs typeface="Segoe UI Semibold" panose="020B0702040204020203" pitchFamily="34" charset="0"/>
              </a:rPr>
              <a:t>System + Model Monitoring</a:t>
            </a:r>
          </a:p>
          <a:p>
            <a:pPr defTabSz="896196">
              <a:defRPr/>
            </a:pPr>
            <a:endParaRPr lang="en-US" sz="2745" kern="800" spc="99">
              <a:solidFill>
                <a:srgbClr val="3C3C3C"/>
              </a:solidFill>
              <a:latin typeface="Segoe UI Light"/>
              <a:cs typeface="Segoe UI Semibold" panose="020B0702040204020203" pitchFamily="34" charset="0"/>
            </a:endParaRPr>
          </a:p>
        </p:txBody>
      </p:sp>
      <p:sp>
        <p:nvSpPr>
          <p:cNvPr id="143" name="Freeform 28">
            <a:extLst>
              <a:ext uri="{FF2B5EF4-FFF2-40B4-BE49-F238E27FC236}">
                <a16:creationId xmlns:a16="http://schemas.microsoft.com/office/drawing/2014/main" id="{23EE7238-0B6D-475B-B96D-046C04D12A42}"/>
              </a:ext>
            </a:extLst>
          </p:cNvPr>
          <p:cNvSpPr>
            <a:spLocks/>
          </p:cNvSpPr>
          <p:nvPr>
            <p:custDataLst>
              <p:tags r:id="rId1"/>
            </p:custDataLst>
          </p:nvPr>
        </p:nvSpPr>
        <p:spPr bwMode="gray">
          <a:xfrm rot="2781258">
            <a:off x="2804849" y="2147511"/>
            <a:ext cx="1824327" cy="1855063"/>
          </a:xfrm>
          <a:custGeom>
            <a:avLst/>
            <a:gdLst>
              <a:gd name="T0" fmla="*/ 853546768 w 425"/>
              <a:gd name="T1" fmla="*/ 2147483647 h 425"/>
              <a:gd name="T2" fmla="*/ 362757401 w 425"/>
              <a:gd name="T3" fmla="*/ 718866784 h 425"/>
              <a:gd name="T4" fmla="*/ 2147483647 w 425"/>
              <a:gd name="T5" fmla="*/ 308085710 h 425"/>
              <a:gd name="T6" fmla="*/ 2147483647 w 425"/>
              <a:gd name="T7" fmla="*/ 1842473085 h 425"/>
              <a:gd name="T8" fmla="*/ 853546768 w 425"/>
              <a:gd name="T9" fmla="*/ 2147483647 h 425"/>
              <a:gd name="T10" fmla="*/ 0 60000 65536"/>
              <a:gd name="T11" fmla="*/ 0 60000 65536"/>
              <a:gd name="T12" fmla="*/ 0 60000 65536"/>
              <a:gd name="T13" fmla="*/ 0 60000 65536"/>
              <a:gd name="T14" fmla="*/ 0 60000 65536"/>
              <a:gd name="T15" fmla="*/ 0 w 425"/>
              <a:gd name="T16" fmla="*/ 0 h 425"/>
              <a:gd name="T17" fmla="*/ 425 w 425"/>
              <a:gd name="T18" fmla="*/ 425 h 425"/>
            </a:gdLst>
            <a:ahLst/>
            <a:cxnLst>
              <a:cxn ang="T10">
                <a:pos x="T0" y="T1"/>
              </a:cxn>
              <a:cxn ang="T11">
                <a:pos x="T2" y="T3"/>
              </a:cxn>
              <a:cxn ang="T12">
                <a:pos x="T4" y="T5"/>
              </a:cxn>
              <a:cxn ang="T13">
                <a:pos x="T6" y="T7"/>
              </a:cxn>
              <a:cxn ang="T14">
                <a:pos x="T8" y="T9"/>
              </a:cxn>
            </a:cxnLst>
            <a:rect l="T15" t="T16" r="T17" b="T18"/>
            <a:pathLst>
              <a:path w="425" h="425">
                <a:moveTo>
                  <a:pt x="120" y="373"/>
                </a:moveTo>
                <a:cubicBezTo>
                  <a:pt x="31" y="322"/>
                  <a:pt x="0" y="208"/>
                  <a:pt x="51" y="119"/>
                </a:cubicBezTo>
                <a:cubicBezTo>
                  <a:pt x="103" y="30"/>
                  <a:pt x="217" y="0"/>
                  <a:pt x="306" y="51"/>
                </a:cubicBezTo>
                <a:cubicBezTo>
                  <a:pt x="394" y="103"/>
                  <a:pt x="425" y="216"/>
                  <a:pt x="374" y="305"/>
                </a:cubicBezTo>
                <a:cubicBezTo>
                  <a:pt x="322" y="394"/>
                  <a:pt x="208" y="425"/>
                  <a:pt x="120" y="373"/>
                </a:cubicBezTo>
                <a:close/>
              </a:path>
            </a:pathLst>
          </a:custGeom>
          <a:noFill/>
          <a:ln w="3175">
            <a:noFill/>
            <a:round/>
            <a:headEnd/>
            <a:tailEnd/>
          </a:ln>
        </p:spPr>
        <p:txBody>
          <a:bodyPr/>
          <a:lstStyle/>
          <a:p>
            <a:pPr defTabSz="914377">
              <a:defRPr/>
            </a:pPr>
            <a:endParaRPr lang="en-GB" sz="455">
              <a:solidFill>
                <a:prstClr val="black"/>
              </a:solidFill>
              <a:latin typeface="Segoe UI"/>
            </a:endParaRPr>
          </a:p>
        </p:txBody>
      </p:sp>
      <p:sp>
        <p:nvSpPr>
          <p:cNvPr id="155" name="Freeform 39">
            <a:extLst>
              <a:ext uri="{FF2B5EF4-FFF2-40B4-BE49-F238E27FC236}">
                <a16:creationId xmlns:a16="http://schemas.microsoft.com/office/drawing/2014/main" id="{D68604F8-4686-4EF9-B60D-63E8F06A2124}"/>
              </a:ext>
            </a:extLst>
          </p:cNvPr>
          <p:cNvSpPr>
            <a:spLocks noEditPoints="1"/>
          </p:cNvSpPr>
          <p:nvPr/>
        </p:nvSpPr>
        <p:spPr bwMode="auto">
          <a:xfrm rot="326988" flipH="1">
            <a:off x="6654368" y="2295015"/>
            <a:ext cx="161461" cy="275479"/>
          </a:xfrm>
          <a:custGeom>
            <a:avLst/>
            <a:gdLst>
              <a:gd name="T0" fmla="*/ 112 w 112"/>
              <a:gd name="T1" fmla="*/ 56 h 190"/>
              <a:gd name="T2" fmla="*/ 56 w 112"/>
              <a:gd name="T3" fmla="*/ 0 h 190"/>
              <a:gd name="T4" fmla="*/ 0 w 112"/>
              <a:gd name="T5" fmla="*/ 56 h 190"/>
              <a:gd name="T6" fmla="*/ 49 w 112"/>
              <a:gd name="T7" fmla="*/ 112 h 190"/>
              <a:gd name="T8" fmla="*/ 49 w 112"/>
              <a:gd name="T9" fmla="*/ 125 h 190"/>
              <a:gd name="T10" fmla="*/ 43 w 112"/>
              <a:gd name="T11" fmla="*/ 125 h 190"/>
              <a:gd name="T12" fmla="*/ 43 w 112"/>
              <a:gd name="T13" fmla="*/ 190 h 190"/>
              <a:gd name="T14" fmla="*/ 69 w 112"/>
              <a:gd name="T15" fmla="*/ 190 h 190"/>
              <a:gd name="T16" fmla="*/ 69 w 112"/>
              <a:gd name="T17" fmla="*/ 125 h 190"/>
              <a:gd name="T18" fmla="*/ 63 w 112"/>
              <a:gd name="T19" fmla="*/ 125 h 190"/>
              <a:gd name="T20" fmla="*/ 63 w 112"/>
              <a:gd name="T21" fmla="*/ 112 h 190"/>
              <a:gd name="T22" fmla="*/ 112 w 112"/>
              <a:gd name="T23" fmla="*/ 56 h 190"/>
              <a:gd name="T24" fmla="*/ 21 w 112"/>
              <a:gd name="T25" fmla="*/ 56 h 190"/>
              <a:gd name="T26" fmla="*/ 56 w 112"/>
              <a:gd name="T27" fmla="*/ 21 h 190"/>
              <a:gd name="T28" fmla="*/ 92 w 112"/>
              <a:gd name="T29" fmla="*/ 56 h 190"/>
              <a:gd name="T30" fmla="*/ 56 w 112"/>
              <a:gd name="T31" fmla="*/ 92 h 190"/>
              <a:gd name="T32" fmla="*/ 21 w 112"/>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190">
                <a:moveTo>
                  <a:pt x="112" y="56"/>
                </a:moveTo>
                <a:cubicBezTo>
                  <a:pt x="112" y="25"/>
                  <a:pt x="87" y="0"/>
                  <a:pt x="56" y="0"/>
                </a:cubicBezTo>
                <a:cubicBezTo>
                  <a:pt x="25" y="0"/>
                  <a:pt x="0" y="25"/>
                  <a:pt x="0" y="56"/>
                </a:cubicBezTo>
                <a:cubicBezTo>
                  <a:pt x="0" y="85"/>
                  <a:pt x="22" y="109"/>
                  <a:pt x="49" y="112"/>
                </a:cubicBezTo>
                <a:cubicBezTo>
                  <a:pt x="49" y="125"/>
                  <a:pt x="49" y="125"/>
                  <a:pt x="49" y="125"/>
                </a:cubicBezTo>
                <a:cubicBezTo>
                  <a:pt x="43" y="125"/>
                  <a:pt x="43" y="125"/>
                  <a:pt x="43" y="125"/>
                </a:cubicBezTo>
                <a:cubicBezTo>
                  <a:pt x="43" y="190"/>
                  <a:pt x="43" y="190"/>
                  <a:pt x="43" y="190"/>
                </a:cubicBezTo>
                <a:cubicBezTo>
                  <a:pt x="69" y="190"/>
                  <a:pt x="69" y="190"/>
                  <a:pt x="69" y="190"/>
                </a:cubicBezTo>
                <a:cubicBezTo>
                  <a:pt x="69" y="125"/>
                  <a:pt x="69" y="125"/>
                  <a:pt x="69" y="125"/>
                </a:cubicBezTo>
                <a:cubicBezTo>
                  <a:pt x="63" y="125"/>
                  <a:pt x="63" y="125"/>
                  <a:pt x="63" y="125"/>
                </a:cubicBezTo>
                <a:cubicBezTo>
                  <a:pt x="63" y="112"/>
                  <a:pt x="63" y="112"/>
                  <a:pt x="63" y="112"/>
                </a:cubicBezTo>
                <a:cubicBezTo>
                  <a:pt x="91" y="109"/>
                  <a:pt x="112" y="85"/>
                  <a:pt x="112" y="56"/>
                </a:cubicBezTo>
                <a:close/>
                <a:moveTo>
                  <a:pt x="21" y="56"/>
                </a:moveTo>
                <a:cubicBezTo>
                  <a:pt x="21" y="37"/>
                  <a:pt x="37" y="21"/>
                  <a:pt x="56" y="21"/>
                </a:cubicBezTo>
                <a:cubicBezTo>
                  <a:pt x="76" y="21"/>
                  <a:pt x="92" y="37"/>
                  <a:pt x="92" y="56"/>
                </a:cubicBezTo>
                <a:cubicBezTo>
                  <a:pt x="92" y="76"/>
                  <a:pt x="76" y="92"/>
                  <a:pt x="56" y="92"/>
                </a:cubicBezTo>
                <a:cubicBezTo>
                  <a:pt x="37" y="92"/>
                  <a:pt x="21" y="76"/>
                  <a:pt x="21" y="56"/>
                </a:cubicBezTo>
                <a:close/>
              </a:path>
            </a:pathLst>
          </a:custGeom>
          <a:solidFill>
            <a:schemeClr val="bg1"/>
          </a:solidFill>
          <a:ln>
            <a:noFill/>
          </a:ln>
        </p:spPr>
        <p:txBody>
          <a:bodyPr vert="horz" wrap="square" lIns="92531" tIns="46267" rIns="92531" bIns="46267" numCol="1" anchor="t" anchorCtr="0" compatLnSpc="1">
            <a:prstTxWarp prst="textNoShape">
              <a:avLst/>
            </a:prstTxWarp>
          </a:bodyPr>
          <a:lstStyle/>
          <a:p>
            <a:pPr defTabSz="914377">
              <a:defRPr/>
            </a:pPr>
            <a:endParaRPr lang="en-US" sz="999">
              <a:solidFill>
                <a:prstClr val="black"/>
              </a:solidFill>
              <a:latin typeface="Arial" panose="020B0604020202020204" pitchFamily="34" charset="0"/>
            </a:endParaRPr>
          </a:p>
        </p:txBody>
      </p:sp>
      <p:sp>
        <p:nvSpPr>
          <p:cNvPr id="159" name="TextBox 158">
            <a:extLst>
              <a:ext uri="{FF2B5EF4-FFF2-40B4-BE49-F238E27FC236}">
                <a16:creationId xmlns:a16="http://schemas.microsoft.com/office/drawing/2014/main" id="{17F476DC-4D12-4A19-AAEB-7D94278C9C18}"/>
              </a:ext>
            </a:extLst>
          </p:cNvPr>
          <p:cNvSpPr txBox="1"/>
          <p:nvPr/>
        </p:nvSpPr>
        <p:spPr>
          <a:xfrm rot="1890962" flipH="1" flipV="1">
            <a:off x="7399010" y="3166947"/>
            <a:ext cx="1257767" cy="227330"/>
          </a:xfrm>
          <a:prstGeom prst="rect">
            <a:avLst/>
          </a:prstGeom>
          <a:noFill/>
        </p:spPr>
        <p:txBody>
          <a:bodyPr wrap="square" lIns="36429" tIns="36429" rIns="36429" bIns="36429" rtlCol="0">
            <a:spAutoFit/>
          </a:bodyPr>
          <a:lstStyle/>
          <a:p>
            <a:pPr algn="ctr" defTabSz="914377">
              <a:spcBef>
                <a:spcPts val="607"/>
              </a:spcBef>
              <a:defRPr/>
            </a:pPr>
            <a:endParaRPr lang="en-AU" sz="999" b="1">
              <a:solidFill>
                <a:srgbClr val="323232"/>
              </a:solidFill>
              <a:latin typeface="Segoe UI"/>
            </a:endParaRPr>
          </a:p>
        </p:txBody>
      </p:sp>
      <p:grpSp>
        <p:nvGrpSpPr>
          <p:cNvPr id="6" name="Group 5">
            <a:extLst>
              <a:ext uri="{FF2B5EF4-FFF2-40B4-BE49-F238E27FC236}">
                <a16:creationId xmlns:a16="http://schemas.microsoft.com/office/drawing/2014/main" id="{A0C3BDC5-FCE6-4DA2-A360-7016ACB1F581}"/>
              </a:ext>
            </a:extLst>
          </p:cNvPr>
          <p:cNvGrpSpPr/>
          <p:nvPr/>
        </p:nvGrpSpPr>
        <p:grpSpPr>
          <a:xfrm>
            <a:off x="2191804" y="1503405"/>
            <a:ext cx="3050411" cy="3078844"/>
            <a:chOff x="2197971" y="1559524"/>
            <a:chExt cx="3057324" cy="3029296"/>
          </a:xfrm>
        </p:grpSpPr>
        <p:sp>
          <p:nvSpPr>
            <p:cNvPr id="144" name="TextBox 143">
              <a:extLst>
                <a:ext uri="{FF2B5EF4-FFF2-40B4-BE49-F238E27FC236}">
                  <a16:creationId xmlns:a16="http://schemas.microsoft.com/office/drawing/2014/main" id="{61BE89B7-678C-4E9F-916B-C32F15AE78AA}"/>
                </a:ext>
              </a:extLst>
            </p:cNvPr>
            <p:cNvSpPr txBox="1"/>
            <p:nvPr/>
          </p:nvSpPr>
          <p:spPr>
            <a:xfrm rot="1890962">
              <a:off x="3251185" y="2757148"/>
              <a:ext cx="1257767" cy="223672"/>
            </a:xfrm>
            <a:prstGeom prst="rect">
              <a:avLst/>
            </a:prstGeom>
            <a:noFill/>
          </p:spPr>
          <p:txBody>
            <a:bodyPr wrap="square" lIns="36429" tIns="36429" rIns="36429" bIns="36429" rtlCol="0">
              <a:spAutoFit/>
            </a:bodyPr>
            <a:lstStyle/>
            <a:p>
              <a:pPr algn="ctr" defTabSz="914377">
                <a:spcBef>
                  <a:spcPts val="607"/>
                </a:spcBef>
                <a:defRPr/>
              </a:pPr>
              <a:endParaRPr lang="en-AU" sz="999" b="1">
                <a:solidFill>
                  <a:srgbClr val="323232"/>
                </a:solidFill>
                <a:latin typeface="Segoe UI"/>
              </a:endParaRPr>
            </a:p>
          </p:txBody>
        </p:sp>
        <p:sp>
          <p:nvSpPr>
            <p:cNvPr id="145" name="Freeform 30">
              <a:extLst>
                <a:ext uri="{FF2B5EF4-FFF2-40B4-BE49-F238E27FC236}">
                  <a16:creationId xmlns:a16="http://schemas.microsoft.com/office/drawing/2014/main" id="{955D5F7B-867B-4C58-9CF7-87BBBB624BD0}"/>
                </a:ext>
              </a:extLst>
            </p:cNvPr>
            <p:cNvSpPr>
              <a:spLocks/>
            </p:cNvSpPr>
            <p:nvPr>
              <p:custDataLst>
                <p:tags r:id="rId2"/>
              </p:custDataLst>
            </p:nvPr>
          </p:nvSpPr>
          <p:spPr bwMode="gray">
            <a:xfrm rot="2781258">
              <a:off x="3087303" y="1568502"/>
              <a:ext cx="1326082" cy="1308125"/>
            </a:xfrm>
            <a:custGeom>
              <a:avLst/>
              <a:gdLst>
                <a:gd name="T0" fmla="*/ 668301856 w 309"/>
                <a:gd name="T1" fmla="*/ 1790512433 h 300"/>
                <a:gd name="T2" fmla="*/ 860260111 w 309"/>
                <a:gd name="T3" fmla="*/ 1157502897 h 300"/>
                <a:gd name="T4" fmla="*/ 1898261168 w 309"/>
                <a:gd name="T5" fmla="*/ 572723608 h 300"/>
                <a:gd name="T6" fmla="*/ 2147483647 w 309"/>
                <a:gd name="T7" fmla="*/ 277317587 h 300"/>
                <a:gd name="T8" fmla="*/ 1905369739 w 309"/>
                <a:gd name="T9" fmla="*/ 0 h 300"/>
                <a:gd name="T10" fmla="*/ 0 w 309"/>
                <a:gd name="T11" fmla="*/ 1754340477 h 300"/>
                <a:gd name="T12" fmla="*/ 0 w 309"/>
                <a:gd name="T13" fmla="*/ 1808598411 h 300"/>
                <a:gd name="T14" fmla="*/ 341259499 w 309"/>
                <a:gd name="T15" fmla="*/ 1549366879 h 300"/>
                <a:gd name="T16" fmla="*/ 668301856 w 309"/>
                <a:gd name="T17" fmla="*/ 1790512433 h 3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300"/>
                <a:gd name="T29" fmla="*/ 309 w 309"/>
                <a:gd name="T30" fmla="*/ 300 h 3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300">
                  <a:moveTo>
                    <a:pt x="94" y="297"/>
                  </a:moveTo>
                  <a:cubicBezTo>
                    <a:pt x="93" y="262"/>
                    <a:pt x="101" y="225"/>
                    <a:pt x="121" y="192"/>
                  </a:cubicBezTo>
                  <a:cubicBezTo>
                    <a:pt x="153" y="136"/>
                    <a:pt x="208" y="102"/>
                    <a:pt x="267" y="95"/>
                  </a:cubicBezTo>
                  <a:cubicBezTo>
                    <a:pt x="309" y="46"/>
                    <a:pt x="309" y="46"/>
                    <a:pt x="309" y="46"/>
                  </a:cubicBezTo>
                  <a:cubicBezTo>
                    <a:pt x="268" y="0"/>
                    <a:pt x="268" y="0"/>
                    <a:pt x="268" y="0"/>
                  </a:cubicBezTo>
                  <a:cubicBezTo>
                    <a:pt x="118" y="12"/>
                    <a:pt x="0" y="138"/>
                    <a:pt x="0" y="291"/>
                  </a:cubicBezTo>
                  <a:cubicBezTo>
                    <a:pt x="0" y="294"/>
                    <a:pt x="0" y="297"/>
                    <a:pt x="0" y="300"/>
                  </a:cubicBezTo>
                  <a:cubicBezTo>
                    <a:pt x="48" y="257"/>
                    <a:pt x="48" y="257"/>
                    <a:pt x="48" y="257"/>
                  </a:cubicBezTo>
                  <a:lnTo>
                    <a:pt x="94" y="297"/>
                  </a:lnTo>
                  <a:close/>
                </a:path>
              </a:pathLst>
            </a:custGeom>
            <a:solidFill>
              <a:srgbClr val="8FB4DB"/>
            </a:solidFill>
            <a:ln w="3175" cap="flat" cmpd="sng">
              <a:noFill/>
              <a:prstDash val="solid"/>
              <a:round/>
              <a:headEnd type="none" w="med" len="med"/>
              <a:tailEnd type="none" w="med" len="med"/>
            </a:ln>
          </p:spPr>
          <p:txBody>
            <a:bodyPr/>
            <a:lstStyle/>
            <a:p>
              <a:pPr defTabSz="914377">
                <a:defRPr/>
              </a:pPr>
              <a:endParaRPr lang="en-GB" sz="455">
                <a:solidFill>
                  <a:srgbClr val="8FB4DB"/>
                </a:solidFill>
                <a:latin typeface="Segoe UI"/>
              </a:endParaRPr>
            </a:p>
          </p:txBody>
        </p:sp>
        <p:sp>
          <p:nvSpPr>
            <p:cNvPr id="151" name="Freeform 39">
              <a:extLst>
                <a:ext uri="{FF2B5EF4-FFF2-40B4-BE49-F238E27FC236}">
                  <a16:creationId xmlns:a16="http://schemas.microsoft.com/office/drawing/2014/main" id="{1E296C15-F537-4FDF-BC2F-1AB7FB74077F}"/>
                </a:ext>
              </a:extLst>
            </p:cNvPr>
            <p:cNvSpPr>
              <a:spLocks noEditPoints="1"/>
            </p:cNvSpPr>
            <p:nvPr/>
          </p:nvSpPr>
          <p:spPr bwMode="auto">
            <a:xfrm rot="21273012">
              <a:off x="2927931" y="2321893"/>
              <a:ext cx="161463" cy="275480"/>
            </a:xfrm>
            <a:custGeom>
              <a:avLst/>
              <a:gdLst>
                <a:gd name="T0" fmla="*/ 112 w 112"/>
                <a:gd name="T1" fmla="*/ 56 h 190"/>
                <a:gd name="T2" fmla="*/ 56 w 112"/>
                <a:gd name="T3" fmla="*/ 0 h 190"/>
                <a:gd name="T4" fmla="*/ 0 w 112"/>
                <a:gd name="T5" fmla="*/ 56 h 190"/>
                <a:gd name="T6" fmla="*/ 49 w 112"/>
                <a:gd name="T7" fmla="*/ 112 h 190"/>
                <a:gd name="T8" fmla="*/ 49 w 112"/>
                <a:gd name="T9" fmla="*/ 125 h 190"/>
                <a:gd name="T10" fmla="*/ 43 w 112"/>
                <a:gd name="T11" fmla="*/ 125 h 190"/>
                <a:gd name="T12" fmla="*/ 43 w 112"/>
                <a:gd name="T13" fmla="*/ 190 h 190"/>
                <a:gd name="T14" fmla="*/ 69 w 112"/>
                <a:gd name="T15" fmla="*/ 190 h 190"/>
                <a:gd name="T16" fmla="*/ 69 w 112"/>
                <a:gd name="T17" fmla="*/ 125 h 190"/>
                <a:gd name="T18" fmla="*/ 63 w 112"/>
                <a:gd name="T19" fmla="*/ 125 h 190"/>
                <a:gd name="T20" fmla="*/ 63 w 112"/>
                <a:gd name="T21" fmla="*/ 112 h 190"/>
                <a:gd name="T22" fmla="*/ 112 w 112"/>
                <a:gd name="T23" fmla="*/ 56 h 190"/>
                <a:gd name="T24" fmla="*/ 21 w 112"/>
                <a:gd name="T25" fmla="*/ 56 h 190"/>
                <a:gd name="T26" fmla="*/ 56 w 112"/>
                <a:gd name="T27" fmla="*/ 21 h 190"/>
                <a:gd name="T28" fmla="*/ 92 w 112"/>
                <a:gd name="T29" fmla="*/ 56 h 190"/>
                <a:gd name="T30" fmla="*/ 56 w 112"/>
                <a:gd name="T31" fmla="*/ 92 h 190"/>
                <a:gd name="T32" fmla="*/ 21 w 112"/>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190">
                  <a:moveTo>
                    <a:pt x="112" y="56"/>
                  </a:moveTo>
                  <a:cubicBezTo>
                    <a:pt x="112" y="25"/>
                    <a:pt x="87" y="0"/>
                    <a:pt x="56" y="0"/>
                  </a:cubicBezTo>
                  <a:cubicBezTo>
                    <a:pt x="25" y="0"/>
                    <a:pt x="0" y="25"/>
                    <a:pt x="0" y="56"/>
                  </a:cubicBezTo>
                  <a:cubicBezTo>
                    <a:pt x="0" y="85"/>
                    <a:pt x="22" y="109"/>
                    <a:pt x="49" y="112"/>
                  </a:cubicBezTo>
                  <a:cubicBezTo>
                    <a:pt x="49" y="125"/>
                    <a:pt x="49" y="125"/>
                    <a:pt x="49" y="125"/>
                  </a:cubicBezTo>
                  <a:cubicBezTo>
                    <a:pt x="43" y="125"/>
                    <a:pt x="43" y="125"/>
                    <a:pt x="43" y="125"/>
                  </a:cubicBezTo>
                  <a:cubicBezTo>
                    <a:pt x="43" y="190"/>
                    <a:pt x="43" y="190"/>
                    <a:pt x="43" y="190"/>
                  </a:cubicBezTo>
                  <a:cubicBezTo>
                    <a:pt x="69" y="190"/>
                    <a:pt x="69" y="190"/>
                    <a:pt x="69" y="190"/>
                  </a:cubicBezTo>
                  <a:cubicBezTo>
                    <a:pt x="69" y="125"/>
                    <a:pt x="69" y="125"/>
                    <a:pt x="69" y="125"/>
                  </a:cubicBezTo>
                  <a:cubicBezTo>
                    <a:pt x="63" y="125"/>
                    <a:pt x="63" y="125"/>
                    <a:pt x="63" y="125"/>
                  </a:cubicBezTo>
                  <a:cubicBezTo>
                    <a:pt x="63" y="112"/>
                    <a:pt x="63" y="112"/>
                    <a:pt x="63" y="112"/>
                  </a:cubicBezTo>
                  <a:cubicBezTo>
                    <a:pt x="91" y="109"/>
                    <a:pt x="112" y="85"/>
                    <a:pt x="112" y="56"/>
                  </a:cubicBezTo>
                  <a:close/>
                  <a:moveTo>
                    <a:pt x="21" y="56"/>
                  </a:moveTo>
                  <a:cubicBezTo>
                    <a:pt x="21" y="37"/>
                    <a:pt x="37" y="21"/>
                    <a:pt x="56" y="21"/>
                  </a:cubicBezTo>
                  <a:cubicBezTo>
                    <a:pt x="76" y="21"/>
                    <a:pt x="92" y="37"/>
                    <a:pt x="92" y="56"/>
                  </a:cubicBezTo>
                  <a:cubicBezTo>
                    <a:pt x="92" y="76"/>
                    <a:pt x="76" y="92"/>
                    <a:pt x="56" y="92"/>
                  </a:cubicBezTo>
                  <a:cubicBezTo>
                    <a:pt x="37" y="92"/>
                    <a:pt x="21" y="76"/>
                    <a:pt x="21" y="56"/>
                  </a:cubicBezTo>
                  <a:close/>
                </a:path>
              </a:pathLst>
            </a:custGeom>
            <a:solidFill>
              <a:schemeClr val="bg1"/>
            </a:solidFill>
            <a:ln>
              <a:noFill/>
            </a:ln>
          </p:spPr>
          <p:txBody>
            <a:bodyPr vert="horz" wrap="square" lIns="92531" tIns="46267" rIns="92531" bIns="46267" numCol="1" anchor="t" anchorCtr="0" compatLnSpc="1">
              <a:prstTxWarp prst="textNoShape">
                <a:avLst/>
              </a:prstTxWarp>
            </a:bodyPr>
            <a:lstStyle/>
            <a:p>
              <a:pPr defTabSz="914377">
                <a:defRPr/>
              </a:pPr>
              <a:endParaRPr lang="en-US" sz="999">
                <a:solidFill>
                  <a:prstClr val="black"/>
                </a:solidFill>
                <a:latin typeface="Arial" panose="020B0604020202020204" pitchFamily="34" charset="0"/>
              </a:endParaRPr>
            </a:p>
          </p:txBody>
        </p:sp>
        <p:sp>
          <p:nvSpPr>
            <p:cNvPr id="156" name="Freeform 29">
              <a:extLst>
                <a:ext uri="{FF2B5EF4-FFF2-40B4-BE49-F238E27FC236}">
                  <a16:creationId xmlns:a16="http://schemas.microsoft.com/office/drawing/2014/main" id="{5F4DB87A-F18A-47B9-9E4D-6BA83F729920}"/>
                </a:ext>
              </a:extLst>
            </p:cNvPr>
            <p:cNvSpPr>
              <a:spLocks/>
            </p:cNvSpPr>
            <p:nvPr>
              <p:custDataLst>
                <p:tags r:id="rId3"/>
              </p:custDataLst>
            </p:nvPr>
          </p:nvSpPr>
          <p:spPr bwMode="gray">
            <a:xfrm rot="13569486">
              <a:off x="3936339" y="2430327"/>
              <a:ext cx="1290313" cy="1347598"/>
            </a:xfrm>
            <a:custGeom>
              <a:avLst/>
              <a:gdLst>
                <a:gd name="T0" fmla="*/ 2121034554 w 301"/>
                <a:gd name="T1" fmla="*/ 1296596275 h 309"/>
                <a:gd name="T2" fmla="*/ 1362002072 w 301"/>
                <a:gd name="T3" fmla="*/ 1133767904 h 309"/>
                <a:gd name="T4" fmla="*/ 673907041 w 301"/>
                <a:gd name="T5" fmla="*/ 247259053 h 309"/>
                <a:gd name="T6" fmla="*/ 333405857 w 301"/>
                <a:gd name="T7" fmla="*/ 0 h 309"/>
                <a:gd name="T8" fmla="*/ 0 w 301"/>
                <a:gd name="T9" fmla="*/ 253287903 h 309"/>
                <a:gd name="T10" fmla="*/ 2064285259 w 301"/>
                <a:gd name="T11" fmla="*/ 1863480074 h 309"/>
                <a:gd name="T12" fmla="*/ 2135222544 w 301"/>
                <a:gd name="T13" fmla="*/ 1863480074 h 309"/>
                <a:gd name="T14" fmla="*/ 1830190086 w 301"/>
                <a:gd name="T15" fmla="*/ 1574006869 h 309"/>
                <a:gd name="T16" fmla="*/ 2121034554 w 301"/>
                <a:gd name="T17" fmla="*/ 1296596275 h 3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1"/>
                <a:gd name="T28" fmla="*/ 0 h 309"/>
                <a:gd name="T29" fmla="*/ 301 w 301"/>
                <a:gd name="T30" fmla="*/ 309 h 3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1" h="309">
                  <a:moveTo>
                    <a:pt x="299" y="215"/>
                  </a:moveTo>
                  <a:cubicBezTo>
                    <a:pt x="263" y="216"/>
                    <a:pt x="226" y="208"/>
                    <a:pt x="192" y="188"/>
                  </a:cubicBezTo>
                  <a:cubicBezTo>
                    <a:pt x="136" y="156"/>
                    <a:pt x="102" y="101"/>
                    <a:pt x="95" y="41"/>
                  </a:cubicBezTo>
                  <a:cubicBezTo>
                    <a:pt x="47" y="0"/>
                    <a:pt x="47" y="0"/>
                    <a:pt x="47" y="0"/>
                  </a:cubicBezTo>
                  <a:cubicBezTo>
                    <a:pt x="0" y="42"/>
                    <a:pt x="0" y="42"/>
                    <a:pt x="0" y="42"/>
                  </a:cubicBezTo>
                  <a:cubicBezTo>
                    <a:pt x="13" y="191"/>
                    <a:pt x="138" y="309"/>
                    <a:pt x="291" y="309"/>
                  </a:cubicBezTo>
                  <a:cubicBezTo>
                    <a:pt x="295" y="309"/>
                    <a:pt x="298" y="309"/>
                    <a:pt x="301" y="309"/>
                  </a:cubicBezTo>
                  <a:cubicBezTo>
                    <a:pt x="258" y="261"/>
                    <a:pt x="258" y="261"/>
                    <a:pt x="258" y="261"/>
                  </a:cubicBezTo>
                  <a:lnTo>
                    <a:pt x="299" y="215"/>
                  </a:lnTo>
                  <a:close/>
                </a:path>
              </a:pathLst>
            </a:custGeom>
            <a:solidFill>
              <a:srgbClr val="76A4D3"/>
            </a:solidFill>
            <a:ln w="3175" cap="flat" cmpd="sng">
              <a:noFill/>
              <a:prstDash val="solid"/>
              <a:round/>
              <a:headEnd type="none" w="med" len="med"/>
              <a:tailEnd type="none" w="med" len="med"/>
            </a:ln>
          </p:spPr>
          <p:txBody>
            <a:bodyPr/>
            <a:lstStyle/>
            <a:p>
              <a:pPr defTabSz="914377">
                <a:defRPr/>
              </a:pPr>
              <a:endParaRPr lang="en-GB" sz="455">
                <a:solidFill>
                  <a:prstClr val="black"/>
                </a:solidFill>
                <a:latin typeface="Segoe UI"/>
              </a:endParaRPr>
            </a:p>
          </p:txBody>
        </p:sp>
        <p:sp>
          <p:nvSpPr>
            <p:cNvPr id="167" name="Freeform 30">
              <a:extLst>
                <a:ext uri="{FF2B5EF4-FFF2-40B4-BE49-F238E27FC236}">
                  <a16:creationId xmlns:a16="http://schemas.microsoft.com/office/drawing/2014/main" id="{9A95882B-666C-45AE-B0B3-5994B6C497FB}"/>
                </a:ext>
              </a:extLst>
            </p:cNvPr>
            <p:cNvSpPr>
              <a:spLocks/>
            </p:cNvSpPr>
            <p:nvPr>
              <p:custDataLst>
                <p:tags r:id="rId4"/>
              </p:custDataLst>
            </p:nvPr>
          </p:nvSpPr>
          <p:spPr bwMode="gray">
            <a:xfrm rot="18981258">
              <a:off x="2197971" y="2406783"/>
              <a:ext cx="1337167" cy="1297283"/>
            </a:xfrm>
            <a:custGeom>
              <a:avLst/>
              <a:gdLst>
                <a:gd name="T0" fmla="*/ 668301856 w 309"/>
                <a:gd name="T1" fmla="*/ 1790512433 h 300"/>
                <a:gd name="T2" fmla="*/ 860260111 w 309"/>
                <a:gd name="T3" fmla="*/ 1157502897 h 300"/>
                <a:gd name="T4" fmla="*/ 1898261168 w 309"/>
                <a:gd name="T5" fmla="*/ 572723608 h 300"/>
                <a:gd name="T6" fmla="*/ 2147483647 w 309"/>
                <a:gd name="T7" fmla="*/ 277317587 h 300"/>
                <a:gd name="T8" fmla="*/ 1905369739 w 309"/>
                <a:gd name="T9" fmla="*/ 0 h 300"/>
                <a:gd name="T10" fmla="*/ 0 w 309"/>
                <a:gd name="T11" fmla="*/ 1754340477 h 300"/>
                <a:gd name="T12" fmla="*/ 0 w 309"/>
                <a:gd name="T13" fmla="*/ 1808598411 h 300"/>
                <a:gd name="T14" fmla="*/ 341259499 w 309"/>
                <a:gd name="T15" fmla="*/ 1549366879 h 300"/>
                <a:gd name="T16" fmla="*/ 668301856 w 309"/>
                <a:gd name="T17" fmla="*/ 1790512433 h 3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300"/>
                <a:gd name="T29" fmla="*/ 309 w 309"/>
                <a:gd name="T30" fmla="*/ 300 h 3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300">
                  <a:moveTo>
                    <a:pt x="94" y="297"/>
                  </a:moveTo>
                  <a:cubicBezTo>
                    <a:pt x="93" y="262"/>
                    <a:pt x="101" y="225"/>
                    <a:pt x="121" y="192"/>
                  </a:cubicBezTo>
                  <a:cubicBezTo>
                    <a:pt x="153" y="136"/>
                    <a:pt x="208" y="102"/>
                    <a:pt x="267" y="95"/>
                  </a:cubicBezTo>
                  <a:cubicBezTo>
                    <a:pt x="309" y="46"/>
                    <a:pt x="309" y="46"/>
                    <a:pt x="309" y="46"/>
                  </a:cubicBezTo>
                  <a:cubicBezTo>
                    <a:pt x="268" y="0"/>
                    <a:pt x="268" y="0"/>
                    <a:pt x="268" y="0"/>
                  </a:cubicBezTo>
                  <a:cubicBezTo>
                    <a:pt x="118" y="12"/>
                    <a:pt x="0" y="138"/>
                    <a:pt x="0" y="291"/>
                  </a:cubicBezTo>
                  <a:cubicBezTo>
                    <a:pt x="0" y="294"/>
                    <a:pt x="0" y="297"/>
                    <a:pt x="0" y="300"/>
                  </a:cubicBezTo>
                  <a:cubicBezTo>
                    <a:pt x="48" y="257"/>
                    <a:pt x="48" y="257"/>
                    <a:pt x="48" y="257"/>
                  </a:cubicBezTo>
                  <a:lnTo>
                    <a:pt x="94" y="297"/>
                  </a:lnTo>
                  <a:close/>
                </a:path>
              </a:pathLst>
            </a:custGeom>
            <a:solidFill>
              <a:srgbClr val="3F7FC2"/>
            </a:solidFill>
            <a:ln w="3175" cap="flat" cmpd="sng">
              <a:noFill/>
              <a:prstDash val="solid"/>
              <a:round/>
              <a:headEnd type="none" w="med" len="med"/>
              <a:tailEnd type="none" w="med" len="med"/>
            </a:ln>
          </p:spPr>
          <p:txBody>
            <a:bodyPr/>
            <a:lstStyle/>
            <a:p>
              <a:pPr defTabSz="914377">
                <a:defRPr/>
              </a:pPr>
              <a:endParaRPr lang="en-GB" sz="455">
                <a:solidFill>
                  <a:prstClr val="black"/>
                </a:solidFill>
                <a:latin typeface="Segoe UI"/>
              </a:endParaRPr>
            </a:p>
          </p:txBody>
        </p:sp>
        <p:sp>
          <p:nvSpPr>
            <p:cNvPr id="168" name="Freeform 30">
              <a:extLst>
                <a:ext uri="{FF2B5EF4-FFF2-40B4-BE49-F238E27FC236}">
                  <a16:creationId xmlns:a16="http://schemas.microsoft.com/office/drawing/2014/main" id="{8BEA7C38-4C48-44CB-8F5A-BD8B83CAC00A}"/>
                </a:ext>
              </a:extLst>
            </p:cNvPr>
            <p:cNvSpPr>
              <a:spLocks/>
            </p:cNvSpPr>
            <p:nvPr>
              <p:custDataLst>
                <p:tags r:id="rId5"/>
              </p:custDataLst>
            </p:nvPr>
          </p:nvSpPr>
          <p:spPr bwMode="gray">
            <a:xfrm rot="13581258">
              <a:off x="3023251" y="3271716"/>
              <a:ext cx="1326082" cy="1308125"/>
            </a:xfrm>
            <a:custGeom>
              <a:avLst/>
              <a:gdLst>
                <a:gd name="T0" fmla="*/ 668301856 w 309"/>
                <a:gd name="T1" fmla="*/ 1790512433 h 300"/>
                <a:gd name="T2" fmla="*/ 860260111 w 309"/>
                <a:gd name="T3" fmla="*/ 1157502897 h 300"/>
                <a:gd name="T4" fmla="*/ 1898261168 w 309"/>
                <a:gd name="T5" fmla="*/ 572723608 h 300"/>
                <a:gd name="T6" fmla="*/ 2147483647 w 309"/>
                <a:gd name="T7" fmla="*/ 277317587 h 300"/>
                <a:gd name="T8" fmla="*/ 1905369739 w 309"/>
                <a:gd name="T9" fmla="*/ 0 h 300"/>
                <a:gd name="T10" fmla="*/ 0 w 309"/>
                <a:gd name="T11" fmla="*/ 1754340477 h 300"/>
                <a:gd name="T12" fmla="*/ 0 w 309"/>
                <a:gd name="T13" fmla="*/ 1808598411 h 300"/>
                <a:gd name="T14" fmla="*/ 341259499 w 309"/>
                <a:gd name="T15" fmla="*/ 1549366879 h 300"/>
                <a:gd name="T16" fmla="*/ 668301856 w 309"/>
                <a:gd name="T17" fmla="*/ 1790512433 h 3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300"/>
                <a:gd name="T29" fmla="*/ 309 w 309"/>
                <a:gd name="T30" fmla="*/ 300 h 3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300">
                  <a:moveTo>
                    <a:pt x="94" y="297"/>
                  </a:moveTo>
                  <a:cubicBezTo>
                    <a:pt x="93" y="262"/>
                    <a:pt x="101" y="225"/>
                    <a:pt x="121" y="192"/>
                  </a:cubicBezTo>
                  <a:cubicBezTo>
                    <a:pt x="153" y="136"/>
                    <a:pt x="208" y="102"/>
                    <a:pt x="267" y="95"/>
                  </a:cubicBezTo>
                  <a:cubicBezTo>
                    <a:pt x="309" y="46"/>
                    <a:pt x="309" y="46"/>
                    <a:pt x="309" y="46"/>
                  </a:cubicBezTo>
                  <a:cubicBezTo>
                    <a:pt x="268" y="0"/>
                    <a:pt x="268" y="0"/>
                    <a:pt x="268" y="0"/>
                  </a:cubicBezTo>
                  <a:cubicBezTo>
                    <a:pt x="118" y="12"/>
                    <a:pt x="0" y="138"/>
                    <a:pt x="0" y="291"/>
                  </a:cubicBezTo>
                  <a:cubicBezTo>
                    <a:pt x="0" y="294"/>
                    <a:pt x="0" y="297"/>
                    <a:pt x="0" y="300"/>
                  </a:cubicBezTo>
                  <a:cubicBezTo>
                    <a:pt x="48" y="257"/>
                    <a:pt x="48" y="257"/>
                    <a:pt x="48" y="257"/>
                  </a:cubicBezTo>
                  <a:lnTo>
                    <a:pt x="94" y="297"/>
                  </a:lnTo>
                  <a:close/>
                </a:path>
              </a:pathLst>
            </a:custGeom>
            <a:solidFill>
              <a:srgbClr val="76A4D3"/>
            </a:solidFill>
            <a:ln w="3175" cap="flat" cmpd="sng">
              <a:solidFill>
                <a:srgbClr val="72A1D2"/>
              </a:solidFill>
              <a:prstDash val="solid"/>
              <a:round/>
              <a:headEnd type="none" w="med" len="med"/>
              <a:tailEnd type="none" w="med" len="med"/>
            </a:ln>
          </p:spPr>
          <p:txBody>
            <a:bodyPr/>
            <a:lstStyle/>
            <a:p>
              <a:pPr defTabSz="914377">
                <a:defRPr/>
              </a:pPr>
              <a:endParaRPr lang="en-GB" sz="455">
                <a:solidFill>
                  <a:prstClr val="black"/>
                </a:solidFill>
                <a:latin typeface="Segoe UI"/>
              </a:endParaRPr>
            </a:p>
          </p:txBody>
        </p:sp>
        <p:sp>
          <p:nvSpPr>
            <p:cNvPr id="169" name="TextBox 168">
              <a:extLst>
                <a:ext uri="{FF2B5EF4-FFF2-40B4-BE49-F238E27FC236}">
                  <a16:creationId xmlns:a16="http://schemas.microsoft.com/office/drawing/2014/main" id="{89BFC5C4-31B9-4568-97F2-CAD526631C5D}"/>
                </a:ext>
              </a:extLst>
            </p:cNvPr>
            <p:cNvSpPr txBox="1"/>
            <p:nvPr/>
          </p:nvSpPr>
          <p:spPr>
            <a:xfrm>
              <a:off x="3038768" y="2961946"/>
              <a:ext cx="1372622" cy="284362"/>
            </a:xfrm>
            <a:prstGeom prst="rect">
              <a:avLst/>
            </a:prstGeom>
            <a:noFill/>
          </p:spPr>
          <p:txBody>
            <a:bodyPr wrap="square" lIns="36429" tIns="36429" rIns="36429" bIns="36429" rtlCol="0">
              <a:spAutoFit/>
            </a:bodyPr>
            <a:lstStyle/>
            <a:p>
              <a:pPr algn="ctr" defTabSz="914377">
                <a:spcBef>
                  <a:spcPts val="607"/>
                </a:spcBef>
                <a:defRPr/>
              </a:pPr>
              <a:r>
                <a:rPr lang="en-GB" sz="1400">
                  <a:solidFill>
                    <a:srgbClr val="0078D4">
                      <a:lumMod val="75000"/>
                    </a:srgbClr>
                  </a:solidFill>
                  <a:latin typeface="Segoe UI Bold" panose="020B0802040204020203" pitchFamily="34" charset="0"/>
                  <a:cs typeface="Segoe UI Bold" panose="020B0802040204020203" pitchFamily="34" charset="0"/>
                </a:rPr>
                <a:t>ML</a:t>
              </a:r>
            </a:p>
          </p:txBody>
        </p:sp>
      </p:grpSp>
      <p:sp>
        <p:nvSpPr>
          <p:cNvPr id="20" name="TextBox 8">
            <a:extLst>
              <a:ext uri="{FF2B5EF4-FFF2-40B4-BE49-F238E27FC236}">
                <a16:creationId xmlns:a16="http://schemas.microsoft.com/office/drawing/2014/main" id="{3ADA5403-A569-4263-9073-B93C7AF731CF}"/>
              </a:ext>
            </a:extLst>
          </p:cNvPr>
          <p:cNvSpPr txBox="1"/>
          <p:nvPr/>
        </p:nvSpPr>
        <p:spPr>
          <a:xfrm>
            <a:off x="4897463" y="5278630"/>
            <a:ext cx="3130428" cy="830997"/>
          </a:xfrm>
          <a:prstGeom prst="rect">
            <a:avLst/>
          </a:prstGeom>
          <a:noFill/>
        </p:spPr>
        <p:txBody>
          <a:bodyPr wrap="square" lIns="0" tIns="0" rIns="0" bIns="0" rtlCol="0">
            <a:spAutoFit/>
          </a:bodyPr>
          <a:lstStyle/>
          <a:p>
            <a:pPr marL="457171" lvl="1" defTabSz="896196">
              <a:defRPr/>
            </a:pPr>
            <a:r>
              <a:rPr lang="en-US" b="1" kern="800" spc="99">
                <a:solidFill>
                  <a:srgbClr val="0078D4"/>
                </a:solidFill>
                <a:latin typeface="Segoe UI Light"/>
                <a:cs typeface="Segoe UI Semibold" panose="020B0702040204020203" pitchFamily="34" charset="0"/>
              </a:rPr>
              <a:t>	   + Testing</a:t>
            </a:r>
          </a:p>
          <a:p>
            <a:pPr defTabSz="896196">
              <a:defRPr/>
            </a:pPr>
            <a:r>
              <a:rPr lang="en-US" b="1" kern="800" spc="99">
                <a:solidFill>
                  <a:srgbClr val="0078D4"/>
                </a:solidFill>
                <a:latin typeface="Segoe UI Light"/>
                <a:cs typeface="Segoe UI Semibold" panose="020B0702040204020203" pitchFamily="34" charset="0"/>
              </a:rPr>
              <a:t>Continuous Integration</a:t>
            </a:r>
          </a:p>
          <a:p>
            <a:pPr defTabSz="896196">
              <a:defRPr/>
            </a:pPr>
            <a:r>
              <a:rPr lang="en-US" b="1" kern="800" spc="99">
                <a:solidFill>
                  <a:srgbClr val="0078D4"/>
                </a:solidFill>
                <a:latin typeface="Segoe UI Light"/>
                <a:cs typeface="Segoe UI Semibold" panose="020B0702040204020203" pitchFamily="34" charset="0"/>
              </a:rPr>
              <a:t>Continuous Deployment</a:t>
            </a:r>
          </a:p>
        </p:txBody>
      </p:sp>
      <p:pic>
        <p:nvPicPr>
          <p:cNvPr id="22" name="Picture 21">
            <a:extLst>
              <a:ext uri="{FF2B5EF4-FFF2-40B4-BE49-F238E27FC236}">
                <a16:creationId xmlns:a16="http://schemas.microsoft.com/office/drawing/2014/main" id="{2C8D4BF8-A1E7-4EA5-AD13-9A8CCC510EFD}"/>
              </a:ext>
            </a:extLst>
          </p:cNvPr>
          <p:cNvPicPr>
            <a:picLocks noChangeAspect="1"/>
          </p:cNvPicPr>
          <p:nvPr/>
        </p:nvPicPr>
        <p:blipFill>
          <a:blip r:embed="rId8">
            <a:clrChange>
              <a:clrFrom>
                <a:srgbClr val="FFFFFF"/>
              </a:clrFrom>
              <a:clrTo>
                <a:srgbClr val="FFFFFF">
                  <a:alpha val="0"/>
                </a:srgbClr>
              </a:clrTo>
            </a:clrChange>
            <a:duotone>
              <a:srgbClr val="0078D4">
                <a:shade val="45000"/>
                <a:satMod val="135000"/>
              </a:srgbClr>
              <a:prstClr val="white"/>
            </a:duotone>
          </a:blip>
          <a:stretch>
            <a:fillRect/>
          </a:stretch>
        </p:blipFill>
        <p:spPr>
          <a:xfrm>
            <a:off x="4551211" y="1687403"/>
            <a:ext cx="4681949" cy="2687880"/>
          </a:xfrm>
          <a:prstGeom prst="rect">
            <a:avLst/>
          </a:prstGeom>
        </p:spPr>
      </p:pic>
    </p:spTree>
    <p:extLst>
      <p:ext uri="{BB962C8B-B14F-4D97-AF65-F5344CB8AC3E}">
        <p14:creationId xmlns:p14="http://schemas.microsoft.com/office/powerpoint/2010/main" val="34266410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2" grpId="0"/>
      <p:bldP spid="2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4647"/>
        <p:cNvGrpSpPr/>
        <p:nvPr/>
      </p:nvGrpSpPr>
      <p:grpSpPr>
        <a:xfrm>
          <a:off x="0" y="0"/>
          <a:ext cx="0" cy="0"/>
          <a:chOff x="0" y="0"/>
          <a:chExt cx="0" cy="0"/>
        </a:xfrm>
      </p:grpSpPr>
      <p:sp>
        <p:nvSpPr>
          <p:cNvPr id="4648" name="Google Shape;4648;p171"/>
          <p:cNvSpPr/>
          <p:nvPr/>
        </p:nvSpPr>
        <p:spPr>
          <a:xfrm>
            <a:off x="347574" y="1203330"/>
            <a:ext cx="11528400" cy="5337900"/>
          </a:xfrm>
          <a:prstGeom prst="rect">
            <a:avLst/>
          </a:prstGeom>
          <a:noFill/>
          <a:ln w="28575" cap="flat" cmpd="sng">
            <a:solidFill>
              <a:srgbClr val="D9D9D9"/>
            </a:solidFill>
            <a:prstDash val="solid"/>
            <a:round/>
            <a:headEnd type="none" w="sm" len="sm"/>
            <a:tailEnd type="none" w="sm" len="sm"/>
          </a:ln>
        </p:spPr>
        <p:txBody>
          <a:bodyPr spcFirstLastPara="1" wrap="square" lIns="182850" tIns="146275" rIns="182850" bIns="146275" anchor="t" anchorCtr="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endParaRPr kumimoji="0" sz="2400" b="0"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sp>
        <p:nvSpPr>
          <p:cNvPr id="4649" name="Google Shape;4649;p171"/>
          <p:cNvSpPr txBox="1">
            <a:spLocks noGrp="1"/>
          </p:cNvSpPr>
          <p:nvPr>
            <p:ph type="title"/>
          </p:nvPr>
        </p:nvSpPr>
        <p:spPr>
          <a:xfrm>
            <a:off x="275550" y="57750"/>
            <a:ext cx="11336100" cy="909000"/>
          </a:xfrm>
          <a:prstGeom prst="rect">
            <a:avLst/>
          </a:prstGeom>
          <a:noFill/>
          <a:ln>
            <a:noFill/>
          </a:ln>
        </p:spPr>
        <p:txBody>
          <a:bodyPr spcFirstLastPara="1" wrap="square" lIns="0" tIns="164575" rIns="0" bIns="0" anchor="t" anchorCtr="0">
            <a:noAutofit/>
          </a:bodyPr>
          <a:lstStyle/>
          <a:p>
            <a:pPr marL="0" lvl="0" indent="0" algn="l" rtl="0">
              <a:lnSpc>
                <a:spcPct val="90000"/>
              </a:lnSpc>
              <a:spcBef>
                <a:spcPts val="0"/>
              </a:spcBef>
              <a:spcAft>
                <a:spcPts val="0"/>
              </a:spcAft>
              <a:buClr>
                <a:srgbClr val="000000"/>
              </a:buClr>
              <a:buSzPts val="3700"/>
              <a:buFont typeface="Quattrocento Sans"/>
              <a:buNone/>
            </a:pPr>
            <a:r>
              <a:rPr lang="en-US" sz="4500" b="1">
                <a:latin typeface="Calibri"/>
                <a:ea typeface="Calibri"/>
                <a:cs typeface="Calibri"/>
                <a:sym typeface="Calibri"/>
              </a:rPr>
              <a:t>Machine Learning on Azure</a:t>
            </a:r>
            <a:endParaRPr sz="4500" b="1">
              <a:latin typeface="Calibri"/>
              <a:ea typeface="Calibri"/>
              <a:cs typeface="Calibri"/>
              <a:sym typeface="Calibri"/>
            </a:endParaRPr>
          </a:p>
        </p:txBody>
      </p:sp>
      <p:sp>
        <p:nvSpPr>
          <p:cNvPr id="4650" name="Google Shape;4650;p171"/>
          <p:cNvSpPr/>
          <p:nvPr/>
        </p:nvSpPr>
        <p:spPr>
          <a:xfrm>
            <a:off x="3245987" y="6153784"/>
            <a:ext cx="6533316" cy="645179"/>
          </a:xfrm>
          <a:prstGeom prst="rect">
            <a:avLst/>
          </a:prstGeom>
          <a:solidFill>
            <a:schemeClr val="accent5"/>
          </a:solidFill>
          <a:ln>
            <a:noFill/>
          </a:ln>
        </p:spPr>
        <p:txBody>
          <a:bodyPr spcFirstLastPara="1" wrap="square" lIns="182850" tIns="146275" rIns="182850" bIns="146275" anchor="t" anchorCtr="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endParaRPr kumimoji="0" sz="2400" b="0"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grpSp>
        <p:nvGrpSpPr>
          <p:cNvPr id="4652" name="Google Shape;4652;p171"/>
          <p:cNvGrpSpPr/>
          <p:nvPr/>
        </p:nvGrpSpPr>
        <p:grpSpPr>
          <a:xfrm>
            <a:off x="515302" y="1163199"/>
            <a:ext cx="11192945" cy="4870382"/>
            <a:chOff x="509501" y="1346897"/>
            <a:chExt cx="11194064" cy="4870869"/>
          </a:xfrm>
        </p:grpSpPr>
        <p:sp>
          <p:nvSpPr>
            <p:cNvPr id="4653" name="Google Shape;4653;p171"/>
            <p:cNvSpPr/>
            <p:nvPr/>
          </p:nvSpPr>
          <p:spPr>
            <a:xfrm>
              <a:off x="6954243" y="1346897"/>
              <a:ext cx="4749322" cy="4792101"/>
            </a:xfrm>
            <a:prstGeom prst="rect">
              <a:avLst/>
            </a:prstGeom>
            <a:solidFill>
              <a:schemeClr val="lt2"/>
            </a:solidFill>
            <a:ln>
              <a:noFill/>
            </a:ln>
          </p:spPr>
          <p:txBody>
            <a:bodyPr spcFirstLastPara="1" wrap="square" lIns="182850" tIns="146275" rIns="182850" bIns="146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sp>
          <p:nvSpPr>
            <p:cNvPr id="4654" name="Google Shape;4654;p171"/>
            <p:cNvSpPr/>
            <p:nvPr/>
          </p:nvSpPr>
          <p:spPr>
            <a:xfrm>
              <a:off x="529597" y="1423106"/>
              <a:ext cx="6424500" cy="844200"/>
            </a:xfrm>
            <a:prstGeom prst="rect">
              <a:avLst/>
            </a:prstGeom>
            <a:solidFill>
              <a:schemeClr val="lt1"/>
            </a:solidFill>
            <a:ln>
              <a:noFill/>
            </a:ln>
          </p:spPr>
          <p:txBody>
            <a:bodyPr spcFirstLastPara="1" wrap="square" lIns="182850" tIns="146275" rIns="182850" bIns="146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000000"/>
                  </a:solidFill>
                  <a:effectLst/>
                  <a:uLnTx/>
                  <a:uFillTx/>
                  <a:latin typeface="Calibri"/>
                  <a:ea typeface="Calibri"/>
                  <a:cs typeface="Calibri"/>
                  <a:sym typeface="Calibri"/>
                </a:rPr>
                <a:t>Domain Specific Pretrained Models</a:t>
              </a:r>
              <a:endParaRPr kumimoji="0" sz="2000" b="0" i="0" u="none" strike="noStrike" kern="0" cap="none" spc="0" normalizeH="0" baseline="0" noProof="0">
                <a:ln>
                  <a:noFill/>
                </a:ln>
                <a:solidFill>
                  <a:srgbClr val="000000"/>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a:ln>
                    <a:noFill/>
                  </a:ln>
                  <a:solidFill>
                    <a:srgbClr val="000000"/>
                  </a:solidFill>
                  <a:effectLst/>
                  <a:uLnTx/>
                  <a:uFillTx/>
                  <a:latin typeface="Calibri"/>
                  <a:ea typeface="Calibri"/>
                  <a:cs typeface="Calibri"/>
                  <a:sym typeface="Calibri"/>
                </a:rPr>
                <a:t>To reduce time to market</a:t>
              </a:r>
              <a:endParaRPr kumimoji="0" sz="20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4655" name="Google Shape;4655;p171"/>
            <p:cNvSpPr txBox="1"/>
            <p:nvPr/>
          </p:nvSpPr>
          <p:spPr>
            <a:xfrm>
              <a:off x="7013689" y="4766429"/>
              <a:ext cx="1118768" cy="346633"/>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Azure </a:t>
              </a:r>
              <a:br>
                <a:rPr kumimoji="0" lang="en-US" sz="9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br>
              <a:r>
                <a:rPr kumimoji="0" lang="en-US" sz="9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Databricks</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56" name="Google Shape;4656;p171"/>
            <p:cNvSpPr txBox="1"/>
            <p:nvPr/>
          </p:nvSpPr>
          <p:spPr>
            <a:xfrm>
              <a:off x="10570848" y="4766429"/>
              <a:ext cx="1118768" cy="346633"/>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Machine </a:t>
              </a:r>
              <a:br>
                <a:rPr kumimoji="0" lang="en-US" sz="9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br>
              <a:r>
                <a:rPr kumimoji="0" lang="en-US" sz="9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Learning VMs</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57" name="Google Shape;4657;p171"/>
            <p:cNvSpPr/>
            <p:nvPr/>
          </p:nvSpPr>
          <p:spPr>
            <a:xfrm>
              <a:off x="529596" y="3283034"/>
              <a:ext cx="6423222" cy="844198"/>
            </a:xfrm>
            <a:prstGeom prst="rect">
              <a:avLst/>
            </a:prstGeom>
            <a:solidFill>
              <a:schemeClr val="lt1"/>
            </a:solidFill>
            <a:ln>
              <a:noFill/>
            </a:ln>
          </p:spPr>
          <p:txBody>
            <a:bodyPr spcFirstLastPara="1" wrap="square" lIns="182850" tIns="146275" rIns="182850" bIns="146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000000"/>
                  </a:solidFill>
                  <a:effectLst/>
                  <a:uLnTx/>
                  <a:uFillTx/>
                  <a:latin typeface="Calibri"/>
                  <a:ea typeface="Calibri"/>
                  <a:cs typeface="Calibri"/>
                  <a:sym typeface="Calibri"/>
                </a:rPr>
                <a:t>Popular Frameworks</a:t>
              </a:r>
              <a:endParaRPr kumimoji="0" sz="2000" b="0" i="0" u="none" strike="noStrike" kern="0" cap="none" spc="0" normalizeH="0" baseline="0" noProof="0">
                <a:ln>
                  <a:noFill/>
                </a:ln>
                <a:solidFill>
                  <a:srgbClr val="000000"/>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a:ln>
                    <a:noFill/>
                  </a:ln>
                  <a:solidFill>
                    <a:srgbClr val="000000"/>
                  </a:solidFill>
                  <a:effectLst/>
                  <a:uLnTx/>
                  <a:uFillTx/>
                  <a:latin typeface="Calibri"/>
                  <a:ea typeface="Calibri"/>
                  <a:cs typeface="Calibri"/>
                  <a:sym typeface="Calibri"/>
                </a:rPr>
                <a:t>To build machine learning and deep learning solutions </a:t>
              </a:r>
              <a:endParaRPr kumimoji="0" sz="20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4658" name="Google Shape;4658;p171"/>
            <p:cNvSpPr txBox="1"/>
            <p:nvPr/>
          </p:nvSpPr>
          <p:spPr>
            <a:xfrm>
              <a:off x="8228198" y="3846520"/>
              <a:ext cx="1076060" cy="219484"/>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TensorFlow</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59" name="Google Shape;4659;p171"/>
            <p:cNvSpPr txBox="1"/>
            <p:nvPr/>
          </p:nvSpPr>
          <p:spPr>
            <a:xfrm>
              <a:off x="7035043" y="3846520"/>
              <a:ext cx="1076060" cy="219484"/>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PyTorch</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60" name="Google Shape;4660;p171"/>
            <p:cNvSpPr txBox="1"/>
            <p:nvPr/>
          </p:nvSpPr>
          <p:spPr>
            <a:xfrm>
              <a:off x="10592202" y="3846520"/>
              <a:ext cx="1076060" cy="219484"/>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ONNX</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61" name="Google Shape;4661;p171"/>
            <p:cNvSpPr txBox="1"/>
            <p:nvPr/>
          </p:nvSpPr>
          <p:spPr>
            <a:xfrm>
              <a:off x="8630452" y="4766429"/>
              <a:ext cx="1315630" cy="346633"/>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000000"/>
                  </a:solidFill>
                  <a:effectLst/>
                  <a:uLnTx/>
                  <a:uFillTx/>
                  <a:latin typeface="Quattrocento Sans"/>
                  <a:ea typeface="Quattrocento Sans"/>
                  <a:cs typeface="Quattrocento Sans"/>
                  <a:sym typeface="Quattrocento Sans"/>
                </a:rPr>
                <a:t>Azure Machine Learning</a:t>
              </a:r>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4662" name="Google Shape;4662;p171"/>
            <p:cNvSpPr txBox="1"/>
            <p:nvPr/>
          </p:nvSpPr>
          <p:spPr>
            <a:xfrm>
              <a:off x="9585274" y="1873130"/>
              <a:ext cx="753138" cy="219484"/>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Language</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63" name="Google Shape;4663;p171"/>
            <p:cNvSpPr txBox="1"/>
            <p:nvPr/>
          </p:nvSpPr>
          <p:spPr>
            <a:xfrm>
              <a:off x="8423733" y="1873130"/>
              <a:ext cx="684991" cy="219484"/>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Speech</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64" name="Google Shape;4664;p171"/>
            <p:cNvSpPr/>
            <p:nvPr/>
          </p:nvSpPr>
          <p:spPr>
            <a:xfrm>
              <a:off x="8613464" y="1537775"/>
              <a:ext cx="308522" cy="206710"/>
            </a:xfrm>
            <a:prstGeom prst="wedgeRoundRectCallout">
              <a:avLst>
                <a:gd name="adj1" fmla="val 30853"/>
                <a:gd name="adj2" fmla="val 79643"/>
                <a:gd name="adj3" fmla="val 16667"/>
              </a:avLst>
            </a:prstGeom>
            <a:noFill/>
            <a:ln w="12700" cap="flat" cmpd="sng">
              <a:solidFill>
                <a:schemeClr val="dk2"/>
              </a:solidFill>
              <a:prstDash val="solid"/>
              <a:round/>
              <a:headEnd type="none" w="sm" len="sm"/>
              <a:tailEnd type="none" w="sm" len="sm"/>
            </a:ln>
          </p:spPr>
          <p:txBody>
            <a:bodyPr spcFirstLastPara="1" wrap="square" lIns="0" tIns="0" rIns="0" bIns="0" anchor="b" anchorCtr="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78D4"/>
                  </a:solidFill>
                  <a:effectLst/>
                  <a:uLnTx/>
                  <a:uFillTx/>
                  <a:latin typeface="Quattrocento Sans"/>
                  <a:ea typeface="Quattrocento Sans"/>
                  <a:cs typeface="Quattrocento Sans"/>
                  <a:sym typeface="Quattrocento Sans"/>
                </a:rPr>
                <a:t>…</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65" name="Google Shape;4665;p171"/>
            <p:cNvSpPr txBox="1"/>
            <p:nvPr/>
          </p:nvSpPr>
          <p:spPr>
            <a:xfrm>
              <a:off x="10757924" y="1873130"/>
              <a:ext cx="744616" cy="219484"/>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Search</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66" name="Google Shape;4666;p171"/>
            <p:cNvSpPr txBox="1"/>
            <p:nvPr/>
          </p:nvSpPr>
          <p:spPr>
            <a:xfrm>
              <a:off x="7230578" y="1873130"/>
              <a:ext cx="684991" cy="219484"/>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Vision</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67" name="Google Shape;4667;p171"/>
            <p:cNvSpPr/>
            <p:nvPr/>
          </p:nvSpPr>
          <p:spPr>
            <a:xfrm>
              <a:off x="509501" y="4283417"/>
              <a:ext cx="6423222" cy="844198"/>
            </a:xfrm>
            <a:prstGeom prst="rect">
              <a:avLst/>
            </a:prstGeom>
            <a:solidFill>
              <a:schemeClr val="lt1"/>
            </a:solidFill>
            <a:ln>
              <a:noFill/>
            </a:ln>
          </p:spPr>
          <p:txBody>
            <a:bodyPr spcFirstLastPara="1" wrap="square" lIns="182850" tIns="146275" rIns="182850" bIns="146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000000"/>
                  </a:solidFill>
                  <a:effectLst/>
                  <a:uLnTx/>
                  <a:uFillTx/>
                  <a:latin typeface="Calibri"/>
                  <a:ea typeface="Calibri"/>
                  <a:cs typeface="Calibri"/>
                  <a:sym typeface="Calibri"/>
                </a:rPr>
                <a:t>Productive Services</a:t>
              </a:r>
              <a:endParaRPr kumimoji="0" sz="2000" b="0" i="0" u="none" strike="noStrike" kern="0" cap="none" spc="0" normalizeH="0" baseline="0" noProof="0">
                <a:ln>
                  <a:noFill/>
                </a:ln>
                <a:solidFill>
                  <a:srgbClr val="000000"/>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a:ln>
                    <a:noFill/>
                  </a:ln>
                  <a:solidFill>
                    <a:srgbClr val="000000"/>
                  </a:solidFill>
                  <a:effectLst/>
                  <a:uLnTx/>
                  <a:uFillTx/>
                  <a:latin typeface="Calibri"/>
                  <a:ea typeface="Calibri"/>
                  <a:cs typeface="Calibri"/>
                  <a:sym typeface="Calibri"/>
                </a:rPr>
                <a:t>To empower data science and development teams</a:t>
              </a:r>
              <a:endParaRPr kumimoji="0" sz="20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4668" name="Google Shape;4668;p171"/>
            <p:cNvSpPr/>
            <p:nvPr/>
          </p:nvSpPr>
          <p:spPr>
            <a:xfrm>
              <a:off x="510876" y="5294811"/>
              <a:ext cx="6423222" cy="844198"/>
            </a:xfrm>
            <a:prstGeom prst="rect">
              <a:avLst/>
            </a:prstGeom>
            <a:solidFill>
              <a:schemeClr val="lt1"/>
            </a:solidFill>
            <a:ln>
              <a:noFill/>
            </a:ln>
          </p:spPr>
          <p:txBody>
            <a:bodyPr spcFirstLastPara="1" wrap="square" lIns="182850" tIns="146275" rIns="182850" bIns="146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000000"/>
                  </a:solidFill>
                  <a:effectLst/>
                  <a:uLnTx/>
                  <a:uFillTx/>
                  <a:latin typeface="Calibri"/>
                  <a:ea typeface="Calibri"/>
                  <a:cs typeface="Calibri"/>
                  <a:sym typeface="Calibri"/>
                </a:rPr>
                <a:t>Powerful Hardware</a:t>
              </a:r>
              <a:endParaRPr kumimoji="0" sz="2000" b="0" i="0" u="none" strike="noStrike" kern="0" cap="none" spc="0" normalizeH="0" baseline="0" noProof="0">
                <a:ln>
                  <a:noFill/>
                </a:ln>
                <a:solidFill>
                  <a:srgbClr val="000000"/>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a:ln>
                    <a:noFill/>
                  </a:ln>
                  <a:solidFill>
                    <a:srgbClr val="000000"/>
                  </a:solidFill>
                  <a:effectLst/>
                  <a:uLnTx/>
                  <a:uFillTx/>
                  <a:latin typeface="Calibri"/>
                  <a:ea typeface="Calibri"/>
                  <a:cs typeface="Calibri"/>
                  <a:sym typeface="Calibri"/>
                </a:rPr>
                <a:t>To accelerate deep learning</a:t>
              </a:r>
              <a:endParaRPr kumimoji="0" sz="20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4669" name="Google Shape;4669;p171"/>
            <p:cNvSpPr/>
            <p:nvPr/>
          </p:nvSpPr>
          <p:spPr>
            <a:xfrm>
              <a:off x="9654023" y="3885762"/>
              <a:ext cx="615640" cy="138519"/>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Scikit-Learn</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70" name="Google Shape;4670;p171"/>
            <p:cNvSpPr/>
            <p:nvPr/>
          </p:nvSpPr>
          <p:spPr>
            <a:xfrm>
              <a:off x="7239564" y="2883122"/>
              <a:ext cx="569987" cy="137798"/>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PyCharm</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71" name="Google Shape;4671;p171"/>
            <p:cNvSpPr/>
            <p:nvPr/>
          </p:nvSpPr>
          <p:spPr>
            <a:xfrm>
              <a:off x="8572237" y="2883121"/>
              <a:ext cx="387983" cy="138519"/>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Jupyter</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72" name="Google Shape;4672;p171"/>
            <p:cNvSpPr/>
            <p:nvPr/>
          </p:nvSpPr>
          <p:spPr>
            <a:xfrm>
              <a:off x="524118" y="2312299"/>
              <a:ext cx="6423222" cy="844198"/>
            </a:xfrm>
            <a:prstGeom prst="rect">
              <a:avLst/>
            </a:prstGeom>
            <a:solidFill>
              <a:schemeClr val="lt1"/>
            </a:solidFill>
            <a:ln>
              <a:noFill/>
            </a:ln>
          </p:spPr>
          <p:txBody>
            <a:bodyPr spcFirstLastPara="1" wrap="square" lIns="182850" tIns="146275" rIns="182850" bIns="146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000000"/>
                  </a:solidFill>
                  <a:effectLst/>
                  <a:uLnTx/>
                  <a:uFillTx/>
                  <a:latin typeface="Calibri"/>
                  <a:ea typeface="Calibri"/>
                  <a:cs typeface="Calibri"/>
                  <a:sym typeface="Calibri"/>
                </a:rPr>
                <a:t>Familiar Data Science Tools</a:t>
              </a:r>
              <a:endParaRPr kumimoji="0" sz="2000" b="0" i="0" u="none" strike="noStrike" kern="0" cap="none" spc="0" normalizeH="0" baseline="0" noProof="0">
                <a:ln>
                  <a:noFill/>
                </a:ln>
                <a:solidFill>
                  <a:srgbClr val="000000"/>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a:ln>
                    <a:noFill/>
                  </a:ln>
                  <a:solidFill>
                    <a:srgbClr val="000000"/>
                  </a:solidFill>
                  <a:effectLst/>
                  <a:uLnTx/>
                  <a:uFillTx/>
                  <a:latin typeface="Calibri"/>
                  <a:ea typeface="Calibri"/>
                  <a:cs typeface="Calibri"/>
                  <a:sym typeface="Calibri"/>
                </a:rPr>
                <a:t>To simplify model development</a:t>
              </a:r>
              <a:endParaRPr kumimoji="0" sz="20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4673" name="Google Shape;4673;p171"/>
            <p:cNvSpPr/>
            <p:nvPr/>
          </p:nvSpPr>
          <p:spPr>
            <a:xfrm>
              <a:off x="9468049" y="2888163"/>
              <a:ext cx="987591" cy="138519"/>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Visual Studio Code</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74" name="Google Shape;4674;p171"/>
            <p:cNvSpPr/>
            <p:nvPr/>
          </p:nvSpPr>
          <p:spPr>
            <a:xfrm>
              <a:off x="10747862" y="2882400"/>
              <a:ext cx="764741" cy="138519"/>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Command line</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75" name="Google Shape;4675;p171"/>
            <p:cNvSpPr/>
            <p:nvPr/>
          </p:nvSpPr>
          <p:spPr>
            <a:xfrm>
              <a:off x="7402352" y="1566887"/>
              <a:ext cx="341442" cy="189450"/>
            </a:xfrm>
            <a:custGeom>
              <a:avLst/>
              <a:gdLst/>
              <a:ahLst/>
              <a:cxnLst/>
              <a:rect l="l" t="t" r="r" b="b"/>
              <a:pathLst>
                <a:path w="346" h="191" extrusionOk="0">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2700" cap="flat" cmpd="sng">
              <a:solidFill>
                <a:schemeClr val="dk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1A1A1A"/>
                </a:solidFill>
                <a:effectLst/>
                <a:uLnTx/>
                <a:uFillTx/>
                <a:latin typeface="Quattrocento Sans"/>
                <a:ea typeface="Quattrocento Sans"/>
                <a:cs typeface="Quattrocento Sans"/>
                <a:sym typeface="Quattrocento Sans"/>
              </a:endParaRPr>
            </a:p>
          </p:txBody>
        </p:sp>
        <p:pic>
          <p:nvPicPr>
            <p:cNvPr id="4676" name="Google Shape;4676;p171"/>
            <p:cNvPicPr preferRelativeResize="0"/>
            <p:nvPr/>
          </p:nvPicPr>
          <p:blipFill rotWithShape="1">
            <a:blip r:embed="rId3">
              <a:alphaModFix/>
            </a:blip>
            <a:srcRect/>
            <a:stretch/>
          </p:blipFill>
          <p:spPr>
            <a:xfrm>
              <a:off x="9775424" y="1514472"/>
              <a:ext cx="317823" cy="294280"/>
            </a:xfrm>
            <a:prstGeom prst="rect">
              <a:avLst/>
            </a:prstGeom>
            <a:noFill/>
            <a:ln>
              <a:noFill/>
            </a:ln>
          </p:spPr>
        </p:pic>
        <p:sp>
          <p:nvSpPr>
            <p:cNvPr id="4677" name="Google Shape;4677;p171"/>
            <p:cNvSpPr/>
            <p:nvPr/>
          </p:nvSpPr>
          <p:spPr>
            <a:xfrm>
              <a:off x="10985371" y="1519519"/>
              <a:ext cx="289723" cy="284187"/>
            </a:xfrm>
            <a:custGeom>
              <a:avLst/>
              <a:gdLst/>
              <a:ahLst/>
              <a:cxnLst/>
              <a:rect l="l" t="t" r="r" b="b"/>
              <a:pathLst>
                <a:path w="343" h="338" extrusionOk="0">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flat" cmpd="sng">
              <a:solidFill>
                <a:schemeClr val="dk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1A1A1A"/>
                </a:solidFill>
                <a:effectLst/>
                <a:uLnTx/>
                <a:uFillTx/>
                <a:latin typeface="Quattrocento Sans"/>
                <a:ea typeface="Quattrocento Sans"/>
                <a:cs typeface="Quattrocento Sans"/>
                <a:sym typeface="Quattrocento Sans"/>
              </a:endParaRPr>
            </a:p>
          </p:txBody>
        </p:sp>
        <p:grpSp>
          <p:nvGrpSpPr>
            <p:cNvPr id="4678" name="Google Shape;4678;p171"/>
            <p:cNvGrpSpPr/>
            <p:nvPr/>
          </p:nvGrpSpPr>
          <p:grpSpPr>
            <a:xfrm>
              <a:off x="10899883" y="4394646"/>
              <a:ext cx="460699" cy="348263"/>
              <a:chOff x="7669747" y="4810232"/>
              <a:chExt cx="520064" cy="393139"/>
            </a:xfrm>
          </p:grpSpPr>
          <p:grpSp>
            <p:nvGrpSpPr>
              <p:cNvPr id="4679" name="Google Shape;4679;p171"/>
              <p:cNvGrpSpPr/>
              <p:nvPr/>
            </p:nvGrpSpPr>
            <p:grpSpPr>
              <a:xfrm>
                <a:off x="7669747" y="4810232"/>
                <a:ext cx="520064" cy="393139"/>
                <a:chOff x="3728" y="2083"/>
                <a:chExt cx="245" cy="174"/>
              </a:xfrm>
            </p:grpSpPr>
            <p:sp>
              <p:nvSpPr>
                <p:cNvPr id="4680" name="Google Shape;4680;p171"/>
                <p:cNvSpPr/>
                <p:nvPr/>
              </p:nvSpPr>
              <p:spPr>
                <a:xfrm>
                  <a:off x="3728" y="2083"/>
                  <a:ext cx="245" cy="138"/>
                </a:xfrm>
                <a:prstGeom prst="rect">
                  <a:avLst/>
                </a:prstGeom>
                <a:noFill/>
                <a:ln w="12700" cap="rnd" cmpd="sng">
                  <a:solidFill>
                    <a:schemeClr val="dk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05050"/>
                    </a:solidFill>
                    <a:effectLst/>
                    <a:uLnTx/>
                    <a:uFillTx/>
                    <a:latin typeface="Quattrocento Sans"/>
                    <a:ea typeface="Quattrocento Sans"/>
                    <a:cs typeface="Quattrocento Sans"/>
                    <a:sym typeface="Quattrocento Sans"/>
                  </a:endParaRPr>
                </a:p>
              </p:txBody>
            </p:sp>
            <p:cxnSp>
              <p:nvCxnSpPr>
                <p:cNvPr id="4681" name="Google Shape;4681;p171"/>
                <p:cNvCxnSpPr/>
                <p:nvPr/>
              </p:nvCxnSpPr>
              <p:spPr>
                <a:xfrm>
                  <a:off x="3850" y="2221"/>
                  <a:ext cx="0" cy="36"/>
                </a:xfrm>
                <a:prstGeom prst="straightConnector1">
                  <a:avLst/>
                </a:prstGeom>
                <a:noFill/>
                <a:ln w="12700" cap="rnd" cmpd="sng">
                  <a:solidFill>
                    <a:schemeClr val="dk2"/>
                  </a:solidFill>
                  <a:prstDash val="solid"/>
                  <a:miter lim="800000"/>
                  <a:headEnd type="none" w="med" len="med"/>
                  <a:tailEnd type="none" w="med" len="med"/>
                </a:ln>
              </p:spPr>
            </p:cxnSp>
            <p:cxnSp>
              <p:nvCxnSpPr>
                <p:cNvPr id="4682" name="Google Shape;4682;p171"/>
                <p:cNvCxnSpPr/>
                <p:nvPr/>
              </p:nvCxnSpPr>
              <p:spPr>
                <a:xfrm>
                  <a:off x="3808" y="2257"/>
                  <a:ext cx="86" cy="0"/>
                </a:xfrm>
                <a:prstGeom prst="straightConnector1">
                  <a:avLst/>
                </a:prstGeom>
                <a:noFill/>
                <a:ln w="12700" cap="rnd" cmpd="sng">
                  <a:solidFill>
                    <a:schemeClr val="dk2"/>
                  </a:solidFill>
                  <a:prstDash val="solid"/>
                  <a:miter lim="800000"/>
                  <a:headEnd type="none" w="med" len="med"/>
                  <a:tailEnd type="none" w="med" len="med"/>
                </a:ln>
              </p:spPr>
            </p:cxnSp>
          </p:grpSp>
          <p:grpSp>
            <p:nvGrpSpPr>
              <p:cNvPr id="4683" name="Google Shape;4683;p171"/>
              <p:cNvGrpSpPr/>
              <p:nvPr/>
            </p:nvGrpSpPr>
            <p:grpSpPr>
              <a:xfrm>
                <a:off x="7857378" y="4871216"/>
                <a:ext cx="164327" cy="180784"/>
                <a:chOff x="5834040" y="2879832"/>
                <a:chExt cx="279258" cy="307228"/>
              </a:xfrm>
            </p:grpSpPr>
            <p:sp>
              <p:nvSpPr>
                <p:cNvPr id="4684" name="Google Shape;4684;p171"/>
                <p:cNvSpPr/>
                <p:nvPr/>
              </p:nvSpPr>
              <p:spPr>
                <a:xfrm>
                  <a:off x="5834040" y="2879832"/>
                  <a:ext cx="279258" cy="307228"/>
                </a:xfrm>
                <a:custGeom>
                  <a:avLst/>
                  <a:gdLst/>
                  <a:ahLst/>
                  <a:cxnLst/>
                  <a:rect l="l" t="t" r="r" b="b"/>
                  <a:pathLst>
                    <a:path w="279256" h="307228" extrusionOk="0">
                      <a:moveTo>
                        <a:pt x="139628" y="0"/>
                      </a:moveTo>
                      <a:lnTo>
                        <a:pt x="279256" y="76617"/>
                      </a:lnTo>
                      <a:lnTo>
                        <a:pt x="279256" y="230611"/>
                      </a:lnTo>
                      <a:lnTo>
                        <a:pt x="139628" y="307228"/>
                      </a:lnTo>
                      <a:lnTo>
                        <a:pt x="0" y="230611"/>
                      </a:lnTo>
                      <a:lnTo>
                        <a:pt x="0" y="76617"/>
                      </a:lnTo>
                      <a:lnTo>
                        <a:pt x="139628" y="0"/>
                      </a:lnTo>
                      <a:close/>
                    </a:path>
                  </a:pathLst>
                </a:custGeom>
                <a:noFill/>
                <a:ln w="12700" cap="flat" cmpd="sng">
                  <a:solidFill>
                    <a:schemeClr val="dk2"/>
                  </a:solidFill>
                  <a:prstDash val="solid"/>
                  <a:miter lim="800000"/>
                  <a:headEnd type="none" w="sm" len="sm"/>
                  <a:tailEnd type="none" w="sm" len="sm"/>
                </a:ln>
              </p:spPr>
              <p:txBody>
                <a:bodyPr spcFirstLastPara="1" wrap="square" lIns="182850" tIns="146275" rIns="182850" bIns="146275" anchor="t" anchorCtr="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endParaRPr kumimoji="0" sz="2400" b="0"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cxnSp>
              <p:nvCxnSpPr>
                <p:cNvPr id="4685" name="Google Shape;4685;p171"/>
                <p:cNvCxnSpPr/>
                <p:nvPr/>
              </p:nvCxnSpPr>
              <p:spPr>
                <a:xfrm>
                  <a:off x="5834046" y="2956449"/>
                  <a:ext cx="139620" cy="76997"/>
                </a:xfrm>
                <a:prstGeom prst="straightConnector1">
                  <a:avLst/>
                </a:prstGeom>
                <a:noFill/>
                <a:ln w="12700" cap="flat" cmpd="sng">
                  <a:solidFill>
                    <a:schemeClr val="dk2"/>
                  </a:solidFill>
                  <a:prstDash val="solid"/>
                  <a:round/>
                  <a:headEnd type="none" w="sm" len="sm"/>
                  <a:tailEnd type="none" w="sm" len="sm"/>
                </a:ln>
              </p:spPr>
            </p:cxnSp>
            <p:cxnSp>
              <p:nvCxnSpPr>
                <p:cNvPr id="4686" name="Google Shape;4686;p171"/>
                <p:cNvCxnSpPr/>
                <p:nvPr/>
              </p:nvCxnSpPr>
              <p:spPr>
                <a:xfrm rot="10800000" flipH="1">
                  <a:off x="5973659" y="2956449"/>
                  <a:ext cx="139630" cy="76997"/>
                </a:xfrm>
                <a:prstGeom prst="straightConnector1">
                  <a:avLst/>
                </a:prstGeom>
                <a:noFill/>
                <a:ln w="12700" cap="flat" cmpd="sng">
                  <a:solidFill>
                    <a:schemeClr val="dk2"/>
                  </a:solidFill>
                  <a:prstDash val="solid"/>
                  <a:round/>
                  <a:headEnd type="none" w="sm" len="sm"/>
                  <a:tailEnd type="none" w="sm" len="sm"/>
                </a:ln>
              </p:spPr>
            </p:cxnSp>
            <p:cxnSp>
              <p:nvCxnSpPr>
                <p:cNvPr id="4687" name="Google Shape;4687;p171"/>
                <p:cNvCxnSpPr/>
                <p:nvPr/>
              </p:nvCxnSpPr>
              <p:spPr>
                <a:xfrm rot="10800000">
                  <a:off x="5973664" y="3033446"/>
                  <a:ext cx="0" cy="153614"/>
                </a:xfrm>
                <a:prstGeom prst="straightConnector1">
                  <a:avLst/>
                </a:prstGeom>
                <a:noFill/>
                <a:ln w="12700" cap="flat" cmpd="sng">
                  <a:solidFill>
                    <a:schemeClr val="dk2"/>
                  </a:solidFill>
                  <a:prstDash val="solid"/>
                  <a:round/>
                  <a:headEnd type="none" w="sm" len="sm"/>
                  <a:tailEnd type="none" w="sm" len="sm"/>
                </a:ln>
              </p:spPr>
            </p:cxnSp>
          </p:grpSp>
        </p:grpSp>
        <p:grpSp>
          <p:nvGrpSpPr>
            <p:cNvPr id="4688" name="Google Shape;4688;p171"/>
            <p:cNvGrpSpPr/>
            <p:nvPr/>
          </p:nvGrpSpPr>
          <p:grpSpPr>
            <a:xfrm>
              <a:off x="9128166" y="4397599"/>
              <a:ext cx="305316" cy="342357"/>
              <a:chOff x="8882196" y="3721867"/>
              <a:chExt cx="272672" cy="305752"/>
            </a:xfrm>
          </p:grpSpPr>
          <p:sp>
            <p:nvSpPr>
              <p:cNvPr id="4689" name="Google Shape;4689;p171"/>
              <p:cNvSpPr/>
              <p:nvPr/>
            </p:nvSpPr>
            <p:spPr>
              <a:xfrm>
                <a:off x="8901348" y="3950022"/>
                <a:ext cx="222881" cy="77597"/>
              </a:xfrm>
              <a:prstGeom prst="rect">
                <a:avLst/>
              </a:prstGeom>
              <a:solidFill>
                <a:schemeClr val="lt2"/>
              </a:solidFill>
              <a:ln w="12700" cap="flat" cmpd="sng">
                <a:solidFill>
                  <a:schemeClr val="dk2"/>
                </a:solidFill>
                <a:prstDash val="solid"/>
                <a:round/>
                <a:headEnd type="none" w="sm" len="sm"/>
                <a:tailEnd type="none" w="sm" len="sm"/>
              </a:ln>
            </p:spPr>
            <p:txBody>
              <a:bodyPr spcFirstLastPara="1" wrap="square" lIns="182850" tIns="146275" rIns="182850" bIns="146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sp>
            <p:nvSpPr>
              <p:cNvPr id="4690" name="Google Shape;4690;p171"/>
              <p:cNvSpPr/>
              <p:nvPr/>
            </p:nvSpPr>
            <p:spPr>
              <a:xfrm>
                <a:off x="8882196" y="3721867"/>
                <a:ext cx="162852" cy="305752"/>
              </a:xfrm>
              <a:custGeom>
                <a:avLst/>
                <a:gdLst/>
                <a:ahLst/>
                <a:cxnLst/>
                <a:rect l="l" t="t" r="r" b="b"/>
                <a:pathLst>
                  <a:path w="2847109" h="4810991" extrusionOk="0">
                    <a:moveTo>
                      <a:pt x="1641764" y="0"/>
                    </a:moveTo>
                    <a:lnTo>
                      <a:pt x="2847109" y="0"/>
                    </a:lnTo>
                    <a:lnTo>
                      <a:pt x="2847109" y="1797627"/>
                    </a:lnTo>
                    <a:lnTo>
                      <a:pt x="290946" y="4810991"/>
                    </a:lnTo>
                    <a:lnTo>
                      <a:pt x="0" y="3647209"/>
                    </a:lnTo>
                    <a:lnTo>
                      <a:pt x="1662546" y="1787236"/>
                    </a:lnTo>
                    <a:lnTo>
                      <a:pt x="1641764" y="0"/>
                    </a:lnTo>
                    <a:close/>
                  </a:path>
                </a:pathLst>
              </a:custGeom>
              <a:solidFill>
                <a:schemeClr val="lt2"/>
              </a:solidFill>
              <a:ln w="12700" cap="flat" cmpd="sng">
                <a:solidFill>
                  <a:schemeClr val="dk2"/>
                </a:solidFill>
                <a:prstDash val="solid"/>
                <a:round/>
                <a:headEnd type="none" w="sm" len="sm"/>
                <a:tailEnd type="none" w="sm" len="sm"/>
              </a:ln>
            </p:spPr>
            <p:txBody>
              <a:bodyPr spcFirstLastPara="1" wrap="square" lIns="182850" tIns="146275" rIns="182850" bIns="146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sp>
            <p:nvSpPr>
              <p:cNvPr id="4691" name="Google Shape;4691;p171"/>
              <p:cNvSpPr/>
              <p:nvPr/>
            </p:nvSpPr>
            <p:spPr>
              <a:xfrm>
                <a:off x="9035403" y="3857904"/>
                <a:ext cx="119465" cy="169715"/>
              </a:xfrm>
              <a:custGeom>
                <a:avLst/>
                <a:gdLst/>
                <a:ahLst/>
                <a:cxnLst/>
                <a:rect l="l" t="t" r="r" b="b"/>
                <a:pathLst>
                  <a:path w="2088573" h="2670464" extrusionOk="0">
                    <a:moveTo>
                      <a:pt x="0" y="883227"/>
                    </a:moveTo>
                    <a:lnTo>
                      <a:pt x="737755" y="0"/>
                    </a:lnTo>
                    <a:lnTo>
                      <a:pt x="2088573" y="1517073"/>
                    </a:lnTo>
                    <a:lnTo>
                      <a:pt x="1797627" y="2670464"/>
                    </a:lnTo>
                    <a:lnTo>
                      <a:pt x="0" y="883227"/>
                    </a:lnTo>
                    <a:close/>
                  </a:path>
                </a:pathLst>
              </a:custGeom>
              <a:solidFill>
                <a:schemeClr val="lt2"/>
              </a:solidFill>
              <a:ln w="12700" cap="flat" cmpd="sng">
                <a:solidFill>
                  <a:schemeClr val="dk2"/>
                </a:solidFill>
                <a:prstDash val="solid"/>
                <a:round/>
                <a:headEnd type="none" w="sm" len="sm"/>
                <a:tailEnd type="none" w="sm" len="sm"/>
              </a:ln>
            </p:spPr>
            <p:txBody>
              <a:bodyPr spcFirstLastPara="1" wrap="square" lIns="182850" tIns="146275" rIns="182850" bIns="146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grpSp>
        <p:grpSp>
          <p:nvGrpSpPr>
            <p:cNvPr id="4692" name="Google Shape;4692;p171"/>
            <p:cNvGrpSpPr/>
            <p:nvPr/>
          </p:nvGrpSpPr>
          <p:grpSpPr>
            <a:xfrm>
              <a:off x="7416979" y="4409674"/>
              <a:ext cx="312189" cy="318206"/>
              <a:chOff x="7158422" y="1607015"/>
              <a:chExt cx="2726357" cy="2778898"/>
            </a:xfrm>
          </p:grpSpPr>
          <p:sp>
            <p:nvSpPr>
              <p:cNvPr id="4693" name="Google Shape;4693;p171"/>
              <p:cNvSpPr/>
              <p:nvPr/>
            </p:nvSpPr>
            <p:spPr>
              <a:xfrm>
                <a:off x="7158422" y="2971802"/>
                <a:ext cx="2726357" cy="1414111"/>
              </a:xfrm>
              <a:custGeom>
                <a:avLst/>
                <a:gdLst/>
                <a:ahLst/>
                <a:cxnLst/>
                <a:rect l="l" t="t" r="r" b="b"/>
                <a:pathLst>
                  <a:path w="2726357" h="1414112" extrusionOk="0">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solidFill>
                <a:schemeClr val="lt2"/>
              </a:solidFill>
              <a:ln w="12700" cap="flat" cmpd="sng">
                <a:solidFill>
                  <a:schemeClr val="dk2"/>
                </a:solidFill>
                <a:prstDash val="solid"/>
                <a:bevel/>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4694" name="Google Shape;4694;p171"/>
              <p:cNvSpPr/>
              <p:nvPr/>
            </p:nvSpPr>
            <p:spPr>
              <a:xfrm>
                <a:off x="7158422" y="2521415"/>
                <a:ext cx="2726357" cy="1414112"/>
              </a:xfrm>
              <a:prstGeom prst="diamond">
                <a:avLst/>
              </a:prstGeom>
              <a:solidFill>
                <a:schemeClr val="lt2"/>
              </a:solidFill>
              <a:ln w="12700" cap="flat" cmpd="sng">
                <a:solidFill>
                  <a:schemeClr val="dk2"/>
                </a:solidFill>
                <a:prstDash val="solid"/>
                <a:bevel/>
                <a:headEnd type="none" w="sm" len="sm"/>
                <a:tailEnd type="none" w="sm" len="sm"/>
              </a:ln>
            </p:spPr>
            <p:txBody>
              <a:bodyPr spcFirstLastPara="1" wrap="square" lIns="182850" tIns="146275" rIns="182850" bIns="146275" anchor="t" anchorCtr="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endParaRPr kumimoji="0" sz="2400" b="0"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sp>
            <p:nvSpPr>
              <p:cNvPr id="4695" name="Google Shape;4695;p171"/>
              <p:cNvSpPr/>
              <p:nvPr/>
            </p:nvSpPr>
            <p:spPr>
              <a:xfrm>
                <a:off x="7158422" y="2057402"/>
                <a:ext cx="2726357" cy="1414113"/>
              </a:xfrm>
              <a:custGeom>
                <a:avLst/>
                <a:gdLst/>
                <a:ahLst/>
                <a:cxnLst/>
                <a:rect l="l" t="t" r="r" b="b"/>
                <a:pathLst>
                  <a:path w="2726357" h="1414112" extrusionOk="0">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solidFill>
                <a:schemeClr val="lt2"/>
              </a:solidFill>
              <a:ln w="12700" cap="flat" cmpd="sng">
                <a:solidFill>
                  <a:schemeClr val="dk2"/>
                </a:solidFill>
                <a:prstDash val="solid"/>
                <a:bevel/>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4696" name="Google Shape;4696;p171"/>
              <p:cNvSpPr/>
              <p:nvPr/>
            </p:nvSpPr>
            <p:spPr>
              <a:xfrm>
                <a:off x="7158422" y="1607015"/>
                <a:ext cx="2726357" cy="1414112"/>
              </a:xfrm>
              <a:prstGeom prst="diamond">
                <a:avLst/>
              </a:prstGeom>
              <a:solidFill>
                <a:schemeClr val="lt2"/>
              </a:solidFill>
              <a:ln w="12700" cap="flat" cmpd="sng">
                <a:solidFill>
                  <a:schemeClr val="dk2"/>
                </a:solidFill>
                <a:prstDash val="solid"/>
                <a:bevel/>
                <a:headEnd type="none" w="sm" len="sm"/>
                <a:tailEnd type="none" w="sm" len="sm"/>
              </a:ln>
            </p:spPr>
            <p:txBody>
              <a:bodyPr spcFirstLastPara="1" wrap="square" lIns="182850" tIns="146275" rIns="182850" bIns="146275" anchor="t" anchorCtr="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endParaRPr kumimoji="0" sz="2400" b="0"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grpSp>
        <p:sp>
          <p:nvSpPr>
            <p:cNvPr id="4697" name="Google Shape;4697;p171"/>
            <p:cNvSpPr/>
            <p:nvPr/>
          </p:nvSpPr>
          <p:spPr>
            <a:xfrm>
              <a:off x="7427028" y="5442122"/>
              <a:ext cx="292091" cy="298125"/>
            </a:xfrm>
            <a:custGeom>
              <a:avLst/>
              <a:gdLst/>
              <a:ahLst/>
              <a:cxnLst/>
              <a:rect l="l" t="t" r="r" b="b"/>
              <a:pathLst>
                <a:path w="334" h="341" extrusionOk="0">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2700" cap="sq" cmpd="sng">
              <a:solidFill>
                <a:schemeClr val="dk2"/>
              </a:solidFill>
              <a:prstDash val="solid"/>
              <a:miter lim="800000"/>
              <a:headEnd type="none" w="sm" len="sm"/>
              <a:tailEnd type="none" w="sm" len="sm"/>
            </a:ln>
          </p:spPr>
          <p:txBody>
            <a:bodyPr spcFirstLastPara="1" wrap="square" lIns="89625" tIns="44800" rIns="89625" bIns="448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729" b="0" i="0" u="none" strike="noStrike" kern="0" cap="none" spc="0" normalizeH="0" baseline="0" noProof="0">
                <a:ln>
                  <a:noFill/>
                </a:ln>
                <a:solidFill>
                  <a:srgbClr val="0078D4"/>
                </a:solidFill>
                <a:effectLst/>
                <a:uLnTx/>
                <a:uFillTx/>
                <a:latin typeface="Quattrocento Sans"/>
                <a:ea typeface="Quattrocento Sans"/>
                <a:cs typeface="Quattrocento Sans"/>
                <a:sym typeface="Quattrocento Sans"/>
              </a:endParaRPr>
            </a:p>
          </p:txBody>
        </p:sp>
        <p:sp>
          <p:nvSpPr>
            <p:cNvPr id="4698" name="Google Shape;4698;p171"/>
            <p:cNvSpPr txBox="1"/>
            <p:nvPr/>
          </p:nvSpPr>
          <p:spPr>
            <a:xfrm>
              <a:off x="7034085" y="5894601"/>
              <a:ext cx="1077976" cy="323165"/>
            </a:xfrm>
            <a:prstGeom prst="rect">
              <a:avLst/>
            </a:prstGeom>
            <a:noFill/>
            <a:ln>
              <a:noFill/>
            </a:ln>
          </p:spPr>
          <p:txBody>
            <a:bodyPr spcFirstLastPara="1" wrap="square" lIns="0" tIns="0" rIns="0" bIns="182850" anchor="b"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1000"/>
                <a:buFont typeface="Quattrocento Sans"/>
                <a:buNone/>
                <a:tabLst/>
                <a:defRPr/>
              </a:pPr>
              <a:r>
                <a:rPr kumimoji="0" lang="en-US" sz="10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CPU</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4699" name="Google Shape;4699;p171"/>
            <p:cNvGrpSpPr/>
            <p:nvPr/>
          </p:nvGrpSpPr>
          <p:grpSpPr>
            <a:xfrm>
              <a:off x="9133636" y="5492532"/>
              <a:ext cx="309263" cy="197305"/>
              <a:chOff x="5842028" y="2023300"/>
              <a:chExt cx="518306" cy="330673"/>
            </a:xfrm>
          </p:grpSpPr>
          <p:sp>
            <p:nvSpPr>
              <p:cNvPr id="4700" name="Google Shape;4700;p171"/>
              <p:cNvSpPr/>
              <p:nvPr/>
            </p:nvSpPr>
            <p:spPr>
              <a:xfrm>
                <a:off x="5842028" y="2023300"/>
                <a:ext cx="518306" cy="284908"/>
              </a:xfrm>
              <a:prstGeom prst="round1Rect">
                <a:avLst>
                  <a:gd name="adj" fmla="val 19322"/>
                </a:avLst>
              </a:prstGeom>
              <a:noFill/>
              <a:ln w="12700" cap="sq" cmpd="sng">
                <a:solidFill>
                  <a:schemeClr val="dk2"/>
                </a:solidFill>
                <a:prstDash val="solid"/>
                <a:miter lim="800000"/>
                <a:headEnd type="none" w="sm" len="sm"/>
                <a:tailEnd type="none" w="sm" len="sm"/>
              </a:ln>
            </p:spPr>
            <p:txBody>
              <a:bodyPr spcFirstLastPara="1" wrap="square" lIns="89625" tIns="44800" rIns="89625" bIns="448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729" b="0" i="0" u="none" strike="noStrike" kern="0" cap="none" spc="0" normalizeH="0" baseline="0" noProof="0">
                  <a:ln>
                    <a:noFill/>
                  </a:ln>
                  <a:solidFill>
                    <a:srgbClr val="0078D4"/>
                  </a:solidFill>
                  <a:effectLst/>
                  <a:uLnTx/>
                  <a:uFillTx/>
                  <a:latin typeface="Quattrocento Sans"/>
                  <a:ea typeface="Quattrocento Sans"/>
                  <a:cs typeface="Quattrocento Sans"/>
                  <a:sym typeface="Quattrocento Sans"/>
                </a:endParaRPr>
              </a:p>
            </p:txBody>
          </p:sp>
          <p:grpSp>
            <p:nvGrpSpPr>
              <p:cNvPr id="4701" name="Google Shape;4701;p171"/>
              <p:cNvGrpSpPr/>
              <p:nvPr/>
            </p:nvGrpSpPr>
            <p:grpSpPr>
              <a:xfrm>
                <a:off x="5886781" y="2308208"/>
                <a:ext cx="423110" cy="45765"/>
                <a:chOff x="2805041" y="5363936"/>
                <a:chExt cx="937405" cy="125178"/>
              </a:xfrm>
            </p:grpSpPr>
            <p:grpSp>
              <p:nvGrpSpPr>
                <p:cNvPr id="4702" name="Google Shape;4702;p171"/>
                <p:cNvGrpSpPr/>
                <p:nvPr/>
              </p:nvGrpSpPr>
              <p:grpSpPr>
                <a:xfrm>
                  <a:off x="2805041" y="5363936"/>
                  <a:ext cx="304800" cy="125178"/>
                  <a:chOff x="685111" y="5810249"/>
                  <a:chExt cx="304800" cy="356348"/>
                </a:xfrm>
              </p:grpSpPr>
              <p:cxnSp>
                <p:nvCxnSpPr>
                  <p:cNvPr id="4703" name="Google Shape;4703;p171"/>
                  <p:cNvCxnSpPr/>
                  <p:nvPr/>
                </p:nvCxnSpPr>
                <p:spPr>
                  <a:xfrm>
                    <a:off x="685111" y="5810249"/>
                    <a:ext cx="0" cy="356348"/>
                  </a:xfrm>
                  <a:prstGeom prst="straightConnector1">
                    <a:avLst/>
                  </a:prstGeom>
                  <a:noFill/>
                  <a:ln w="12700" cap="sq" cmpd="sng">
                    <a:solidFill>
                      <a:schemeClr val="dk2"/>
                    </a:solidFill>
                    <a:prstDash val="solid"/>
                    <a:miter lim="800000"/>
                    <a:headEnd type="none" w="med" len="med"/>
                    <a:tailEnd type="none" w="med" len="med"/>
                  </a:ln>
                </p:spPr>
              </p:cxnSp>
              <p:cxnSp>
                <p:nvCxnSpPr>
                  <p:cNvPr id="4704" name="Google Shape;4704;p171"/>
                  <p:cNvCxnSpPr/>
                  <p:nvPr/>
                </p:nvCxnSpPr>
                <p:spPr>
                  <a:xfrm>
                    <a:off x="837511" y="5810249"/>
                    <a:ext cx="0" cy="356348"/>
                  </a:xfrm>
                  <a:prstGeom prst="straightConnector1">
                    <a:avLst/>
                  </a:prstGeom>
                  <a:noFill/>
                  <a:ln w="12700" cap="sq" cmpd="sng">
                    <a:solidFill>
                      <a:schemeClr val="dk2"/>
                    </a:solidFill>
                    <a:prstDash val="solid"/>
                    <a:miter lim="800000"/>
                    <a:headEnd type="none" w="med" len="med"/>
                    <a:tailEnd type="none" w="med" len="med"/>
                  </a:ln>
                </p:spPr>
              </p:cxnSp>
              <p:cxnSp>
                <p:nvCxnSpPr>
                  <p:cNvPr id="4705" name="Google Shape;4705;p171"/>
                  <p:cNvCxnSpPr/>
                  <p:nvPr/>
                </p:nvCxnSpPr>
                <p:spPr>
                  <a:xfrm>
                    <a:off x="989911" y="5810249"/>
                    <a:ext cx="0" cy="356348"/>
                  </a:xfrm>
                  <a:prstGeom prst="straightConnector1">
                    <a:avLst/>
                  </a:prstGeom>
                  <a:noFill/>
                  <a:ln w="12700" cap="sq" cmpd="sng">
                    <a:solidFill>
                      <a:schemeClr val="dk2"/>
                    </a:solidFill>
                    <a:prstDash val="solid"/>
                    <a:miter lim="800000"/>
                    <a:headEnd type="none" w="med" len="med"/>
                    <a:tailEnd type="none" w="med" len="med"/>
                  </a:ln>
                </p:spPr>
              </p:cxnSp>
            </p:grpSp>
            <p:grpSp>
              <p:nvGrpSpPr>
                <p:cNvPr id="4706" name="Google Shape;4706;p171"/>
                <p:cNvGrpSpPr/>
                <p:nvPr/>
              </p:nvGrpSpPr>
              <p:grpSpPr>
                <a:xfrm>
                  <a:off x="3437646" y="5363936"/>
                  <a:ext cx="304800" cy="125178"/>
                  <a:chOff x="685111" y="5810249"/>
                  <a:chExt cx="304800" cy="356348"/>
                </a:xfrm>
              </p:grpSpPr>
              <p:cxnSp>
                <p:nvCxnSpPr>
                  <p:cNvPr id="4707" name="Google Shape;4707;p171"/>
                  <p:cNvCxnSpPr/>
                  <p:nvPr/>
                </p:nvCxnSpPr>
                <p:spPr>
                  <a:xfrm>
                    <a:off x="685111" y="5810249"/>
                    <a:ext cx="0" cy="356348"/>
                  </a:xfrm>
                  <a:prstGeom prst="straightConnector1">
                    <a:avLst/>
                  </a:prstGeom>
                  <a:noFill/>
                  <a:ln w="12700" cap="sq" cmpd="sng">
                    <a:solidFill>
                      <a:schemeClr val="dk2"/>
                    </a:solidFill>
                    <a:prstDash val="solid"/>
                    <a:miter lim="800000"/>
                    <a:headEnd type="none" w="med" len="med"/>
                    <a:tailEnd type="none" w="med" len="med"/>
                  </a:ln>
                </p:spPr>
              </p:cxnSp>
              <p:cxnSp>
                <p:nvCxnSpPr>
                  <p:cNvPr id="4708" name="Google Shape;4708;p171"/>
                  <p:cNvCxnSpPr/>
                  <p:nvPr/>
                </p:nvCxnSpPr>
                <p:spPr>
                  <a:xfrm>
                    <a:off x="837511" y="5810249"/>
                    <a:ext cx="0" cy="356348"/>
                  </a:xfrm>
                  <a:prstGeom prst="straightConnector1">
                    <a:avLst/>
                  </a:prstGeom>
                  <a:noFill/>
                  <a:ln w="12700" cap="sq" cmpd="sng">
                    <a:solidFill>
                      <a:schemeClr val="dk2"/>
                    </a:solidFill>
                    <a:prstDash val="solid"/>
                    <a:miter lim="800000"/>
                    <a:headEnd type="none" w="med" len="med"/>
                    <a:tailEnd type="none" w="med" len="med"/>
                  </a:ln>
                </p:spPr>
              </p:cxnSp>
              <p:cxnSp>
                <p:nvCxnSpPr>
                  <p:cNvPr id="4709" name="Google Shape;4709;p171"/>
                  <p:cNvCxnSpPr/>
                  <p:nvPr/>
                </p:nvCxnSpPr>
                <p:spPr>
                  <a:xfrm>
                    <a:off x="989911" y="5810249"/>
                    <a:ext cx="0" cy="356348"/>
                  </a:xfrm>
                  <a:prstGeom prst="straightConnector1">
                    <a:avLst/>
                  </a:prstGeom>
                  <a:noFill/>
                  <a:ln w="12700" cap="sq" cmpd="sng">
                    <a:solidFill>
                      <a:schemeClr val="dk2"/>
                    </a:solidFill>
                    <a:prstDash val="solid"/>
                    <a:miter lim="800000"/>
                    <a:headEnd type="none" w="med" len="med"/>
                    <a:tailEnd type="none" w="med" len="med"/>
                  </a:ln>
                </p:spPr>
              </p:cxnSp>
            </p:grpSp>
          </p:grpSp>
          <p:sp>
            <p:nvSpPr>
              <p:cNvPr id="4710" name="Google Shape;4710;p171"/>
              <p:cNvSpPr/>
              <p:nvPr/>
            </p:nvSpPr>
            <p:spPr>
              <a:xfrm>
                <a:off x="6135172" y="2083744"/>
                <a:ext cx="158117" cy="164020"/>
              </a:xfrm>
              <a:prstGeom prst="ellipse">
                <a:avLst/>
              </a:prstGeom>
              <a:noFill/>
              <a:ln w="12700" cap="sq" cmpd="sng">
                <a:solidFill>
                  <a:schemeClr val="dk2"/>
                </a:solidFill>
                <a:prstDash val="solid"/>
                <a:miter lim="800000"/>
                <a:headEnd type="none" w="sm" len="sm"/>
                <a:tailEnd type="none" w="sm" len="sm"/>
              </a:ln>
            </p:spPr>
            <p:txBody>
              <a:bodyPr spcFirstLastPara="1" wrap="square" lIns="89625" tIns="44800" rIns="89625" bIns="448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729" b="0" i="0" u="none" strike="noStrike" kern="0" cap="none" spc="0" normalizeH="0" baseline="0" noProof="0">
                  <a:ln>
                    <a:noFill/>
                  </a:ln>
                  <a:solidFill>
                    <a:srgbClr val="0078D4"/>
                  </a:solidFill>
                  <a:effectLst/>
                  <a:uLnTx/>
                  <a:uFillTx/>
                  <a:latin typeface="Quattrocento Sans"/>
                  <a:ea typeface="Quattrocento Sans"/>
                  <a:cs typeface="Quattrocento Sans"/>
                  <a:sym typeface="Quattrocento Sans"/>
                </a:endParaRPr>
              </a:p>
            </p:txBody>
          </p:sp>
          <p:sp>
            <p:nvSpPr>
              <p:cNvPr id="4711" name="Google Shape;4711;p171"/>
              <p:cNvSpPr/>
              <p:nvPr/>
            </p:nvSpPr>
            <p:spPr>
              <a:xfrm>
                <a:off x="5911951" y="2129519"/>
                <a:ext cx="156176" cy="80034"/>
              </a:xfrm>
              <a:prstGeom prst="rect">
                <a:avLst/>
              </a:prstGeom>
              <a:noFill/>
              <a:ln w="12700" cap="sq" cmpd="sng">
                <a:solidFill>
                  <a:schemeClr val="dk2"/>
                </a:solidFill>
                <a:prstDash val="solid"/>
                <a:miter lim="800000"/>
                <a:headEnd type="none" w="sm" len="sm"/>
                <a:tailEnd type="none" w="sm" len="sm"/>
              </a:ln>
            </p:spPr>
            <p:txBody>
              <a:bodyPr spcFirstLastPara="1" wrap="square" lIns="89625" tIns="44800" rIns="89625" bIns="448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729" b="0" i="0" u="none" strike="noStrike" kern="0" cap="none" spc="0" normalizeH="0" baseline="0" noProof="0">
                  <a:ln>
                    <a:noFill/>
                  </a:ln>
                  <a:solidFill>
                    <a:srgbClr val="0078D4"/>
                  </a:solidFill>
                  <a:effectLst/>
                  <a:uLnTx/>
                  <a:uFillTx/>
                  <a:latin typeface="Quattrocento Sans"/>
                  <a:ea typeface="Quattrocento Sans"/>
                  <a:cs typeface="Quattrocento Sans"/>
                  <a:sym typeface="Quattrocento Sans"/>
                </a:endParaRPr>
              </a:p>
            </p:txBody>
          </p:sp>
        </p:grpSp>
        <p:sp>
          <p:nvSpPr>
            <p:cNvPr id="4712" name="Google Shape;4712;p171"/>
            <p:cNvSpPr txBox="1"/>
            <p:nvPr/>
          </p:nvSpPr>
          <p:spPr>
            <a:xfrm>
              <a:off x="8396822" y="5894601"/>
              <a:ext cx="1782890" cy="323165"/>
            </a:xfrm>
            <a:prstGeom prst="rect">
              <a:avLst/>
            </a:prstGeom>
            <a:noFill/>
            <a:ln>
              <a:noFill/>
            </a:ln>
          </p:spPr>
          <p:txBody>
            <a:bodyPr spcFirstLastPara="1" wrap="square" lIns="0" tIns="0" rIns="0" bIns="182850" anchor="b"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1000"/>
                <a:buFont typeface="Quattrocento Sans"/>
                <a:buNone/>
                <a:tabLst/>
                <a:defRPr/>
              </a:pPr>
              <a:r>
                <a:rPr kumimoji="0" lang="en-US" sz="10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GPU</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4713" name="Google Shape;4713;p171"/>
            <p:cNvGrpSpPr/>
            <p:nvPr/>
          </p:nvGrpSpPr>
          <p:grpSpPr>
            <a:xfrm>
              <a:off x="10981129" y="5442109"/>
              <a:ext cx="298124" cy="298124"/>
              <a:chOff x="10035278" y="3218678"/>
              <a:chExt cx="247374" cy="247374"/>
            </a:xfrm>
          </p:grpSpPr>
          <p:grpSp>
            <p:nvGrpSpPr>
              <p:cNvPr id="4714" name="Google Shape;4714;p171"/>
              <p:cNvGrpSpPr/>
              <p:nvPr/>
            </p:nvGrpSpPr>
            <p:grpSpPr>
              <a:xfrm>
                <a:off x="10035278" y="3218678"/>
                <a:ext cx="247374" cy="247374"/>
                <a:chOff x="3485441" y="4505566"/>
                <a:chExt cx="712494" cy="712494"/>
              </a:xfrm>
            </p:grpSpPr>
            <p:sp>
              <p:nvSpPr>
                <p:cNvPr id="4715" name="Google Shape;4715;p171"/>
                <p:cNvSpPr/>
                <p:nvPr/>
              </p:nvSpPr>
              <p:spPr>
                <a:xfrm>
                  <a:off x="3565593" y="4585718"/>
                  <a:ext cx="552190" cy="552190"/>
                </a:xfrm>
                <a:prstGeom prst="rect">
                  <a:avLst/>
                </a:prstGeom>
                <a:noFill/>
                <a:ln w="12700" cap="flat" cmpd="sng">
                  <a:solidFill>
                    <a:schemeClr val="dk2"/>
                  </a:solidFill>
                  <a:prstDash val="solid"/>
                  <a:miter lim="800000"/>
                  <a:headEnd type="none" w="sm" len="sm"/>
                  <a:tailEnd type="none" w="sm" len="sm"/>
                </a:ln>
              </p:spPr>
              <p:txBody>
                <a:bodyPr spcFirstLastPara="1" wrap="square" lIns="182850" tIns="146275" rIns="182850" bIns="146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a:ln>
                      <a:noFill/>
                    </a:ln>
                    <a:solidFill>
                      <a:srgbClr val="0078D4"/>
                    </a:solidFill>
                    <a:effectLst/>
                    <a:uLnTx/>
                    <a:uFillTx/>
                    <a:latin typeface="Quattrocento Sans"/>
                    <a:ea typeface="Quattrocento Sans"/>
                    <a:cs typeface="Quattrocento Sans"/>
                    <a:sym typeface="Quattrocento Sans"/>
                  </a:endParaRPr>
                </a:p>
              </p:txBody>
            </p:sp>
            <p:grpSp>
              <p:nvGrpSpPr>
                <p:cNvPr id="4716" name="Google Shape;4716;p171"/>
                <p:cNvGrpSpPr/>
                <p:nvPr/>
              </p:nvGrpSpPr>
              <p:grpSpPr>
                <a:xfrm>
                  <a:off x="3485441" y="4677750"/>
                  <a:ext cx="712494" cy="368126"/>
                  <a:chOff x="3485441" y="4677750"/>
                  <a:chExt cx="712494" cy="368126"/>
                </a:xfrm>
              </p:grpSpPr>
              <p:grpSp>
                <p:nvGrpSpPr>
                  <p:cNvPr id="4717" name="Google Shape;4717;p171"/>
                  <p:cNvGrpSpPr/>
                  <p:nvPr/>
                </p:nvGrpSpPr>
                <p:grpSpPr>
                  <a:xfrm>
                    <a:off x="4117783" y="4677750"/>
                    <a:ext cx="80152" cy="368126"/>
                    <a:chOff x="4117783" y="4677750"/>
                    <a:chExt cx="129006" cy="368126"/>
                  </a:xfrm>
                </p:grpSpPr>
                <p:cxnSp>
                  <p:nvCxnSpPr>
                    <p:cNvPr id="4718" name="Google Shape;4718;p171"/>
                    <p:cNvCxnSpPr/>
                    <p:nvPr/>
                  </p:nvCxnSpPr>
                  <p:spPr>
                    <a:xfrm>
                      <a:off x="4117783" y="4677750"/>
                      <a:ext cx="129006" cy="0"/>
                    </a:xfrm>
                    <a:prstGeom prst="straightConnector1">
                      <a:avLst/>
                    </a:prstGeom>
                    <a:noFill/>
                    <a:ln w="12700" cap="flat" cmpd="sng">
                      <a:solidFill>
                        <a:schemeClr val="dk2"/>
                      </a:solidFill>
                      <a:prstDash val="solid"/>
                      <a:round/>
                      <a:headEnd type="none" w="sm" len="sm"/>
                      <a:tailEnd type="none" w="sm" len="sm"/>
                    </a:ln>
                  </p:spPr>
                </p:cxnSp>
                <p:cxnSp>
                  <p:nvCxnSpPr>
                    <p:cNvPr id="4719" name="Google Shape;4719;p171"/>
                    <p:cNvCxnSpPr/>
                    <p:nvPr/>
                  </p:nvCxnSpPr>
                  <p:spPr>
                    <a:xfrm>
                      <a:off x="4117783" y="4769781"/>
                      <a:ext cx="129006" cy="0"/>
                    </a:xfrm>
                    <a:prstGeom prst="straightConnector1">
                      <a:avLst/>
                    </a:prstGeom>
                    <a:noFill/>
                    <a:ln w="12700" cap="flat" cmpd="sng">
                      <a:solidFill>
                        <a:schemeClr val="dk2"/>
                      </a:solidFill>
                      <a:prstDash val="solid"/>
                      <a:round/>
                      <a:headEnd type="none" w="sm" len="sm"/>
                      <a:tailEnd type="none" w="sm" len="sm"/>
                    </a:ln>
                  </p:spPr>
                </p:cxnSp>
                <p:cxnSp>
                  <p:nvCxnSpPr>
                    <p:cNvPr id="4720" name="Google Shape;4720;p171"/>
                    <p:cNvCxnSpPr/>
                    <p:nvPr/>
                  </p:nvCxnSpPr>
                  <p:spPr>
                    <a:xfrm>
                      <a:off x="4117783" y="4953845"/>
                      <a:ext cx="129006" cy="0"/>
                    </a:xfrm>
                    <a:prstGeom prst="straightConnector1">
                      <a:avLst/>
                    </a:prstGeom>
                    <a:noFill/>
                    <a:ln w="12700" cap="flat" cmpd="sng">
                      <a:solidFill>
                        <a:schemeClr val="dk2"/>
                      </a:solidFill>
                      <a:prstDash val="solid"/>
                      <a:round/>
                      <a:headEnd type="none" w="sm" len="sm"/>
                      <a:tailEnd type="none" w="sm" len="sm"/>
                    </a:ln>
                  </p:spPr>
                </p:cxnSp>
                <p:cxnSp>
                  <p:nvCxnSpPr>
                    <p:cNvPr id="4721" name="Google Shape;4721;p171"/>
                    <p:cNvCxnSpPr/>
                    <p:nvPr/>
                  </p:nvCxnSpPr>
                  <p:spPr>
                    <a:xfrm>
                      <a:off x="4117783" y="5045876"/>
                      <a:ext cx="129006" cy="0"/>
                    </a:xfrm>
                    <a:prstGeom prst="straightConnector1">
                      <a:avLst/>
                    </a:prstGeom>
                    <a:noFill/>
                    <a:ln w="12700" cap="flat" cmpd="sng">
                      <a:solidFill>
                        <a:schemeClr val="dk2"/>
                      </a:solidFill>
                      <a:prstDash val="solid"/>
                      <a:round/>
                      <a:headEnd type="none" w="sm" len="sm"/>
                      <a:tailEnd type="none" w="sm" len="sm"/>
                    </a:ln>
                  </p:spPr>
                </p:cxnSp>
              </p:grpSp>
              <p:grpSp>
                <p:nvGrpSpPr>
                  <p:cNvPr id="4722" name="Google Shape;4722;p171"/>
                  <p:cNvGrpSpPr/>
                  <p:nvPr/>
                </p:nvGrpSpPr>
                <p:grpSpPr>
                  <a:xfrm>
                    <a:off x="3485441" y="4677750"/>
                    <a:ext cx="80152" cy="368126"/>
                    <a:chOff x="4117783" y="4677750"/>
                    <a:chExt cx="129006" cy="368126"/>
                  </a:xfrm>
                </p:grpSpPr>
                <p:cxnSp>
                  <p:nvCxnSpPr>
                    <p:cNvPr id="4723" name="Google Shape;4723;p171"/>
                    <p:cNvCxnSpPr/>
                    <p:nvPr/>
                  </p:nvCxnSpPr>
                  <p:spPr>
                    <a:xfrm>
                      <a:off x="4117783" y="4677750"/>
                      <a:ext cx="129006" cy="0"/>
                    </a:xfrm>
                    <a:prstGeom prst="straightConnector1">
                      <a:avLst/>
                    </a:prstGeom>
                    <a:noFill/>
                    <a:ln w="12700" cap="flat" cmpd="sng">
                      <a:solidFill>
                        <a:schemeClr val="dk2"/>
                      </a:solidFill>
                      <a:prstDash val="solid"/>
                      <a:round/>
                      <a:headEnd type="none" w="sm" len="sm"/>
                      <a:tailEnd type="none" w="sm" len="sm"/>
                    </a:ln>
                  </p:spPr>
                </p:cxnSp>
                <p:cxnSp>
                  <p:nvCxnSpPr>
                    <p:cNvPr id="4724" name="Google Shape;4724;p171"/>
                    <p:cNvCxnSpPr/>
                    <p:nvPr/>
                  </p:nvCxnSpPr>
                  <p:spPr>
                    <a:xfrm>
                      <a:off x="4117783" y="4769781"/>
                      <a:ext cx="129006" cy="0"/>
                    </a:xfrm>
                    <a:prstGeom prst="straightConnector1">
                      <a:avLst/>
                    </a:prstGeom>
                    <a:noFill/>
                    <a:ln w="12700" cap="flat" cmpd="sng">
                      <a:solidFill>
                        <a:schemeClr val="dk2"/>
                      </a:solidFill>
                      <a:prstDash val="solid"/>
                      <a:round/>
                      <a:headEnd type="none" w="sm" len="sm"/>
                      <a:tailEnd type="none" w="sm" len="sm"/>
                    </a:ln>
                  </p:spPr>
                </p:cxnSp>
                <p:cxnSp>
                  <p:nvCxnSpPr>
                    <p:cNvPr id="4725" name="Google Shape;4725;p171"/>
                    <p:cNvCxnSpPr/>
                    <p:nvPr/>
                  </p:nvCxnSpPr>
                  <p:spPr>
                    <a:xfrm>
                      <a:off x="4117783" y="4953845"/>
                      <a:ext cx="129006" cy="0"/>
                    </a:xfrm>
                    <a:prstGeom prst="straightConnector1">
                      <a:avLst/>
                    </a:prstGeom>
                    <a:noFill/>
                    <a:ln w="12700" cap="flat" cmpd="sng">
                      <a:solidFill>
                        <a:schemeClr val="dk2"/>
                      </a:solidFill>
                      <a:prstDash val="solid"/>
                      <a:round/>
                      <a:headEnd type="none" w="sm" len="sm"/>
                      <a:tailEnd type="none" w="sm" len="sm"/>
                    </a:ln>
                  </p:spPr>
                </p:cxnSp>
                <p:cxnSp>
                  <p:nvCxnSpPr>
                    <p:cNvPr id="4726" name="Google Shape;4726;p171"/>
                    <p:cNvCxnSpPr/>
                    <p:nvPr/>
                  </p:nvCxnSpPr>
                  <p:spPr>
                    <a:xfrm>
                      <a:off x="4117783" y="5045876"/>
                      <a:ext cx="129006" cy="0"/>
                    </a:xfrm>
                    <a:prstGeom prst="straightConnector1">
                      <a:avLst/>
                    </a:prstGeom>
                    <a:noFill/>
                    <a:ln w="12700" cap="flat" cmpd="sng">
                      <a:solidFill>
                        <a:schemeClr val="dk2"/>
                      </a:solidFill>
                      <a:prstDash val="solid"/>
                      <a:round/>
                      <a:headEnd type="none" w="sm" len="sm"/>
                      <a:tailEnd type="none" w="sm" len="sm"/>
                    </a:ln>
                  </p:spPr>
                </p:cxnSp>
              </p:grpSp>
            </p:grpSp>
            <p:grpSp>
              <p:nvGrpSpPr>
                <p:cNvPr id="4727" name="Google Shape;4727;p171"/>
                <p:cNvGrpSpPr/>
                <p:nvPr/>
              </p:nvGrpSpPr>
              <p:grpSpPr>
                <a:xfrm rot="5400000">
                  <a:off x="3480396" y="4677750"/>
                  <a:ext cx="712494" cy="368126"/>
                  <a:chOff x="3485441" y="4677750"/>
                  <a:chExt cx="712494" cy="368126"/>
                </a:xfrm>
              </p:grpSpPr>
              <p:grpSp>
                <p:nvGrpSpPr>
                  <p:cNvPr id="4728" name="Google Shape;4728;p171"/>
                  <p:cNvGrpSpPr/>
                  <p:nvPr/>
                </p:nvGrpSpPr>
                <p:grpSpPr>
                  <a:xfrm>
                    <a:off x="4117783" y="4677750"/>
                    <a:ext cx="80152" cy="368126"/>
                    <a:chOff x="4117783" y="4677750"/>
                    <a:chExt cx="129006" cy="368126"/>
                  </a:xfrm>
                </p:grpSpPr>
                <p:cxnSp>
                  <p:nvCxnSpPr>
                    <p:cNvPr id="4729" name="Google Shape;4729;p171"/>
                    <p:cNvCxnSpPr/>
                    <p:nvPr/>
                  </p:nvCxnSpPr>
                  <p:spPr>
                    <a:xfrm>
                      <a:off x="4117783" y="4677750"/>
                      <a:ext cx="129006" cy="0"/>
                    </a:xfrm>
                    <a:prstGeom prst="straightConnector1">
                      <a:avLst/>
                    </a:prstGeom>
                    <a:noFill/>
                    <a:ln w="12700" cap="flat" cmpd="sng">
                      <a:solidFill>
                        <a:schemeClr val="dk2"/>
                      </a:solidFill>
                      <a:prstDash val="solid"/>
                      <a:round/>
                      <a:headEnd type="none" w="sm" len="sm"/>
                      <a:tailEnd type="none" w="sm" len="sm"/>
                    </a:ln>
                  </p:spPr>
                </p:cxnSp>
                <p:cxnSp>
                  <p:nvCxnSpPr>
                    <p:cNvPr id="4730" name="Google Shape;4730;p171"/>
                    <p:cNvCxnSpPr/>
                    <p:nvPr/>
                  </p:nvCxnSpPr>
                  <p:spPr>
                    <a:xfrm>
                      <a:off x="4117783" y="4769781"/>
                      <a:ext cx="129006" cy="0"/>
                    </a:xfrm>
                    <a:prstGeom prst="straightConnector1">
                      <a:avLst/>
                    </a:prstGeom>
                    <a:noFill/>
                    <a:ln w="12700" cap="flat" cmpd="sng">
                      <a:solidFill>
                        <a:schemeClr val="dk2"/>
                      </a:solidFill>
                      <a:prstDash val="solid"/>
                      <a:round/>
                      <a:headEnd type="none" w="sm" len="sm"/>
                      <a:tailEnd type="none" w="sm" len="sm"/>
                    </a:ln>
                  </p:spPr>
                </p:cxnSp>
                <p:cxnSp>
                  <p:nvCxnSpPr>
                    <p:cNvPr id="4731" name="Google Shape;4731;p171"/>
                    <p:cNvCxnSpPr/>
                    <p:nvPr/>
                  </p:nvCxnSpPr>
                  <p:spPr>
                    <a:xfrm>
                      <a:off x="4117783" y="4953845"/>
                      <a:ext cx="129006" cy="0"/>
                    </a:xfrm>
                    <a:prstGeom prst="straightConnector1">
                      <a:avLst/>
                    </a:prstGeom>
                    <a:noFill/>
                    <a:ln w="12700" cap="flat" cmpd="sng">
                      <a:solidFill>
                        <a:schemeClr val="dk2"/>
                      </a:solidFill>
                      <a:prstDash val="solid"/>
                      <a:round/>
                      <a:headEnd type="none" w="sm" len="sm"/>
                      <a:tailEnd type="none" w="sm" len="sm"/>
                    </a:ln>
                  </p:spPr>
                </p:cxnSp>
                <p:cxnSp>
                  <p:nvCxnSpPr>
                    <p:cNvPr id="4732" name="Google Shape;4732;p171"/>
                    <p:cNvCxnSpPr/>
                    <p:nvPr/>
                  </p:nvCxnSpPr>
                  <p:spPr>
                    <a:xfrm>
                      <a:off x="4117783" y="5045876"/>
                      <a:ext cx="129006" cy="0"/>
                    </a:xfrm>
                    <a:prstGeom prst="straightConnector1">
                      <a:avLst/>
                    </a:prstGeom>
                    <a:noFill/>
                    <a:ln w="12700" cap="flat" cmpd="sng">
                      <a:solidFill>
                        <a:schemeClr val="dk2"/>
                      </a:solidFill>
                      <a:prstDash val="solid"/>
                      <a:round/>
                      <a:headEnd type="none" w="sm" len="sm"/>
                      <a:tailEnd type="none" w="sm" len="sm"/>
                    </a:ln>
                  </p:spPr>
                </p:cxnSp>
              </p:grpSp>
              <p:grpSp>
                <p:nvGrpSpPr>
                  <p:cNvPr id="4733" name="Google Shape;4733;p171"/>
                  <p:cNvGrpSpPr/>
                  <p:nvPr/>
                </p:nvGrpSpPr>
                <p:grpSpPr>
                  <a:xfrm>
                    <a:off x="3485441" y="4677750"/>
                    <a:ext cx="80152" cy="368126"/>
                    <a:chOff x="4117783" y="4677750"/>
                    <a:chExt cx="129006" cy="368126"/>
                  </a:xfrm>
                </p:grpSpPr>
                <p:cxnSp>
                  <p:nvCxnSpPr>
                    <p:cNvPr id="4734" name="Google Shape;4734;p171"/>
                    <p:cNvCxnSpPr/>
                    <p:nvPr/>
                  </p:nvCxnSpPr>
                  <p:spPr>
                    <a:xfrm>
                      <a:off x="4117783" y="4677750"/>
                      <a:ext cx="129006" cy="0"/>
                    </a:xfrm>
                    <a:prstGeom prst="straightConnector1">
                      <a:avLst/>
                    </a:prstGeom>
                    <a:noFill/>
                    <a:ln w="12700" cap="flat" cmpd="sng">
                      <a:solidFill>
                        <a:schemeClr val="dk2"/>
                      </a:solidFill>
                      <a:prstDash val="solid"/>
                      <a:round/>
                      <a:headEnd type="none" w="sm" len="sm"/>
                      <a:tailEnd type="none" w="sm" len="sm"/>
                    </a:ln>
                  </p:spPr>
                </p:cxnSp>
                <p:cxnSp>
                  <p:nvCxnSpPr>
                    <p:cNvPr id="4735" name="Google Shape;4735;p171"/>
                    <p:cNvCxnSpPr/>
                    <p:nvPr/>
                  </p:nvCxnSpPr>
                  <p:spPr>
                    <a:xfrm>
                      <a:off x="4117783" y="4769781"/>
                      <a:ext cx="129006" cy="0"/>
                    </a:xfrm>
                    <a:prstGeom prst="straightConnector1">
                      <a:avLst/>
                    </a:prstGeom>
                    <a:noFill/>
                    <a:ln w="12700" cap="flat" cmpd="sng">
                      <a:solidFill>
                        <a:schemeClr val="dk2"/>
                      </a:solidFill>
                      <a:prstDash val="solid"/>
                      <a:round/>
                      <a:headEnd type="none" w="sm" len="sm"/>
                      <a:tailEnd type="none" w="sm" len="sm"/>
                    </a:ln>
                  </p:spPr>
                </p:cxnSp>
                <p:cxnSp>
                  <p:nvCxnSpPr>
                    <p:cNvPr id="4736" name="Google Shape;4736;p171"/>
                    <p:cNvCxnSpPr/>
                    <p:nvPr/>
                  </p:nvCxnSpPr>
                  <p:spPr>
                    <a:xfrm>
                      <a:off x="4117783" y="4953845"/>
                      <a:ext cx="129006" cy="0"/>
                    </a:xfrm>
                    <a:prstGeom prst="straightConnector1">
                      <a:avLst/>
                    </a:prstGeom>
                    <a:noFill/>
                    <a:ln w="12700" cap="flat" cmpd="sng">
                      <a:solidFill>
                        <a:schemeClr val="dk2"/>
                      </a:solidFill>
                      <a:prstDash val="solid"/>
                      <a:round/>
                      <a:headEnd type="none" w="sm" len="sm"/>
                      <a:tailEnd type="none" w="sm" len="sm"/>
                    </a:ln>
                  </p:spPr>
                </p:cxnSp>
                <p:cxnSp>
                  <p:nvCxnSpPr>
                    <p:cNvPr id="4737" name="Google Shape;4737;p171"/>
                    <p:cNvCxnSpPr/>
                    <p:nvPr/>
                  </p:nvCxnSpPr>
                  <p:spPr>
                    <a:xfrm>
                      <a:off x="4117783" y="5045876"/>
                      <a:ext cx="129006" cy="0"/>
                    </a:xfrm>
                    <a:prstGeom prst="straightConnector1">
                      <a:avLst/>
                    </a:prstGeom>
                    <a:noFill/>
                    <a:ln w="12700" cap="flat" cmpd="sng">
                      <a:solidFill>
                        <a:schemeClr val="dk2"/>
                      </a:solidFill>
                      <a:prstDash val="solid"/>
                      <a:round/>
                      <a:headEnd type="none" w="sm" len="sm"/>
                      <a:tailEnd type="none" w="sm" len="sm"/>
                    </a:ln>
                  </p:spPr>
                </p:cxnSp>
              </p:grpSp>
            </p:grpSp>
          </p:grpSp>
          <p:sp>
            <p:nvSpPr>
              <p:cNvPr id="4738" name="Google Shape;4738;p171"/>
              <p:cNvSpPr/>
              <p:nvPr/>
            </p:nvSpPr>
            <p:spPr>
              <a:xfrm>
                <a:off x="10124345" y="3293573"/>
                <a:ext cx="71612" cy="91319"/>
              </a:xfrm>
              <a:custGeom>
                <a:avLst/>
                <a:gdLst/>
                <a:ahLst/>
                <a:cxnLst/>
                <a:rect l="l" t="t" r="r" b="b"/>
                <a:pathLst>
                  <a:path w="974972" h="1504393" extrusionOk="0">
                    <a:moveTo>
                      <a:pt x="699778" y="0"/>
                    </a:moveTo>
                    <a:lnTo>
                      <a:pt x="502371" y="571355"/>
                    </a:lnTo>
                    <a:lnTo>
                      <a:pt x="597565" y="571355"/>
                    </a:lnTo>
                    <a:lnTo>
                      <a:pt x="629015" y="571355"/>
                    </a:lnTo>
                    <a:lnTo>
                      <a:pt x="974972" y="571355"/>
                    </a:lnTo>
                    <a:lnTo>
                      <a:pt x="275193" y="1504393"/>
                    </a:lnTo>
                    <a:lnTo>
                      <a:pt x="472601" y="933038"/>
                    </a:lnTo>
                    <a:lnTo>
                      <a:pt x="377407" y="933038"/>
                    </a:lnTo>
                    <a:lnTo>
                      <a:pt x="349889" y="933038"/>
                    </a:lnTo>
                    <a:lnTo>
                      <a:pt x="0" y="933038"/>
                    </a:lnTo>
                    <a:lnTo>
                      <a:pt x="699778" y="0"/>
                    </a:lnTo>
                    <a:close/>
                  </a:path>
                </a:pathLst>
              </a:custGeom>
              <a:noFill/>
              <a:ln w="12700" cap="flat" cmpd="sng">
                <a:solidFill>
                  <a:schemeClr val="dk2"/>
                </a:solidFill>
                <a:prstDash val="solid"/>
                <a:miter lim="800000"/>
                <a:headEnd type="none" w="sm" len="sm"/>
                <a:tailEnd type="none" w="sm" len="sm"/>
              </a:ln>
            </p:spPr>
            <p:txBody>
              <a:bodyPr spcFirstLastPara="1" wrap="square" lIns="182850" tIns="146275" rIns="182850" bIns="146275" anchor="t" anchorCtr="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endParaRPr kumimoji="0" sz="2400" b="0" i="0" u="none" strike="noStrike" kern="0" cap="none" spc="0" normalizeH="0" baseline="0" noProof="0">
                  <a:ln>
                    <a:noFill/>
                  </a:ln>
                  <a:solidFill>
                    <a:srgbClr val="0078D4"/>
                  </a:solidFill>
                  <a:effectLst/>
                  <a:uLnTx/>
                  <a:uFillTx/>
                  <a:latin typeface="Quattrocento Sans"/>
                  <a:ea typeface="Quattrocento Sans"/>
                  <a:cs typeface="Quattrocento Sans"/>
                  <a:sym typeface="Quattrocento Sans"/>
                </a:endParaRPr>
              </a:p>
            </p:txBody>
          </p:sp>
        </p:grpSp>
        <p:sp>
          <p:nvSpPr>
            <p:cNvPr id="4739" name="Google Shape;4739;p171"/>
            <p:cNvSpPr txBox="1"/>
            <p:nvPr/>
          </p:nvSpPr>
          <p:spPr>
            <a:xfrm>
              <a:off x="10938515" y="5894601"/>
              <a:ext cx="383435" cy="323165"/>
            </a:xfrm>
            <a:prstGeom prst="rect">
              <a:avLst/>
            </a:prstGeom>
            <a:noFill/>
            <a:ln>
              <a:noFill/>
            </a:ln>
          </p:spPr>
          <p:txBody>
            <a:bodyPr spcFirstLastPara="1" wrap="square" lIns="0" tIns="0" rIns="0" bIns="182850" anchor="b"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1000"/>
                <a:buFont typeface="Quattrocento Sans"/>
                <a:buNone/>
                <a:tabLst/>
                <a:defRPr/>
              </a:pPr>
              <a:r>
                <a:rPr kumimoji="0" lang="en-US" sz="10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FPGA</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4740" name="Google Shape;4740;p171"/>
            <p:cNvGrpSpPr/>
            <p:nvPr/>
          </p:nvGrpSpPr>
          <p:grpSpPr>
            <a:xfrm>
              <a:off x="10932876" y="2478114"/>
              <a:ext cx="349295" cy="297138"/>
              <a:chOff x="11238522" y="2214151"/>
              <a:chExt cx="394713" cy="335774"/>
            </a:xfrm>
          </p:grpSpPr>
          <p:grpSp>
            <p:nvGrpSpPr>
              <p:cNvPr id="4741" name="Google Shape;4741;p171"/>
              <p:cNvGrpSpPr/>
              <p:nvPr/>
            </p:nvGrpSpPr>
            <p:grpSpPr>
              <a:xfrm>
                <a:off x="11238522" y="2214151"/>
                <a:ext cx="394713" cy="335774"/>
                <a:chOff x="2107244" y="1575258"/>
                <a:chExt cx="310993" cy="264555"/>
              </a:xfrm>
            </p:grpSpPr>
            <p:grpSp>
              <p:nvGrpSpPr>
                <p:cNvPr id="4742" name="Google Shape;4742;p171"/>
                <p:cNvGrpSpPr/>
                <p:nvPr/>
              </p:nvGrpSpPr>
              <p:grpSpPr>
                <a:xfrm>
                  <a:off x="2107244" y="1575258"/>
                  <a:ext cx="310993" cy="264555"/>
                  <a:chOff x="2107244" y="1575258"/>
                  <a:chExt cx="310993" cy="264555"/>
                </a:xfrm>
              </p:grpSpPr>
              <p:sp>
                <p:nvSpPr>
                  <p:cNvPr id="4743" name="Google Shape;4743;p171"/>
                  <p:cNvSpPr/>
                  <p:nvPr/>
                </p:nvSpPr>
                <p:spPr>
                  <a:xfrm>
                    <a:off x="2107244" y="1575258"/>
                    <a:ext cx="310993" cy="264555"/>
                  </a:xfrm>
                  <a:prstGeom prst="rect">
                    <a:avLst/>
                  </a:prstGeom>
                  <a:noFill/>
                  <a:ln w="12700" cap="flat" cmpd="sng">
                    <a:solidFill>
                      <a:schemeClr val="dk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3F3F3F"/>
                      </a:solidFill>
                      <a:effectLst/>
                      <a:uLnTx/>
                      <a:uFillTx/>
                      <a:latin typeface="Quattrocento Sans"/>
                      <a:ea typeface="Quattrocento Sans"/>
                      <a:cs typeface="Quattrocento Sans"/>
                      <a:sym typeface="Quattrocento Sans"/>
                    </a:endParaRPr>
                  </a:p>
                </p:txBody>
              </p:sp>
              <p:cxnSp>
                <p:nvCxnSpPr>
                  <p:cNvPr id="4744" name="Google Shape;4744;p171"/>
                  <p:cNvCxnSpPr/>
                  <p:nvPr/>
                </p:nvCxnSpPr>
                <p:spPr>
                  <a:xfrm rot="10800000">
                    <a:off x="2107244" y="1647026"/>
                    <a:ext cx="310993" cy="0"/>
                  </a:xfrm>
                  <a:prstGeom prst="straightConnector1">
                    <a:avLst/>
                  </a:prstGeom>
                  <a:noFill/>
                  <a:ln w="12700" cap="flat" cmpd="sng">
                    <a:solidFill>
                      <a:schemeClr val="dk2"/>
                    </a:solidFill>
                    <a:prstDash val="solid"/>
                    <a:miter lim="800000"/>
                    <a:headEnd type="none" w="med" len="med"/>
                    <a:tailEnd type="none" w="med" len="med"/>
                  </a:ln>
                </p:spPr>
              </p:cxnSp>
            </p:grpSp>
            <p:grpSp>
              <p:nvGrpSpPr>
                <p:cNvPr id="4745" name="Google Shape;4745;p171"/>
                <p:cNvGrpSpPr/>
                <p:nvPr/>
              </p:nvGrpSpPr>
              <p:grpSpPr>
                <a:xfrm>
                  <a:off x="2287367" y="1599181"/>
                  <a:ext cx="95690" cy="23923"/>
                  <a:chOff x="2287367" y="1599181"/>
                  <a:chExt cx="95690" cy="23923"/>
                </a:xfrm>
              </p:grpSpPr>
              <p:sp>
                <p:nvSpPr>
                  <p:cNvPr id="4746" name="Google Shape;4746;p171"/>
                  <p:cNvSpPr/>
                  <p:nvPr/>
                </p:nvSpPr>
                <p:spPr>
                  <a:xfrm>
                    <a:off x="2287367" y="1599181"/>
                    <a:ext cx="23923" cy="23923"/>
                  </a:xfrm>
                  <a:prstGeom prst="ellipse">
                    <a:avLst/>
                  </a:prstGeom>
                  <a:solidFill>
                    <a:schemeClr val="lt1"/>
                  </a:solidFill>
                  <a:ln w="12700" cap="flat"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3F3F3F"/>
                      </a:solidFill>
                      <a:effectLst/>
                      <a:uLnTx/>
                      <a:uFillTx/>
                      <a:latin typeface="Quattrocento Sans"/>
                      <a:ea typeface="Quattrocento Sans"/>
                      <a:cs typeface="Quattrocento Sans"/>
                      <a:sym typeface="Quattrocento Sans"/>
                    </a:endParaRPr>
                  </a:p>
                </p:txBody>
              </p:sp>
              <p:sp>
                <p:nvSpPr>
                  <p:cNvPr id="4747" name="Google Shape;4747;p171"/>
                  <p:cNvSpPr/>
                  <p:nvPr/>
                </p:nvSpPr>
                <p:spPr>
                  <a:xfrm>
                    <a:off x="2322547" y="1599181"/>
                    <a:ext cx="23923" cy="23923"/>
                  </a:xfrm>
                  <a:prstGeom prst="ellipse">
                    <a:avLst/>
                  </a:prstGeom>
                  <a:solidFill>
                    <a:schemeClr val="lt1"/>
                  </a:solidFill>
                  <a:ln w="12700" cap="flat"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3F3F3F"/>
                      </a:solidFill>
                      <a:effectLst/>
                      <a:uLnTx/>
                      <a:uFillTx/>
                      <a:latin typeface="Quattrocento Sans"/>
                      <a:ea typeface="Quattrocento Sans"/>
                      <a:cs typeface="Quattrocento Sans"/>
                      <a:sym typeface="Quattrocento Sans"/>
                    </a:endParaRPr>
                  </a:p>
                </p:txBody>
              </p:sp>
              <p:sp>
                <p:nvSpPr>
                  <p:cNvPr id="4748" name="Google Shape;4748;p171"/>
                  <p:cNvSpPr/>
                  <p:nvPr/>
                </p:nvSpPr>
                <p:spPr>
                  <a:xfrm>
                    <a:off x="2359134" y="1599181"/>
                    <a:ext cx="23923" cy="23923"/>
                  </a:xfrm>
                  <a:prstGeom prst="ellipse">
                    <a:avLst/>
                  </a:prstGeom>
                  <a:solidFill>
                    <a:schemeClr val="lt1"/>
                  </a:solidFill>
                  <a:ln w="12700" cap="flat"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3F3F3F"/>
                      </a:solidFill>
                      <a:effectLst/>
                      <a:uLnTx/>
                      <a:uFillTx/>
                      <a:latin typeface="Quattrocento Sans"/>
                      <a:ea typeface="Quattrocento Sans"/>
                      <a:cs typeface="Quattrocento Sans"/>
                      <a:sym typeface="Quattrocento Sans"/>
                    </a:endParaRPr>
                  </a:p>
                </p:txBody>
              </p:sp>
            </p:grpSp>
          </p:grpSp>
          <p:sp>
            <p:nvSpPr>
              <p:cNvPr id="4749" name="Google Shape;4749;p171"/>
              <p:cNvSpPr/>
              <p:nvPr/>
            </p:nvSpPr>
            <p:spPr>
              <a:xfrm flipH="1">
                <a:off x="11292455" y="2354178"/>
                <a:ext cx="84926" cy="139515"/>
              </a:xfrm>
              <a:custGeom>
                <a:avLst/>
                <a:gdLst/>
                <a:ahLst/>
                <a:cxnLst/>
                <a:rect l="l" t="t" r="r" b="b"/>
                <a:pathLst>
                  <a:path w="250825" h="269875" extrusionOk="0">
                    <a:moveTo>
                      <a:pt x="250825" y="0"/>
                    </a:moveTo>
                    <a:lnTo>
                      <a:pt x="0" y="142875"/>
                    </a:lnTo>
                    <a:lnTo>
                      <a:pt x="250825" y="269875"/>
                    </a:lnTo>
                  </a:path>
                </a:pathLst>
              </a:custGeom>
              <a:noFill/>
              <a:ln w="127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cxnSp>
            <p:nvCxnSpPr>
              <p:cNvPr id="4750" name="Google Shape;4750;p171"/>
              <p:cNvCxnSpPr/>
              <p:nvPr/>
            </p:nvCxnSpPr>
            <p:spPr>
              <a:xfrm>
                <a:off x="11392807" y="2493693"/>
                <a:ext cx="118979" cy="0"/>
              </a:xfrm>
              <a:prstGeom prst="straightConnector1">
                <a:avLst/>
              </a:prstGeom>
              <a:noFill/>
              <a:ln w="12700" cap="flat" cmpd="sng">
                <a:solidFill>
                  <a:schemeClr val="dk2"/>
                </a:solidFill>
                <a:prstDash val="solid"/>
                <a:round/>
                <a:headEnd type="none" w="sm" len="sm"/>
                <a:tailEnd type="none" w="sm" len="sm"/>
              </a:ln>
            </p:spPr>
          </p:cxnSp>
        </p:grpSp>
        <p:cxnSp>
          <p:nvCxnSpPr>
            <p:cNvPr id="4751" name="Google Shape;4751;p171"/>
            <p:cNvCxnSpPr>
              <a:cxnSpLocks/>
            </p:cNvCxnSpPr>
            <p:nvPr/>
          </p:nvCxnSpPr>
          <p:spPr>
            <a:xfrm>
              <a:off x="6954097" y="2244588"/>
              <a:ext cx="4749468" cy="0"/>
            </a:xfrm>
            <a:prstGeom prst="straightConnector1">
              <a:avLst/>
            </a:prstGeom>
            <a:noFill/>
            <a:ln w="15875" cap="rnd" cmpd="sng">
              <a:solidFill>
                <a:schemeClr val="bg1"/>
              </a:solidFill>
              <a:prstDash val="solid"/>
              <a:round/>
              <a:headEnd type="none" w="sm" len="sm"/>
              <a:tailEnd type="none" w="sm" len="sm"/>
            </a:ln>
          </p:spPr>
        </p:cxnSp>
        <p:cxnSp>
          <p:nvCxnSpPr>
            <p:cNvPr id="4752" name="Google Shape;4752;p171"/>
            <p:cNvCxnSpPr/>
            <p:nvPr/>
          </p:nvCxnSpPr>
          <p:spPr>
            <a:xfrm>
              <a:off x="526596" y="3233463"/>
              <a:ext cx="11176969" cy="0"/>
            </a:xfrm>
            <a:prstGeom prst="straightConnector1">
              <a:avLst/>
            </a:prstGeom>
            <a:noFill/>
            <a:ln w="15875" cap="rnd" cmpd="sng">
              <a:solidFill>
                <a:srgbClr val="FFFFFF"/>
              </a:solidFill>
              <a:prstDash val="solid"/>
              <a:round/>
              <a:headEnd type="none" w="sm" len="sm"/>
              <a:tailEnd type="none" w="sm" len="sm"/>
            </a:ln>
          </p:spPr>
        </p:cxnSp>
        <p:cxnSp>
          <p:nvCxnSpPr>
            <p:cNvPr id="4753" name="Google Shape;4753;p171"/>
            <p:cNvCxnSpPr/>
            <p:nvPr/>
          </p:nvCxnSpPr>
          <p:spPr>
            <a:xfrm>
              <a:off x="526596" y="5211213"/>
              <a:ext cx="11176969" cy="0"/>
            </a:xfrm>
            <a:prstGeom prst="straightConnector1">
              <a:avLst/>
            </a:prstGeom>
            <a:noFill/>
            <a:ln w="15875" cap="rnd" cmpd="sng">
              <a:solidFill>
                <a:srgbClr val="FFFFFF"/>
              </a:solidFill>
              <a:prstDash val="solid"/>
              <a:round/>
              <a:headEnd type="none" w="sm" len="sm"/>
              <a:tailEnd type="none" w="sm" len="sm"/>
            </a:ln>
          </p:spPr>
        </p:cxnSp>
        <p:pic>
          <p:nvPicPr>
            <p:cNvPr id="4754" name="Google Shape;4754;p171"/>
            <p:cNvPicPr preferRelativeResize="0"/>
            <p:nvPr/>
          </p:nvPicPr>
          <p:blipFill rotWithShape="1">
            <a:blip r:embed="rId4">
              <a:alphaModFix/>
            </a:blip>
            <a:srcRect/>
            <a:stretch/>
          </p:blipFill>
          <p:spPr>
            <a:xfrm>
              <a:off x="10941642" y="3428041"/>
              <a:ext cx="380308" cy="373064"/>
            </a:xfrm>
            <a:prstGeom prst="rect">
              <a:avLst/>
            </a:prstGeom>
            <a:noFill/>
            <a:ln>
              <a:noFill/>
            </a:ln>
          </p:spPr>
        </p:pic>
        <p:pic>
          <p:nvPicPr>
            <p:cNvPr id="4755" name="Google Shape;4755;p171" descr="A close up of a sign&#10;&#10;Description automatically generated"/>
            <p:cNvPicPr preferRelativeResize="0"/>
            <p:nvPr/>
          </p:nvPicPr>
          <p:blipFill rotWithShape="1">
            <a:blip r:embed="rId5">
              <a:alphaModFix/>
            </a:blip>
            <a:srcRect/>
            <a:stretch/>
          </p:blipFill>
          <p:spPr>
            <a:xfrm>
              <a:off x="7427019" y="2498296"/>
              <a:ext cx="287484" cy="300414"/>
            </a:xfrm>
            <a:prstGeom prst="rect">
              <a:avLst/>
            </a:prstGeom>
            <a:noFill/>
            <a:ln>
              <a:noFill/>
            </a:ln>
          </p:spPr>
        </p:pic>
        <p:pic>
          <p:nvPicPr>
            <p:cNvPr id="4756" name="Google Shape;4756;p171" descr="A picture containing vector graphics&#10;&#10;Description automatically generated"/>
            <p:cNvPicPr preferRelativeResize="0"/>
            <p:nvPr/>
          </p:nvPicPr>
          <p:blipFill rotWithShape="1">
            <a:blip r:embed="rId6">
              <a:alphaModFix/>
            </a:blip>
            <a:srcRect/>
            <a:stretch/>
          </p:blipFill>
          <p:spPr>
            <a:xfrm>
              <a:off x="8609809" y="2432478"/>
              <a:ext cx="349296" cy="399412"/>
            </a:xfrm>
            <a:prstGeom prst="rect">
              <a:avLst/>
            </a:prstGeom>
            <a:noFill/>
            <a:ln>
              <a:noFill/>
            </a:ln>
          </p:spPr>
        </p:pic>
        <p:pic>
          <p:nvPicPr>
            <p:cNvPr id="4757" name="Google Shape;4757;p171" descr="A close up of a sign&#10;&#10;Description automatically generated"/>
            <p:cNvPicPr preferRelativeResize="0"/>
            <p:nvPr/>
          </p:nvPicPr>
          <p:blipFill rotWithShape="1">
            <a:blip r:embed="rId7">
              <a:alphaModFix/>
            </a:blip>
            <a:srcRect/>
            <a:stretch/>
          </p:blipFill>
          <p:spPr>
            <a:xfrm>
              <a:off x="8660275" y="3436517"/>
              <a:ext cx="298830" cy="323165"/>
            </a:xfrm>
            <a:prstGeom prst="rect">
              <a:avLst/>
            </a:prstGeom>
            <a:noFill/>
            <a:ln>
              <a:noFill/>
            </a:ln>
          </p:spPr>
        </p:pic>
        <p:pic>
          <p:nvPicPr>
            <p:cNvPr id="4758" name="Google Shape;4758;p171"/>
            <p:cNvPicPr preferRelativeResize="0"/>
            <p:nvPr/>
          </p:nvPicPr>
          <p:blipFill rotWithShape="1">
            <a:blip r:embed="rId8">
              <a:alphaModFix/>
            </a:blip>
            <a:srcRect/>
            <a:stretch/>
          </p:blipFill>
          <p:spPr>
            <a:xfrm>
              <a:off x="7427019" y="3434373"/>
              <a:ext cx="292099" cy="343181"/>
            </a:xfrm>
            <a:prstGeom prst="rect">
              <a:avLst/>
            </a:prstGeom>
            <a:noFill/>
            <a:ln>
              <a:noFill/>
            </a:ln>
          </p:spPr>
        </p:pic>
        <p:pic>
          <p:nvPicPr>
            <p:cNvPr id="4759" name="Google Shape;4759;p171" descr="A close up of a sign&#10;&#10;Description automatically generated"/>
            <p:cNvPicPr preferRelativeResize="0"/>
            <p:nvPr/>
          </p:nvPicPr>
          <p:blipFill rotWithShape="1">
            <a:blip r:embed="rId9">
              <a:alphaModFix/>
            </a:blip>
            <a:srcRect/>
            <a:stretch/>
          </p:blipFill>
          <p:spPr>
            <a:xfrm>
              <a:off x="9798344" y="2481522"/>
              <a:ext cx="328027" cy="327573"/>
            </a:xfrm>
            <a:prstGeom prst="rect">
              <a:avLst/>
            </a:prstGeom>
            <a:noFill/>
            <a:ln>
              <a:noFill/>
            </a:ln>
          </p:spPr>
        </p:pic>
        <p:pic>
          <p:nvPicPr>
            <p:cNvPr id="4760" name="Google Shape;4760;p171"/>
            <p:cNvPicPr preferRelativeResize="0"/>
            <p:nvPr/>
          </p:nvPicPr>
          <p:blipFill rotWithShape="1">
            <a:blip r:embed="rId10">
              <a:alphaModFix/>
            </a:blip>
            <a:srcRect/>
            <a:stretch/>
          </p:blipFill>
          <p:spPr>
            <a:xfrm>
              <a:off x="9775424" y="3483341"/>
              <a:ext cx="553473" cy="294200"/>
            </a:xfrm>
            <a:prstGeom prst="rect">
              <a:avLst/>
            </a:prstGeom>
            <a:noFill/>
            <a:ln>
              <a:noFill/>
            </a:ln>
          </p:spPr>
        </p:pic>
      </p:grpSp>
      <p:cxnSp>
        <p:nvCxnSpPr>
          <p:cNvPr id="4761" name="Google Shape;4761;p171"/>
          <p:cNvCxnSpPr/>
          <p:nvPr/>
        </p:nvCxnSpPr>
        <p:spPr>
          <a:xfrm>
            <a:off x="532395" y="4038353"/>
            <a:ext cx="11175852" cy="0"/>
          </a:xfrm>
          <a:prstGeom prst="straightConnector1">
            <a:avLst/>
          </a:prstGeom>
          <a:noFill/>
          <a:ln w="15875" cap="rnd" cmpd="sng">
            <a:solidFill>
              <a:srgbClr val="FFFFFF"/>
            </a:solidFill>
            <a:prstDash val="solid"/>
            <a:round/>
            <a:headEnd type="none" w="sm" len="sm"/>
            <a:tailEnd type="none" w="sm" len="sm"/>
          </a:ln>
        </p:spPr>
      </p:cxnSp>
      <p:sp>
        <p:nvSpPr>
          <p:cNvPr id="4762" name="Google Shape;4762;p171"/>
          <p:cNvSpPr/>
          <p:nvPr/>
        </p:nvSpPr>
        <p:spPr>
          <a:xfrm>
            <a:off x="5664570" y="5580719"/>
            <a:ext cx="894396" cy="119294"/>
          </a:xfrm>
          <a:prstGeom prst="rect">
            <a:avLst/>
          </a:prstGeom>
          <a:solidFill>
            <a:schemeClr val="lt1"/>
          </a:solidFill>
          <a:ln>
            <a:noFill/>
          </a:ln>
        </p:spPr>
        <p:txBody>
          <a:bodyPr spcFirstLastPara="1" wrap="square" lIns="182850" tIns="146275" rIns="182850" bIns="146275" anchor="t" anchorCtr="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endParaRPr kumimoji="0" sz="2400" b="0"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sp>
        <p:nvSpPr>
          <p:cNvPr id="4763" name="Google Shape;4763;p171"/>
          <p:cNvSpPr/>
          <p:nvPr/>
        </p:nvSpPr>
        <p:spPr>
          <a:xfrm>
            <a:off x="3412220" y="6328873"/>
            <a:ext cx="453745" cy="254028"/>
          </a:xfrm>
          <a:custGeom>
            <a:avLst/>
            <a:gdLst/>
            <a:ahLst/>
            <a:cxnLst/>
            <a:rect l="l" t="t" r="r" b="b"/>
            <a:pathLst>
              <a:path w="509" h="281" extrusionOk="0">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9050" cap="flat" cmpd="sng">
            <a:solidFill>
              <a:schemeClr val="dk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333333"/>
              </a:solidFill>
              <a:effectLst/>
              <a:uLnTx/>
              <a:uFillTx/>
              <a:latin typeface="Quattrocento Sans"/>
              <a:ea typeface="Quattrocento Sans"/>
              <a:cs typeface="Quattrocento Sans"/>
              <a:sym typeface="Quattrocento Sans"/>
            </a:endParaRPr>
          </a:p>
        </p:txBody>
      </p:sp>
      <p:grpSp>
        <p:nvGrpSpPr>
          <p:cNvPr id="4764" name="Google Shape;4764;p171"/>
          <p:cNvGrpSpPr/>
          <p:nvPr/>
        </p:nvGrpSpPr>
        <p:grpSpPr>
          <a:xfrm>
            <a:off x="9301312" y="6304884"/>
            <a:ext cx="289992" cy="288751"/>
            <a:chOff x="5775130" y="5528944"/>
            <a:chExt cx="187018" cy="188120"/>
          </a:xfrm>
        </p:grpSpPr>
        <p:grpSp>
          <p:nvGrpSpPr>
            <p:cNvPr id="4765" name="Google Shape;4765;p171"/>
            <p:cNvGrpSpPr/>
            <p:nvPr/>
          </p:nvGrpSpPr>
          <p:grpSpPr>
            <a:xfrm flipH="1">
              <a:off x="5775130" y="5528944"/>
              <a:ext cx="187018" cy="188120"/>
              <a:chOff x="7749590" y="2876913"/>
              <a:chExt cx="187018" cy="188120"/>
            </a:xfrm>
          </p:grpSpPr>
          <p:sp>
            <p:nvSpPr>
              <p:cNvPr id="4766" name="Google Shape;4766;p171"/>
              <p:cNvSpPr/>
              <p:nvPr/>
            </p:nvSpPr>
            <p:spPr>
              <a:xfrm>
                <a:off x="7749616" y="2951946"/>
                <a:ext cx="111966" cy="113087"/>
              </a:xfrm>
              <a:custGeom>
                <a:avLst/>
                <a:gdLst/>
                <a:ahLst/>
                <a:cxnLst/>
                <a:rect l="l" t="t" r="r" b="b"/>
                <a:pathLst>
                  <a:path w="46" h="47" extrusionOk="0">
                    <a:moveTo>
                      <a:pt x="0" y="0"/>
                    </a:moveTo>
                    <a:cubicBezTo>
                      <a:pt x="25" y="0"/>
                      <a:pt x="46" y="21"/>
                      <a:pt x="46" y="47"/>
                    </a:cubicBezTo>
                  </a:path>
                </a:pathLst>
              </a:custGeom>
              <a:noFill/>
              <a:ln w="19050" cap="flat" cmpd="sng">
                <a:solidFill>
                  <a:schemeClr val="dk2"/>
                </a:solidFill>
                <a:prstDash val="solid"/>
                <a:miter lim="800000"/>
                <a:headEnd type="none" w="sm" len="sm"/>
                <a:tailEnd type="none" w="sm" len="sm"/>
              </a:ln>
            </p:spPr>
            <p:txBody>
              <a:bodyPr spcFirstLastPara="1" wrap="square" lIns="72400" tIns="36200" rIns="72400" bIns="362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sp>
            <p:nvSpPr>
              <p:cNvPr id="4767" name="Google Shape;4767;p171"/>
              <p:cNvSpPr/>
              <p:nvPr/>
            </p:nvSpPr>
            <p:spPr>
              <a:xfrm>
                <a:off x="7749590" y="2916113"/>
                <a:ext cx="150035" cy="148916"/>
              </a:xfrm>
              <a:custGeom>
                <a:avLst/>
                <a:gdLst/>
                <a:ahLst/>
                <a:cxnLst/>
                <a:rect l="l" t="t" r="r" b="b"/>
                <a:pathLst>
                  <a:path w="62" h="62" extrusionOk="0">
                    <a:moveTo>
                      <a:pt x="0" y="0"/>
                    </a:moveTo>
                    <a:cubicBezTo>
                      <a:pt x="34" y="0"/>
                      <a:pt x="62" y="27"/>
                      <a:pt x="62" y="62"/>
                    </a:cubicBezTo>
                  </a:path>
                </a:pathLst>
              </a:custGeom>
              <a:noFill/>
              <a:ln w="19050" cap="flat" cmpd="sng">
                <a:solidFill>
                  <a:schemeClr val="dk2"/>
                </a:solidFill>
                <a:prstDash val="solid"/>
                <a:miter lim="800000"/>
                <a:headEnd type="none" w="sm" len="sm"/>
                <a:tailEnd type="none" w="sm" len="sm"/>
              </a:ln>
            </p:spPr>
            <p:txBody>
              <a:bodyPr spcFirstLastPara="1" wrap="square" lIns="72400" tIns="36200" rIns="72400" bIns="362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sp>
            <p:nvSpPr>
              <p:cNvPr id="4768" name="Google Shape;4768;p171"/>
              <p:cNvSpPr/>
              <p:nvPr/>
            </p:nvSpPr>
            <p:spPr>
              <a:xfrm>
                <a:off x="7749625" y="2876913"/>
                <a:ext cx="186983" cy="188103"/>
              </a:xfrm>
              <a:custGeom>
                <a:avLst/>
                <a:gdLst/>
                <a:ahLst/>
                <a:cxnLst/>
                <a:rect l="l" t="t" r="r" b="b"/>
                <a:pathLst>
                  <a:path w="77" h="78" extrusionOk="0">
                    <a:moveTo>
                      <a:pt x="0" y="0"/>
                    </a:moveTo>
                    <a:cubicBezTo>
                      <a:pt x="42" y="0"/>
                      <a:pt x="77" y="35"/>
                      <a:pt x="77" y="78"/>
                    </a:cubicBezTo>
                  </a:path>
                </a:pathLst>
              </a:custGeom>
              <a:noFill/>
              <a:ln w="19050" cap="flat" cmpd="sng">
                <a:solidFill>
                  <a:schemeClr val="dk2"/>
                </a:solidFill>
                <a:prstDash val="solid"/>
                <a:miter lim="800000"/>
                <a:headEnd type="none" w="sm" len="sm"/>
                <a:tailEnd type="none" w="sm" len="sm"/>
              </a:ln>
            </p:spPr>
            <p:txBody>
              <a:bodyPr spcFirstLastPara="1" wrap="square" lIns="72400" tIns="36200" rIns="72400" bIns="362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grpSp>
        <p:sp>
          <p:nvSpPr>
            <p:cNvPr id="4769" name="Google Shape;4769;p171"/>
            <p:cNvSpPr/>
            <p:nvPr/>
          </p:nvSpPr>
          <p:spPr>
            <a:xfrm>
              <a:off x="5900501" y="5653212"/>
              <a:ext cx="56859" cy="56859"/>
            </a:xfrm>
            <a:prstGeom prst="ellipse">
              <a:avLst/>
            </a:prstGeom>
            <a:noFill/>
            <a:ln w="19050" cap="flat" cmpd="sng">
              <a:solidFill>
                <a:schemeClr val="dk2"/>
              </a:solidFill>
              <a:prstDash val="solid"/>
              <a:miter lim="800000"/>
              <a:headEnd type="none" w="sm" len="sm"/>
              <a:tailEnd type="none" w="sm" len="sm"/>
            </a:ln>
          </p:spPr>
          <p:txBody>
            <a:bodyPr spcFirstLastPara="1" wrap="square" lIns="182850" tIns="146275" rIns="182850" bIns="146275" anchor="t" anchorCtr="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grpSp>
      <p:sp>
        <p:nvSpPr>
          <p:cNvPr id="4770" name="Google Shape;4770;p171"/>
          <p:cNvSpPr txBox="1"/>
          <p:nvPr/>
        </p:nvSpPr>
        <p:spPr>
          <a:xfrm>
            <a:off x="3763757" y="6044673"/>
            <a:ext cx="5549400" cy="544800"/>
          </a:xfrm>
          <a:prstGeom prst="rect">
            <a:avLst/>
          </a:prstGeom>
          <a:noFill/>
          <a:ln>
            <a:noFill/>
          </a:ln>
        </p:spPr>
        <p:txBody>
          <a:bodyPr spcFirstLastPara="1" wrap="square" lIns="182850" tIns="146275" rIns="182850" bIns="146275" anchor="t" anchorCtr="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000000"/>
                </a:solidFill>
                <a:effectLst/>
                <a:uLnTx/>
                <a:uFillTx/>
                <a:latin typeface="Calibri"/>
                <a:ea typeface="Calibri"/>
                <a:cs typeface="Calibri"/>
                <a:sym typeface="Calibri"/>
              </a:rPr>
              <a:t>From the Intelligent Cloud to the Intelligent Edge</a:t>
            </a:r>
            <a:endParaRPr kumimoji="0" sz="20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nvGrpSpPr>
          <p:cNvPr id="127" name="Group 126">
            <a:extLst>
              <a:ext uri="{FF2B5EF4-FFF2-40B4-BE49-F238E27FC236}">
                <a16:creationId xmlns:a16="http://schemas.microsoft.com/office/drawing/2014/main" id="{A2428CA3-C44B-44F8-8E98-30FDB79DD0F7}"/>
              </a:ext>
            </a:extLst>
          </p:cNvPr>
          <p:cNvGrpSpPr/>
          <p:nvPr/>
        </p:nvGrpSpPr>
        <p:grpSpPr>
          <a:xfrm>
            <a:off x="8401835" y="4051584"/>
            <a:ext cx="1782704" cy="971405"/>
            <a:chOff x="8401835" y="4051584"/>
            <a:chExt cx="1782704" cy="971405"/>
          </a:xfrm>
        </p:grpSpPr>
        <p:sp>
          <p:nvSpPr>
            <p:cNvPr id="128" name="Rectangle 127">
              <a:extLst>
                <a:ext uri="{FF2B5EF4-FFF2-40B4-BE49-F238E27FC236}">
                  <a16:creationId xmlns:a16="http://schemas.microsoft.com/office/drawing/2014/main" id="{ABE96BD6-C019-4B05-B01A-068548A12C38}"/>
                </a:ext>
              </a:extLst>
            </p:cNvPr>
            <p:cNvSpPr/>
            <p:nvPr/>
          </p:nvSpPr>
          <p:spPr bwMode="auto">
            <a:xfrm>
              <a:off x="8401835" y="4051584"/>
              <a:ext cx="1782704" cy="971405"/>
            </a:xfrm>
            <a:prstGeom prst="rect">
              <a:avLst/>
            </a:prstGeom>
            <a:solidFill>
              <a:srgbClr val="AE78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Google Shape;4689;p171">
              <a:extLst>
                <a:ext uri="{FF2B5EF4-FFF2-40B4-BE49-F238E27FC236}">
                  <a16:creationId xmlns:a16="http://schemas.microsoft.com/office/drawing/2014/main" id="{3DB4C106-F927-4AE0-B332-AC9F16CF7B52}"/>
                </a:ext>
              </a:extLst>
            </p:cNvPr>
            <p:cNvSpPr/>
            <p:nvPr/>
          </p:nvSpPr>
          <p:spPr>
            <a:xfrm>
              <a:off x="9154548" y="4469041"/>
              <a:ext cx="249539" cy="86878"/>
            </a:xfrm>
            <a:prstGeom prst="rect">
              <a:avLst/>
            </a:prstGeom>
            <a:solidFill>
              <a:schemeClr val="lt2"/>
            </a:solidFill>
            <a:ln w="12700" cap="flat" cmpd="sng">
              <a:solidFill>
                <a:schemeClr val="dk2"/>
              </a:solidFill>
              <a:prstDash val="solid"/>
              <a:round/>
              <a:headEnd type="none" w="sm" len="sm"/>
              <a:tailEnd type="none" w="sm" len="sm"/>
            </a:ln>
          </p:spPr>
          <p:txBody>
            <a:bodyPr spcFirstLastPara="1" wrap="square" lIns="182850" tIns="146275" rIns="182850" bIns="146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sp>
          <p:nvSpPr>
            <p:cNvPr id="130" name="Google Shape;4690;p171">
              <a:extLst>
                <a:ext uri="{FF2B5EF4-FFF2-40B4-BE49-F238E27FC236}">
                  <a16:creationId xmlns:a16="http://schemas.microsoft.com/office/drawing/2014/main" id="{E12D752B-517E-4078-BF63-D16DDF9AEBAF}"/>
                </a:ext>
              </a:extLst>
            </p:cNvPr>
            <p:cNvSpPr/>
            <p:nvPr/>
          </p:nvSpPr>
          <p:spPr>
            <a:xfrm>
              <a:off x="9133105" y="4213596"/>
              <a:ext cx="182330" cy="342323"/>
            </a:xfrm>
            <a:custGeom>
              <a:avLst/>
              <a:gdLst/>
              <a:ahLst/>
              <a:cxnLst/>
              <a:rect l="l" t="t" r="r" b="b"/>
              <a:pathLst>
                <a:path w="2847109" h="4810991" extrusionOk="0">
                  <a:moveTo>
                    <a:pt x="1641764" y="0"/>
                  </a:moveTo>
                  <a:lnTo>
                    <a:pt x="2847109" y="0"/>
                  </a:lnTo>
                  <a:lnTo>
                    <a:pt x="2847109" y="1797627"/>
                  </a:lnTo>
                  <a:lnTo>
                    <a:pt x="290946" y="4810991"/>
                  </a:lnTo>
                  <a:lnTo>
                    <a:pt x="0" y="3647209"/>
                  </a:lnTo>
                  <a:lnTo>
                    <a:pt x="1662546" y="1787236"/>
                  </a:lnTo>
                  <a:lnTo>
                    <a:pt x="1641764" y="0"/>
                  </a:lnTo>
                  <a:close/>
                </a:path>
              </a:pathLst>
            </a:custGeom>
            <a:solidFill>
              <a:schemeClr val="lt2"/>
            </a:solidFill>
            <a:ln w="12700" cap="flat" cmpd="sng">
              <a:solidFill>
                <a:schemeClr val="dk2"/>
              </a:solidFill>
              <a:prstDash val="solid"/>
              <a:round/>
              <a:headEnd type="none" w="sm" len="sm"/>
              <a:tailEnd type="none" w="sm" len="sm"/>
            </a:ln>
          </p:spPr>
          <p:txBody>
            <a:bodyPr spcFirstLastPara="1" wrap="square" lIns="182850" tIns="146275" rIns="182850" bIns="146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sp>
          <p:nvSpPr>
            <p:cNvPr id="131" name="Google Shape;4691;p171">
              <a:extLst>
                <a:ext uri="{FF2B5EF4-FFF2-40B4-BE49-F238E27FC236}">
                  <a16:creationId xmlns:a16="http://schemas.microsoft.com/office/drawing/2014/main" id="{88A4F5E2-BFAF-4F8F-B45D-B6A52AF0A15F}"/>
                </a:ext>
              </a:extLst>
            </p:cNvPr>
            <p:cNvSpPr/>
            <p:nvPr/>
          </p:nvSpPr>
          <p:spPr>
            <a:xfrm>
              <a:off x="9304636" y="4365904"/>
              <a:ext cx="133754" cy="190015"/>
            </a:xfrm>
            <a:custGeom>
              <a:avLst/>
              <a:gdLst/>
              <a:ahLst/>
              <a:cxnLst/>
              <a:rect l="l" t="t" r="r" b="b"/>
              <a:pathLst>
                <a:path w="2088573" h="2670464" extrusionOk="0">
                  <a:moveTo>
                    <a:pt x="0" y="883227"/>
                  </a:moveTo>
                  <a:lnTo>
                    <a:pt x="737755" y="0"/>
                  </a:lnTo>
                  <a:lnTo>
                    <a:pt x="2088573" y="1517073"/>
                  </a:lnTo>
                  <a:lnTo>
                    <a:pt x="1797627" y="2670464"/>
                  </a:lnTo>
                  <a:lnTo>
                    <a:pt x="0" y="883227"/>
                  </a:lnTo>
                  <a:close/>
                </a:path>
              </a:pathLst>
            </a:custGeom>
            <a:solidFill>
              <a:schemeClr val="lt2"/>
            </a:solidFill>
            <a:ln w="12700" cap="flat" cmpd="sng">
              <a:solidFill>
                <a:schemeClr val="dk2"/>
              </a:solidFill>
              <a:prstDash val="solid"/>
              <a:round/>
              <a:headEnd type="none" w="sm" len="sm"/>
              <a:tailEnd type="none" w="sm" len="sm"/>
            </a:ln>
          </p:spPr>
          <p:txBody>
            <a:bodyPr spcFirstLastPara="1" wrap="square" lIns="182850" tIns="146275" rIns="182850" bIns="146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sp>
          <p:nvSpPr>
            <p:cNvPr id="132" name="Google Shape;4661;p171">
              <a:extLst>
                <a:ext uri="{FF2B5EF4-FFF2-40B4-BE49-F238E27FC236}">
                  <a16:creationId xmlns:a16="http://schemas.microsoft.com/office/drawing/2014/main" id="{5BA93C63-7CD9-44B8-8110-B87C3C2408A2}"/>
                </a:ext>
              </a:extLst>
            </p:cNvPr>
            <p:cNvSpPr txBox="1"/>
            <p:nvPr/>
          </p:nvSpPr>
          <p:spPr>
            <a:xfrm>
              <a:off x="8635441" y="4582389"/>
              <a:ext cx="1315498" cy="346598"/>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000000"/>
                  </a:solidFill>
                  <a:effectLst/>
                  <a:uLnTx/>
                  <a:uFillTx/>
                  <a:latin typeface="Quattrocento Sans"/>
                  <a:ea typeface="Quattrocento Sans"/>
                  <a:cs typeface="Quattrocento Sans"/>
                  <a:sym typeface="Quattrocento Sans"/>
                </a:rPr>
                <a:t>Azure Machine Learning</a:t>
              </a:r>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4648"/>
                                        </p:tgtEl>
                                        <p:attrNameLst>
                                          <p:attrName>style.visibility</p:attrName>
                                        </p:attrNameLst>
                                      </p:cBhvr>
                                      <p:to>
                                        <p:strVal val="visible"/>
                                      </p:to>
                                    </p:set>
                                    <p:animEffect transition="in" filter="fade">
                                      <p:cBhvr>
                                        <p:cTn id="7" dur="500"/>
                                        <p:tgtEl>
                                          <p:spTgt spid="4648"/>
                                        </p:tgtEl>
                                      </p:cBhvr>
                                    </p:animEffect>
                                  </p:childTnLst>
                                </p:cTn>
                              </p:par>
                              <p:par>
                                <p:cTn id="8" presetID="10" presetClass="entr" presetSubtype="0" fill="hold" nodeType="withEffect">
                                  <p:stCondLst>
                                    <p:cond delay="1000"/>
                                  </p:stCondLst>
                                  <p:childTnLst>
                                    <p:set>
                                      <p:cBhvr>
                                        <p:cTn id="9" dur="1" fill="hold">
                                          <p:stCondLst>
                                            <p:cond delay="0"/>
                                          </p:stCondLst>
                                        </p:cTn>
                                        <p:tgtEl>
                                          <p:spTgt spid="4770"/>
                                        </p:tgtEl>
                                        <p:attrNameLst>
                                          <p:attrName>style.visibility</p:attrName>
                                        </p:attrNameLst>
                                      </p:cBhvr>
                                      <p:to>
                                        <p:strVal val="visible"/>
                                      </p:to>
                                    </p:set>
                                    <p:animEffect transition="in" filter="fade">
                                      <p:cBhvr>
                                        <p:cTn id="10" dur="500"/>
                                        <p:tgtEl>
                                          <p:spTgt spid="4770"/>
                                        </p:tgtEl>
                                      </p:cBhvr>
                                    </p:animEffect>
                                  </p:childTnLst>
                                </p:cTn>
                              </p:par>
                              <p:par>
                                <p:cTn id="11" presetID="10" presetClass="entr" presetSubtype="0" fill="hold" nodeType="withEffect">
                                  <p:stCondLst>
                                    <p:cond delay="1000"/>
                                  </p:stCondLst>
                                  <p:childTnLst>
                                    <p:set>
                                      <p:cBhvr>
                                        <p:cTn id="12" dur="1" fill="hold">
                                          <p:stCondLst>
                                            <p:cond delay="0"/>
                                          </p:stCondLst>
                                        </p:cTn>
                                        <p:tgtEl>
                                          <p:spTgt spid="4763"/>
                                        </p:tgtEl>
                                        <p:attrNameLst>
                                          <p:attrName>style.visibility</p:attrName>
                                        </p:attrNameLst>
                                      </p:cBhvr>
                                      <p:to>
                                        <p:strVal val="visible"/>
                                      </p:to>
                                    </p:set>
                                    <p:animEffect transition="in" filter="fade">
                                      <p:cBhvr>
                                        <p:cTn id="13" dur="500"/>
                                        <p:tgtEl>
                                          <p:spTgt spid="4763"/>
                                        </p:tgtEl>
                                      </p:cBhvr>
                                    </p:animEffect>
                                  </p:childTnLst>
                                </p:cTn>
                              </p:par>
                              <p:par>
                                <p:cTn id="14" presetID="10" presetClass="entr" presetSubtype="0" fill="hold" nodeType="withEffect">
                                  <p:stCondLst>
                                    <p:cond delay="1000"/>
                                  </p:stCondLst>
                                  <p:childTnLst>
                                    <p:set>
                                      <p:cBhvr>
                                        <p:cTn id="15" dur="1" fill="hold">
                                          <p:stCondLst>
                                            <p:cond delay="0"/>
                                          </p:stCondLst>
                                        </p:cTn>
                                        <p:tgtEl>
                                          <p:spTgt spid="4764"/>
                                        </p:tgtEl>
                                        <p:attrNameLst>
                                          <p:attrName>style.visibility</p:attrName>
                                        </p:attrNameLst>
                                      </p:cBhvr>
                                      <p:to>
                                        <p:strVal val="visible"/>
                                      </p:to>
                                    </p:set>
                                    <p:animEffect transition="in" filter="fade">
                                      <p:cBhvr>
                                        <p:cTn id="16" dur="500"/>
                                        <p:tgtEl>
                                          <p:spTgt spid="47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DF34A9A-E59C-4603-A7EB-30D1B4CEF9C6}"/>
              </a:ext>
            </a:extLst>
          </p:cNvPr>
          <p:cNvSpPr>
            <a:spLocks noGrp="1"/>
          </p:cNvSpPr>
          <p:nvPr>
            <p:ph type="pic" sz="quarter" idx="10"/>
          </p:nvPr>
        </p:nvSpPr>
        <p:spPr/>
      </p:sp>
      <p:sp>
        <p:nvSpPr>
          <p:cNvPr id="3" name="Title 2">
            <a:extLst>
              <a:ext uri="{FF2B5EF4-FFF2-40B4-BE49-F238E27FC236}">
                <a16:creationId xmlns:a16="http://schemas.microsoft.com/office/drawing/2014/main" id="{8DD5737B-C4DD-4834-BDED-D083D733D650}"/>
              </a:ext>
            </a:extLst>
          </p:cNvPr>
          <p:cNvSpPr>
            <a:spLocks noGrp="1"/>
          </p:cNvSpPr>
          <p:nvPr>
            <p:ph type="title"/>
          </p:nvPr>
        </p:nvSpPr>
        <p:spPr>
          <a:xfrm>
            <a:off x="455995" y="620428"/>
            <a:ext cx="5541959" cy="795089"/>
          </a:xfrm>
        </p:spPr>
        <p:txBody>
          <a:bodyPr/>
          <a:lstStyle/>
          <a:p>
            <a:r>
              <a:rPr lang="en-US"/>
              <a:t>What is automated machine learning?</a:t>
            </a:r>
          </a:p>
        </p:txBody>
      </p:sp>
      <p:sp>
        <p:nvSpPr>
          <p:cNvPr id="4" name="Footer Placeholder 3">
            <a:extLst>
              <a:ext uri="{FF2B5EF4-FFF2-40B4-BE49-F238E27FC236}">
                <a16:creationId xmlns:a16="http://schemas.microsoft.com/office/drawing/2014/main" id="{294C7786-9F78-4D63-B7B8-AD0F1472F174}"/>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3C3C41">
                    <a:tint val="75000"/>
                  </a:srgbClr>
                </a:solidFill>
                <a:effectLst/>
                <a:uLnTx/>
                <a:uFillTx/>
                <a:latin typeface="Segoe UI"/>
                <a:ea typeface="+mn-ea"/>
                <a:cs typeface="+mn-cs"/>
              </a:rPr>
              <a:t>© Microsoft Corporation                                                                                  								</a:t>
            </a:r>
          </a:p>
        </p:txBody>
      </p:sp>
      <p:sp>
        <p:nvSpPr>
          <p:cNvPr id="7" name="Picture Placeholder 3"/>
          <p:cNvSpPr txBox="1">
            <a:spLocks/>
          </p:cNvSpPr>
          <p:nvPr/>
        </p:nvSpPr>
        <p:spPr>
          <a:xfrm>
            <a:off x="6209610" y="487"/>
            <a:ext cx="5982390" cy="6857027"/>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p:spPr>
        <p:txBody>
          <a:bodyPr vert="horz" wrap="square" lIns="0" tIns="89642" rIns="143428" bIns="89642" rtlCol="0" anchor="ctr">
            <a:no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50" baseline="0">
                <a:solidFill>
                  <a:schemeClr val="bg2"/>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961" b="0" i="0" u="none" strike="noStrike" kern="1200" cap="none" spc="-50" normalizeH="0" baseline="0" noProof="0">
              <a:ln>
                <a:noFill/>
              </a:ln>
              <a:solidFill>
                <a:srgbClr val="FFFFFF"/>
              </a:solidFill>
              <a:effectLst/>
              <a:uLnTx/>
              <a:uFillTx/>
              <a:latin typeface="Segoe UI Semibold"/>
              <a:ea typeface="+mn-ea"/>
              <a:cs typeface="+mn-cs"/>
            </a:endParaRPr>
          </a:p>
        </p:txBody>
      </p:sp>
      <p:sp>
        <p:nvSpPr>
          <p:cNvPr id="2" name="Rectangle 1">
            <a:extLst>
              <a:ext uri="{FF2B5EF4-FFF2-40B4-BE49-F238E27FC236}">
                <a16:creationId xmlns:a16="http://schemas.microsoft.com/office/drawing/2014/main" id="{4567FB48-5500-4FE5-A654-C364419F1027}"/>
              </a:ext>
            </a:extLst>
          </p:cNvPr>
          <p:cNvSpPr/>
          <p:nvPr/>
        </p:nvSpPr>
        <p:spPr>
          <a:xfrm>
            <a:off x="257956" y="2045799"/>
            <a:ext cx="5951654" cy="1287212"/>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panose="020B0502040204020203" pitchFamily="34" charset="0"/>
                <a:ea typeface="+mn-ea"/>
                <a:cs typeface="+mn-cs"/>
              </a:rPr>
              <a:t>Automated machine learning (automated ML) automates feature engineering, algorithm and hyperparameter selection to find the best model for your data.</a:t>
            </a:r>
          </a:p>
        </p:txBody>
      </p:sp>
    </p:spTree>
    <p:custDataLst>
      <p:tags r:id="rId1"/>
    </p:custDataLst>
    <p:extLst>
      <p:ext uri="{BB962C8B-B14F-4D97-AF65-F5344CB8AC3E}">
        <p14:creationId xmlns:p14="http://schemas.microsoft.com/office/powerpoint/2010/main" val="3041833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655320" y="365125"/>
            <a:ext cx="5120114" cy="1692794"/>
          </a:xfrm>
        </p:spPr>
        <p:txBody>
          <a:bodyPr vert="horz" lIns="91440" tIns="45720" rIns="91440" bIns="45720" rtlCol="0" anchor="ctr">
            <a:normAutofit/>
          </a:bodyPr>
          <a:lstStyle/>
          <a:p>
            <a:r>
              <a:rPr lang="en-US" sz="4400">
                <a:solidFill>
                  <a:schemeClr val="tx1"/>
                </a:solidFill>
              </a:rPr>
              <a:t>Agenda</a:t>
            </a:r>
          </a:p>
        </p:txBody>
      </p:sp>
      <p:cxnSp>
        <p:nvCxnSpPr>
          <p:cNvPr id="25" name="Straight Arrow Connector 20">
            <a:extLst>
              <a:ext uri="{FF2B5EF4-FFF2-40B4-BE49-F238E27FC236}">
                <a16:creationId xmlns:a16="http://schemas.microsoft.com/office/drawing/2014/main" id="{E4A809D5-3600-46D4-A466-67F2349A54F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55320" y="2316480"/>
            <a:ext cx="4572000" cy="0"/>
          </a:xfrm>
          <a:prstGeom prst="straightConnector1">
            <a:avLst/>
          </a:prstGeom>
          <a:ln w="19050" cap="sq">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4294967295"/>
          </p:nvPr>
        </p:nvSpPr>
        <p:spPr>
          <a:xfrm>
            <a:off x="655321" y="2575034"/>
            <a:ext cx="5120113" cy="3462228"/>
          </a:xfrm>
        </p:spPr>
        <p:txBody>
          <a:bodyPr vert="horz" lIns="91440" tIns="45720" rIns="91440" bIns="45720" rtlCol="0">
            <a:normAutofit/>
          </a:bodyPr>
          <a:lstStyle/>
          <a:p>
            <a:pPr marL="114300" lvl="0" indent="0">
              <a:spcBef>
                <a:spcPts val="1000"/>
              </a:spcBef>
              <a:buSzTx/>
              <a:buNone/>
            </a:pPr>
            <a:r>
              <a:rPr lang="en-US" sz="1800" dirty="0"/>
              <a:t>Agenda:</a:t>
            </a:r>
            <a:br>
              <a:rPr lang="en-US" sz="1800" dirty="0"/>
            </a:br>
            <a:br>
              <a:rPr lang="en-US" sz="1800" dirty="0"/>
            </a:br>
            <a:r>
              <a:rPr lang="en-US" sz="1800" dirty="0"/>
              <a:t>Introduction</a:t>
            </a:r>
            <a:br>
              <a:rPr lang="en-US" sz="1800" dirty="0"/>
            </a:br>
            <a:r>
              <a:rPr lang="en-US" sz="1800" dirty="0"/>
              <a:t>Azure Machine learning Intro — 1 hour</a:t>
            </a:r>
            <a:br>
              <a:rPr lang="en-US" sz="1800" dirty="0"/>
            </a:br>
            <a:r>
              <a:rPr lang="en-US" sz="1800" dirty="0"/>
              <a:t>OpenHack use case introduction — 15 mins</a:t>
            </a:r>
            <a:br>
              <a:rPr lang="en-US" sz="1800" dirty="0"/>
            </a:br>
            <a:r>
              <a:rPr lang="en-US" sz="1800" dirty="0"/>
              <a:t>OpenHack – 4 Hours</a:t>
            </a:r>
            <a:br>
              <a:rPr lang="en-US" sz="1800" dirty="0"/>
            </a:br>
            <a:r>
              <a:rPr lang="en-US" sz="1800" dirty="0"/>
              <a:t>Take Break when experimentation starts</a:t>
            </a:r>
            <a:br>
              <a:rPr lang="en-US" sz="1800" dirty="0"/>
            </a:br>
            <a:r>
              <a:rPr lang="en-US" sz="1800" dirty="0"/>
              <a:t>Deploy model — 1 hour</a:t>
            </a:r>
            <a:br>
              <a:rPr lang="en-US" sz="1800" dirty="0"/>
            </a:br>
            <a:r>
              <a:rPr lang="en-US" sz="1800" dirty="0"/>
              <a:t>Clean up — 15 minutes</a:t>
            </a:r>
          </a:p>
        </p:txBody>
      </p:sp>
      <p:pic>
        <p:nvPicPr>
          <p:cNvPr id="4" name="Picture Placeholder 3" descr="A person sitting in a living room&#10;&#10;Description automatically generated">
            <a:extLst>
              <a:ext uri="{FF2B5EF4-FFF2-40B4-BE49-F238E27FC236}">
                <a16:creationId xmlns:a16="http://schemas.microsoft.com/office/drawing/2014/main" id="{CB4B5CCE-E3F0-40A8-8ADE-22403304755D}"/>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19277" r="19275" b="-1"/>
          <a:stretch/>
        </p:blipFill>
        <p:spPr>
          <a:xfrm>
            <a:off x="5878849" y="10"/>
            <a:ext cx="6313150" cy="6857987"/>
          </a:xfrm>
          <a:custGeom>
            <a:avLst/>
            <a:gdLst>
              <a:gd name="connsiteX0" fmla="*/ 65565 w 6313150"/>
              <a:gd name="connsiteY0" fmla="*/ 0 h 6857997"/>
              <a:gd name="connsiteX1" fmla="*/ 6313150 w 6313150"/>
              <a:gd name="connsiteY1" fmla="*/ 0 h 6857997"/>
              <a:gd name="connsiteX2" fmla="*/ 6313150 w 6313150"/>
              <a:gd name="connsiteY2" fmla="*/ 6857997 h 6857997"/>
              <a:gd name="connsiteX3" fmla="*/ 3293946 w 6313150"/>
              <a:gd name="connsiteY3" fmla="*/ 6857997 h 6857997"/>
              <a:gd name="connsiteX4" fmla="*/ 3235857 w 6313150"/>
              <a:gd name="connsiteY4" fmla="*/ 6823061 h 6857997"/>
              <a:gd name="connsiteX5" fmla="*/ 0 w 6313150"/>
              <a:gd name="connsiteY5" fmla="*/ 951803 h 6857997"/>
              <a:gd name="connsiteX6" fmla="*/ 31536 w 6313150"/>
              <a:gd name="connsiteY6" fmla="*/ 285771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3150" h="6857997">
                <a:moveTo>
                  <a:pt x="65565" y="0"/>
                </a:moveTo>
                <a:lnTo>
                  <a:pt x="6313150" y="0"/>
                </a:lnTo>
                <a:lnTo>
                  <a:pt x="6313150" y="6857997"/>
                </a:lnTo>
                <a:lnTo>
                  <a:pt x="3293946" y="6857997"/>
                </a:lnTo>
                <a:lnTo>
                  <a:pt x="3235857" y="6823061"/>
                </a:lnTo>
                <a:cubicBezTo>
                  <a:pt x="1291240" y="5592803"/>
                  <a:pt x="0" y="3423096"/>
                  <a:pt x="0" y="951803"/>
                </a:cubicBezTo>
                <a:cubicBezTo>
                  <a:pt x="0" y="727140"/>
                  <a:pt x="10673" y="504970"/>
                  <a:pt x="31536" y="285771"/>
                </a:cubicBezTo>
                <a:close/>
              </a:path>
            </a:pathLst>
          </a:custGeom>
        </p:spPr>
      </p:pic>
    </p:spTree>
    <p:extLst>
      <p:ext uri="{BB962C8B-B14F-4D97-AF65-F5344CB8AC3E}">
        <p14:creationId xmlns:p14="http://schemas.microsoft.com/office/powerpoint/2010/main" val="379949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FDA00C-10FC-497A-8214-781EE146BC84}"/>
              </a:ext>
            </a:extLst>
          </p:cNvPr>
          <p:cNvSpPr>
            <a:spLocks noGrp="1"/>
          </p:cNvSpPr>
          <p:nvPr>
            <p:ph type="title"/>
          </p:nvPr>
        </p:nvSpPr>
        <p:spPr>
          <a:xfrm>
            <a:off x="442765" y="257290"/>
            <a:ext cx="11306469" cy="397545"/>
          </a:xfrm>
        </p:spPr>
        <p:txBody>
          <a:bodyPr/>
          <a:lstStyle/>
          <a:p>
            <a:r>
              <a:rPr lang="en-ZA"/>
              <a:t>Automated ML Mission</a:t>
            </a:r>
            <a:endParaRPr lang="en-US"/>
          </a:p>
        </p:txBody>
      </p:sp>
      <p:sp>
        <p:nvSpPr>
          <p:cNvPr id="4" name="Text Placeholder 3">
            <a:extLst>
              <a:ext uri="{FF2B5EF4-FFF2-40B4-BE49-F238E27FC236}">
                <a16:creationId xmlns:a16="http://schemas.microsoft.com/office/drawing/2014/main" id="{5E81F9EC-5923-4E46-A504-19D06CA0DB4D}"/>
              </a:ext>
            </a:extLst>
          </p:cNvPr>
          <p:cNvSpPr>
            <a:spLocks noGrp="1"/>
          </p:cNvSpPr>
          <p:nvPr>
            <p:ph type="body" sz="quarter" idx="11"/>
          </p:nvPr>
        </p:nvSpPr>
        <p:spPr>
          <a:xfrm>
            <a:off x="455995" y="4927922"/>
            <a:ext cx="3618381" cy="230832"/>
          </a:xfrm>
        </p:spPr>
        <p:txBody>
          <a:bodyPr/>
          <a:lstStyle/>
          <a:p>
            <a:r>
              <a:rPr lang="en-US" sz="1800"/>
              <a:t>Democratize AI</a:t>
            </a:r>
          </a:p>
        </p:txBody>
      </p:sp>
      <p:sp>
        <p:nvSpPr>
          <p:cNvPr id="5" name="Text Placeholder 4">
            <a:extLst>
              <a:ext uri="{FF2B5EF4-FFF2-40B4-BE49-F238E27FC236}">
                <a16:creationId xmlns:a16="http://schemas.microsoft.com/office/drawing/2014/main" id="{FC6206CA-1074-4F41-B560-CE4BF14C3D08}"/>
              </a:ext>
            </a:extLst>
          </p:cNvPr>
          <p:cNvSpPr>
            <a:spLocks noGrp="1"/>
          </p:cNvSpPr>
          <p:nvPr>
            <p:ph type="body" sz="quarter" idx="13"/>
          </p:nvPr>
        </p:nvSpPr>
        <p:spPr>
          <a:xfrm>
            <a:off x="8144083" y="4927922"/>
            <a:ext cx="3618381" cy="230832"/>
          </a:xfrm>
        </p:spPr>
        <p:txBody>
          <a:bodyPr/>
          <a:lstStyle/>
          <a:p>
            <a:r>
              <a:rPr lang="en-US" sz="1800"/>
              <a:t>Scale AI</a:t>
            </a:r>
          </a:p>
        </p:txBody>
      </p:sp>
      <p:sp>
        <p:nvSpPr>
          <p:cNvPr id="8" name="Text Placeholder 7">
            <a:extLst>
              <a:ext uri="{FF2B5EF4-FFF2-40B4-BE49-F238E27FC236}">
                <a16:creationId xmlns:a16="http://schemas.microsoft.com/office/drawing/2014/main" id="{A038194C-8834-4659-BFDC-D48837081614}"/>
              </a:ext>
            </a:extLst>
          </p:cNvPr>
          <p:cNvSpPr>
            <a:spLocks noGrp="1"/>
          </p:cNvSpPr>
          <p:nvPr>
            <p:ph type="body" sz="quarter" idx="20"/>
          </p:nvPr>
        </p:nvSpPr>
        <p:spPr>
          <a:xfrm>
            <a:off x="4303151" y="4927922"/>
            <a:ext cx="3618381" cy="230832"/>
          </a:xfrm>
        </p:spPr>
        <p:txBody>
          <a:bodyPr/>
          <a:lstStyle/>
          <a:p>
            <a:r>
              <a:rPr lang="en-US" sz="1800"/>
              <a:t>Accelerate AI</a:t>
            </a:r>
          </a:p>
        </p:txBody>
      </p:sp>
      <p:sp>
        <p:nvSpPr>
          <p:cNvPr id="9" name="Footer Placeholder 8">
            <a:extLst>
              <a:ext uri="{FF2B5EF4-FFF2-40B4-BE49-F238E27FC236}">
                <a16:creationId xmlns:a16="http://schemas.microsoft.com/office/drawing/2014/main" id="{44D5F748-3E01-4600-97E1-F21877FA53F4}"/>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sp>
        <p:nvSpPr>
          <p:cNvPr id="2" name="Rectangle 1">
            <a:extLst>
              <a:ext uri="{FF2B5EF4-FFF2-40B4-BE49-F238E27FC236}">
                <a16:creationId xmlns:a16="http://schemas.microsoft.com/office/drawing/2014/main" id="{B84150C8-DB9B-4BF0-A072-E648AF6934E3}"/>
              </a:ext>
            </a:extLst>
          </p:cNvPr>
          <p:cNvSpPr/>
          <p:nvPr/>
        </p:nvSpPr>
        <p:spPr>
          <a:xfrm>
            <a:off x="442765" y="999607"/>
            <a:ext cx="11069216"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panose="020B0502040204020203" pitchFamily="34" charset="0"/>
                <a:ea typeface="+mn-ea"/>
                <a:cs typeface="+mn-cs"/>
              </a:rPr>
              <a:t>Enable automated building of machine learning with the goal of accelerating, democratizing and scaling AI</a:t>
            </a:r>
            <a:endParaRPr kumimoji="0" lang="en-US" sz="1800" b="0" i="0" u="none" strike="noStrike" kern="1200" cap="none" spc="0" normalizeH="0" baseline="0" noProof="0">
              <a:ln>
                <a:noFill/>
              </a:ln>
              <a:solidFill>
                <a:srgbClr val="3C3C41"/>
              </a:solidFill>
              <a:effectLst/>
              <a:uLnTx/>
              <a:uFillTx/>
              <a:latin typeface="Calibri" panose="020F0502020204030204"/>
              <a:ea typeface="+mn-ea"/>
              <a:cs typeface="+mn-cs"/>
            </a:endParaRPr>
          </a:p>
        </p:txBody>
      </p:sp>
      <p:sp>
        <p:nvSpPr>
          <p:cNvPr id="11" name="Text Placeholder 8">
            <a:extLst>
              <a:ext uri="{FF2B5EF4-FFF2-40B4-BE49-F238E27FC236}">
                <a16:creationId xmlns:a16="http://schemas.microsoft.com/office/drawing/2014/main" id="{5C750B00-095C-4F43-8CB6-58DBF854716C}"/>
              </a:ext>
            </a:extLst>
          </p:cNvPr>
          <p:cNvSpPr txBox="1">
            <a:spLocks/>
          </p:cNvSpPr>
          <p:nvPr/>
        </p:nvSpPr>
        <p:spPr>
          <a:xfrm>
            <a:off x="361838" y="5210531"/>
            <a:ext cx="3519697" cy="523220"/>
          </a:xfrm>
          <a:prstGeom prst="rect">
            <a:avLst/>
          </a:prstGeom>
        </p:spPr>
        <p:txBody>
          <a:bodyPr wrap="square">
            <a:spAutoFit/>
          </a:bodyPr>
          <a:lstStyle>
            <a:defPPr>
              <a:defRPr lang="en-US"/>
            </a:defPPr>
            <a:lvl1pPr lvl="0">
              <a:defRPr>
                <a:latin typeface="Segoe UI" panose="020B0502040204020203" pitchFamily="34" charset="0"/>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panose="020B0502040204020203" pitchFamily="34" charset="0"/>
                <a:ea typeface="+mn-ea"/>
                <a:cs typeface="+mn-cs"/>
              </a:rPr>
              <a:t>Enable Domain Experts &amp; Developers to get rapidly build AI solutions</a:t>
            </a:r>
          </a:p>
        </p:txBody>
      </p:sp>
      <p:sp>
        <p:nvSpPr>
          <p:cNvPr id="12" name="Text Placeholder 8">
            <a:extLst>
              <a:ext uri="{FF2B5EF4-FFF2-40B4-BE49-F238E27FC236}">
                <a16:creationId xmlns:a16="http://schemas.microsoft.com/office/drawing/2014/main" id="{1D26F347-C21C-4D24-A78E-C37DE7C1C46B}"/>
              </a:ext>
            </a:extLst>
          </p:cNvPr>
          <p:cNvSpPr txBox="1">
            <a:spLocks/>
          </p:cNvSpPr>
          <p:nvPr/>
        </p:nvSpPr>
        <p:spPr>
          <a:xfrm>
            <a:off x="4193891" y="5185671"/>
            <a:ext cx="3519697" cy="738664"/>
          </a:xfrm>
          <a:prstGeom prst="rect">
            <a:avLst/>
          </a:prstGeom>
        </p:spPr>
        <p:txBody>
          <a:bodyPr wrap="square">
            <a:spAutoFit/>
          </a:bodyPr>
          <a:lstStyle>
            <a:defPPr>
              <a:defRPr lang="en-US"/>
            </a:defPPr>
            <a:lvl1pPr lvl="0">
              <a:defRPr>
                <a:latin typeface="Segoe UI" panose="020B0502040204020203" pitchFamily="34" charset="0"/>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panose="020B0502040204020203" pitchFamily="34" charset="0"/>
                <a:ea typeface="+mn-ea"/>
                <a:cs typeface="+mn-cs"/>
              </a:rPr>
              <a:t>Improve Productivity for Data Scientists, Citizen Data Scientists, App Developers &amp; Analysts </a:t>
            </a:r>
          </a:p>
        </p:txBody>
      </p:sp>
      <p:sp>
        <p:nvSpPr>
          <p:cNvPr id="6" name="Rectangle 5">
            <a:extLst>
              <a:ext uri="{FF2B5EF4-FFF2-40B4-BE49-F238E27FC236}">
                <a16:creationId xmlns:a16="http://schemas.microsoft.com/office/drawing/2014/main" id="{87C65FB8-6542-4F46-B0BF-29CF3C87B662}"/>
              </a:ext>
            </a:extLst>
          </p:cNvPr>
          <p:cNvSpPr/>
          <p:nvPr/>
        </p:nvSpPr>
        <p:spPr>
          <a:xfrm>
            <a:off x="8025945" y="5253620"/>
            <a:ext cx="3723289" cy="480131"/>
          </a:xfrm>
          <a:prstGeom prst="rect">
            <a:avLst/>
          </a:prstGeom>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panose="020B0502040204020203" pitchFamily="34" charset="0"/>
                <a:ea typeface="+mn-ea"/>
                <a:cs typeface="+mn-cs"/>
              </a:rPr>
              <a:t>Build AI solutions at scale in an automated fashion</a:t>
            </a:r>
          </a:p>
        </p:txBody>
      </p:sp>
      <p:pic>
        <p:nvPicPr>
          <p:cNvPr id="17" name="Content Placeholder 16" descr="A building with a metal fence&#10;&#10;Description automatically generated">
            <a:extLst>
              <a:ext uri="{FF2B5EF4-FFF2-40B4-BE49-F238E27FC236}">
                <a16:creationId xmlns:a16="http://schemas.microsoft.com/office/drawing/2014/main" id="{29D796C2-1371-4462-9035-C1CE0B9625F4}"/>
              </a:ext>
            </a:extLst>
          </p:cNvPr>
          <p:cNvPicPr>
            <a:picLocks noGrp="1" noChangeAspect="1"/>
          </p:cNvPicPr>
          <p:nvPr>
            <p:ph sz="quarter" idx="19"/>
          </p:nvPr>
        </p:nvPicPr>
        <p:blipFill>
          <a:blip r:embed="rId4">
            <a:extLst>
              <a:ext uri="{28A0092B-C50C-407E-A947-70E740481C1C}">
                <a14:useLocalDpi xmlns:a14="http://schemas.microsoft.com/office/drawing/2010/main" val="0"/>
              </a:ext>
            </a:extLst>
          </a:blip>
          <a:stretch>
            <a:fillRect/>
          </a:stretch>
        </p:blipFill>
        <p:spPr>
          <a:xfrm>
            <a:off x="8143875" y="1946576"/>
            <a:ext cx="3609975" cy="2406048"/>
          </a:xfrm>
        </p:spPr>
      </p:pic>
      <p:pic>
        <p:nvPicPr>
          <p:cNvPr id="30" name="Content Placeholder 29" descr="A person using a computer&#10;&#10;Description automatically generated">
            <a:extLst>
              <a:ext uri="{FF2B5EF4-FFF2-40B4-BE49-F238E27FC236}">
                <a16:creationId xmlns:a16="http://schemas.microsoft.com/office/drawing/2014/main" id="{6B78353C-6FB1-49FA-914F-7D18207ECCCE}"/>
              </a:ext>
            </a:extLst>
          </p:cNvPr>
          <p:cNvPicPr>
            <a:picLocks noGrp="1" noChangeAspect="1"/>
          </p:cNvPicPr>
          <p:nvPr>
            <p:ph sz="quarter" idx="17"/>
          </p:nvPr>
        </p:nvPicPr>
        <p:blipFill>
          <a:blip r:embed="rId5">
            <a:extLst>
              <a:ext uri="{28A0092B-C50C-407E-A947-70E740481C1C}">
                <a14:useLocalDpi xmlns:a14="http://schemas.microsoft.com/office/drawing/2010/main" val="0"/>
              </a:ext>
            </a:extLst>
          </a:blip>
          <a:stretch>
            <a:fillRect/>
          </a:stretch>
        </p:blipFill>
        <p:spPr>
          <a:xfrm>
            <a:off x="465138" y="1946275"/>
            <a:ext cx="3609975" cy="2406650"/>
          </a:xfrm>
        </p:spPr>
      </p:pic>
      <p:pic>
        <p:nvPicPr>
          <p:cNvPr id="34" name="Content Placeholder 33" descr="A person sitting at a table in front of a computer&#10;&#10;Description automatically generated">
            <a:extLst>
              <a:ext uri="{FF2B5EF4-FFF2-40B4-BE49-F238E27FC236}">
                <a16:creationId xmlns:a16="http://schemas.microsoft.com/office/drawing/2014/main" id="{5400F10F-834B-4087-A88B-A25385EDAAD5}"/>
              </a:ext>
            </a:extLst>
          </p:cNvPr>
          <p:cNvPicPr>
            <a:picLocks noGrp="1" noChangeAspect="1"/>
          </p:cNvPicPr>
          <p:nvPr>
            <p:ph sz="quarter" idx="18"/>
          </p:nvPr>
        </p:nvPicPr>
        <p:blipFill>
          <a:blip r:embed="rId6">
            <a:extLst>
              <a:ext uri="{28A0092B-C50C-407E-A947-70E740481C1C}">
                <a14:useLocalDpi xmlns:a14="http://schemas.microsoft.com/office/drawing/2010/main" val="0"/>
              </a:ext>
            </a:extLst>
          </a:blip>
          <a:stretch>
            <a:fillRect/>
          </a:stretch>
        </p:blipFill>
        <p:spPr>
          <a:xfrm>
            <a:off x="4300538" y="1946804"/>
            <a:ext cx="3608387" cy="2405591"/>
          </a:xfrm>
        </p:spPr>
      </p:pic>
    </p:spTree>
    <p:custDataLst>
      <p:tags r:id="rId1"/>
    </p:custDataLst>
    <p:extLst>
      <p:ext uri="{BB962C8B-B14F-4D97-AF65-F5344CB8AC3E}">
        <p14:creationId xmlns:p14="http://schemas.microsoft.com/office/powerpoint/2010/main" val="140073789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C4AC55CB-1E53-4046-9F18-736C738B94F2}"/>
              </a:ext>
            </a:extLst>
          </p:cNvPr>
          <p:cNvSpPr txBox="1">
            <a:spLocks/>
          </p:cNvSpPr>
          <p:nvPr/>
        </p:nvSpPr>
        <p:spPr>
          <a:xfrm>
            <a:off x="2660794" y="4873351"/>
            <a:ext cx="6885978" cy="568833"/>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800" i="0" u="none" strike="noStrike" kern="1200" cap="none" spc="-50" normalizeH="0" baseline="0" noProof="0">
                <a:ln w="3175">
                  <a:noFill/>
                </a:ln>
                <a:solidFill>
                  <a:srgbClr val="0078D4"/>
                </a:solidFill>
                <a:effectLst/>
                <a:uLnTx/>
                <a:uFillTx/>
                <a:latin typeface="Segoe UI Light" panose="020B0502040204020203" pitchFamily="34" charset="0"/>
                <a:cs typeface="Segoe UI Light" panose="020B0502040204020203" pitchFamily="34" charset="0"/>
              </a:rPr>
              <a:t>How much is this car worth?</a:t>
            </a:r>
          </a:p>
        </p:txBody>
      </p:sp>
      <p:sp>
        <p:nvSpPr>
          <p:cNvPr id="5" name="Freeform 5">
            <a:extLst>
              <a:ext uri="{FF2B5EF4-FFF2-40B4-BE49-F238E27FC236}">
                <a16:creationId xmlns:a16="http://schemas.microsoft.com/office/drawing/2014/main" id="{E3669FDF-B3F4-4C9E-A603-C252A18C2BAB}"/>
              </a:ext>
            </a:extLst>
          </p:cNvPr>
          <p:cNvSpPr>
            <a:spLocks noEditPoints="1"/>
          </p:cNvSpPr>
          <p:nvPr/>
        </p:nvSpPr>
        <p:spPr bwMode="auto">
          <a:xfrm>
            <a:off x="4446814" y="2659496"/>
            <a:ext cx="3298372" cy="1984378"/>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57150">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 name="Title 3">
            <a:extLst>
              <a:ext uri="{FF2B5EF4-FFF2-40B4-BE49-F238E27FC236}">
                <a16:creationId xmlns:a16="http://schemas.microsoft.com/office/drawing/2014/main" id="{035693D4-FD57-41B5-995B-476C4411F258}"/>
              </a:ext>
            </a:extLst>
          </p:cNvPr>
          <p:cNvSpPr>
            <a:spLocks noGrp="1"/>
          </p:cNvSpPr>
          <p:nvPr>
            <p:ph type="title"/>
          </p:nvPr>
        </p:nvSpPr>
        <p:spPr>
          <a:xfrm>
            <a:off x="836245" y="463942"/>
            <a:ext cx="10676125" cy="758022"/>
          </a:xfrm>
        </p:spPr>
        <p:txBody>
          <a:bodyPr/>
          <a:lstStyle/>
          <a:p>
            <a:r>
              <a:rPr lang="en-US">
                <a:latin typeface="Segoe UI Light" panose="020B0502040204020203" pitchFamily="34" charset="0"/>
                <a:cs typeface="Segoe UI Light" panose="020B0502040204020203" pitchFamily="34" charset="0"/>
              </a:rPr>
              <a:t>Machine Learning Problem Example</a:t>
            </a:r>
            <a:br>
              <a:rPr lang="en-US"/>
            </a:br>
            <a:endParaRPr lang="en-US" sz="2000" spc="0">
              <a:ln>
                <a:noFill/>
              </a:ln>
              <a:solidFill>
                <a:schemeClr val="tx2"/>
              </a:solidFill>
              <a:latin typeface="Segoe UI Semibold"/>
            </a:endParaRPr>
          </a:p>
        </p:txBody>
      </p:sp>
    </p:spTree>
    <p:extLst>
      <p:ext uri="{BB962C8B-B14F-4D97-AF65-F5344CB8AC3E}">
        <p14:creationId xmlns:p14="http://schemas.microsoft.com/office/powerpoint/2010/main" val="2014225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2" presetClass="entr" presetSubtype="8" accel="6667" fill="hold" grpId="0" nodeType="withEffect" p14:presetBounceEnd="35000">
                                      <p:stCondLst>
                                        <p:cond delay="0"/>
                                      </p:stCondLst>
                                      <p:childTnLst>
                                        <p:set>
                                          <p:cBhvr>
                                            <p:cTn id="9" dur="1" fill="hold">
                                              <p:stCondLst>
                                                <p:cond delay="0"/>
                                              </p:stCondLst>
                                            </p:cTn>
                                            <p:tgtEl>
                                              <p:spTgt spid="5"/>
                                            </p:tgtEl>
                                            <p:attrNameLst>
                                              <p:attrName>style.visibility</p:attrName>
                                            </p:attrNameLst>
                                          </p:cBhvr>
                                          <p:to>
                                            <p:strVal val="visible"/>
                                          </p:to>
                                        </p:set>
                                        <p:anim calcmode="lin" valueType="num" p14:bounceEnd="35000">
                                          <p:cBhvr additive="base">
                                            <p:cTn id="10" dur="750" fill="hold"/>
                                            <p:tgtEl>
                                              <p:spTgt spid="5"/>
                                            </p:tgtEl>
                                            <p:attrNameLst>
                                              <p:attrName>ppt_x</p:attrName>
                                            </p:attrNameLst>
                                          </p:cBhvr>
                                          <p:tavLst>
                                            <p:tav tm="0">
                                              <p:val>
                                                <p:strVal val="0-#ppt_w/2"/>
                                              </p:val>
                                            </p:tav>
                                            <p:tav tm="100000">
                                              <p:val>
                                                <p:strVal val="#ppt_x"/>
                                              </p:val>
                                            </p:tav>
                                          </p:tavLst>
                                        </p:anim>
                                        <p:anim calcmode="lin" valueType="num" p14:bounceEnd="35000">
                                          <p:cBhvr additive="base">
                                            <p:cTn id="11" dur="7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5"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2" presetClass="entr" presetSubtype="8" accel="6667"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 calcmode="lin" valueType="num">
                                          <p:cBhvr additive="base">
                                            <p:cTn id="10" dur="750" fill="hold"/>
                                            <p:tgtEl>
                                              <p:spTgt spid="5"/>
                                            </p:tgtEl>
                                            <p:attrNameLst>
                                              <p:attrName>ppt_x</p:attrName>
                                            </p:attrNameLst>
                                          </p:cBhvr>
                                          <p:tavLst>
                                            <p:tav tm="0">
                                              <p:val>
                                                <p:strVal val="0-#ppt_w/2"/>
                                              </p:val>
                                            </p:tav>
                                            <p:tav tm="100000">
                                              <p:val>
                                                <p:strVal val="#ppt_x"/>
                                              </p:val>
                                            </p:tav>
                                          </p:tavLst>
                                        </p:anim>
                                        <p:anim calcmode="lin" valueType="num">
                                          <p:cBhvr additive="base">
                                            <p:cTn id="11" dur="7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5" grpId="0" animBg="1"/>
        </p:bldLst>
      </p:timing>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2"/>
          <p:cNvSpPr>
            <a:spLocks noGrp="1"/>
          </p:cNvSpPr>
          <p:nvPr>
            <p:ph type="title"/>
          </p:nvPr>
        </p:nvSpPr>
        <p:spPr>
          <a:xfrm>
            <a:off x="735754" y="339959"/>
            <a:ext cx="11128895" cy="1107996"/>
          </a:xfrm>
        </p:spPr>
        <p:txBody>
          <a:bodyPr>
            <a:noAutofit/>
          </a:bodyPr>
          <a:lstStyle/>
          <a:p>
            <a:r>
              <a:rPr lang="en-US">
                <a:latin typeface="Segoe UI Light" panose="020B0502040204020203" pitchFamily="34" charset="0"/>
                <a:cs typeface="Segoe UI Light" panose="020B0502040204020203" pitchFamily="34" charset="0"/>
              </a:rPr>
              <a:t>Model Creation Is Typically Time-Consuming</a:t>
            </a:r>
          </a:p>
        </p:txBody>
      </p:sp>
      <p:sp>
        <p:nvSpPr>
          <p:cNvPr id="6" name="Rectangle 5">
            <a:extLst>
              <a:ext uri="{FF2B5EF4-FFF2-40B4-BE49-F238E27FC236}">
                <a16:creationId xmlns:a16="http://schemas.microsoft.com/office/drawing/2014/main" id="{1168F540-B516-4595-99BE-669BAE43E877}"/>
              </a:ext>
            </a:extLst>
          </p:cNvPr>
          <p:cNvSpPr/>
          <p:nvPr/>
        </p:nvSpPr>
        <p:spPr bwMode="auto">
          <a:xfrm>
            <a:off x="735582" y="2780150"/>
            <a:ext cx="1775864"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leag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ondit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ar brand</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Year of mak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Regulation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7" name="Rectangle 6">
            <a:extLst>
              <a:ext uri="{FF2B5EF4-FFF2-40B4-BE49-F238E27FC236}">
                <a16:creationId xmlns:a16="http://schemas.microsoft.com/office/drawing/2014/main" id="{6EA458CC-0786-48FB-A64B-B427CE24316B}"/>
              </a:ext>
            </a:extLst>
          </p:cNvPr>
          <p:cNvSpPr/>
          <p:nvPr/>
        </p:nvSpPr>
        <p:spPr bwMode="auto">
          <a:xfrm>
            <a:off x="5577476" y="2780150"/>
            <a:ext cx="1371644"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1</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2</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3</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4</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9" name="Rectangle 8">
            <a:extLst>
              <a:ext uri="{FF2B5EF4-FFF2-40B4-BE49-F238E27FC236}">
                <a16:creationId xmlns:a16="http://schemas.microsoft.com/office/drawing/2014/main" id="{8613D47F-F817-488D-A5C9-E311626DB096}"/>
              </a:ext>
            </a:extLst>
          </p:cNvPr>
          <p:cNvSpPr/>
          <p:nvPr/>
        </p:nvSpPr>
        <p:spPr bwMode="auto">
          <a:xfrm>
            <a:off x="3084711" y="2780150"/>
            <a:ext cx="2281590"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Gradient Boosted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arest Neighbors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SVM</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Bayesian Regress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GBM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11" name="Rectangle 10">
            <a:extLst>
              <a:ext uri="{FF2B5EF4-FFF2-40B4-BE49-F238E27FC236}">
                <a16:creationId xmlns:a16="http://schemas.microsoft.com/office/drawing/2014/main" id="{E605D490-EE66-4928-8D25-10151ED50C5B}"/>
              </a:ext>
            </a:extLst>
          </p:cNvPr>
          <p:cNvSpPr/>
          <p:nvPr/>
        </p:nvSpPr>
        <p:spPr bwMode="auto">
          <a:xfrm>
            <a:off x="735582" y="2829079"/>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Mileage</a:t>
            </a:r>
          </a:p>
        </p:txBody>
      </p:sp>
      <p:sp>
        <p:nvSpPr>
          <p:cNvPr id="12" name="Rectangle 11">
            <a:extLst>
              <a:ext uri="{FF2B5EF4-FFF2-40B4-BE49-F238E27FC236}">
                <a16:creationId xmlns:a16="http://schemas.microsoft.com/office/drawing/2014/main" id="{839EEEBE-474C-4A48-8C83-5F1694ABB77B}"/>
              </a:ext>
            </a:extLst>
          </p:cNvPr>
          <p:cNvSpPr/>
          <p:nvPr/>
        </p:nvSpPr>
        <p:spPr bwMode="auto">
          <a:xfrm>
            <a:off x="3084711" y="2802580"/>
            <a:ext cx="2084214" cy="341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Segoe UI Semibold" panose="020B0702040204020203" pitchFamily="34" charset="0"/>
              </a:rPr>
              <a:t>Gradient Boosted</a:t>
            </a:r>
          </a:p>
        </p:txBody>
      </p:sp>
      <p:sp>
        <p:nvSpPr>
          <p:cNvPr id="13" name="Rectangle 12">
            <a:extLst>
              <a:ext uri="{FF2B5EF4-FFF2-40B4-BE49-F238E27FC236}">
                <a16:creationId xmlns:a16="http://schemas.microsoft.com/office/drawing/2014/main" id="{6D24F1C5-AFA1-4EB9-B62D-87EF246C2E29}"/>
              </a:ext>
            </a:extLst>
          </p:cNvPr>
          <p:cNvSpPr/>
          <p:nvPr/>
        </p:nvSpPr>
        <p:spPr bwMode="auto">
          <a:xfrm>
            <a:off x="5577476" y="2780150"/>
            <a:ext cx="1669661"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riter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os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n Samples Split</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n Samples Leaf</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Others</a:t>
            </a:r>
          </a:p>
        </p:txBody>
      </p:sp>
      <p:grpSp>
        <p:nvGrpSpPr>
          <p:cNvPr id="14" name="Group 13">
            <a:extLst>
              <a:ext uri="{FF2B5EF4-FFF2-40B4-BE49-F238E27FC236}">
                <a16:creationId xmlns:a16="http://schemas.microsoft.com/office/drawing/2014/main" id="{EB7F8B3D-BA5D-451F-A1DB-80D9356B9AD0}"/>
              </a:ext>
            </a:extLst>
          </p:cNvPr>
          <p:cNvGrpSpPr/>
          <p:nvPr/>
        </p:nvGrpSpPr>
        <p:grpSpPr>
          <a:xfrm>
            <a:off x="7295059" y="2893312"/>
            <a:ext cx="1450614" cy="147003"/>
            <a:chOff x="8120217" y="3558128"/>
            <a:chExt cx="1940664" cy="147003"/>
          </a:xfrm>
        </p:grpSpPr>
        <p:cxnSp>
          <p:nvCxnSpPr>
            <p:cNvPr id="15" name="Straight Connector 14">
              <a:extLst>
                <a:ext uri="{FF2B5EF4-FFF2-40B4-BE49-F238E27FC236}">
                  <a16:creationId xmlns:a16="http://schemas.microsoft.com/office/drawing/2014/main" id="{36E66D7F-221D-4A0D-A9EC-9E8497E2AEA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F721B48-8884-4907-8896-F0A5619E29E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570DBDBC-C4D7-4D6E-9975-A40CD248796E}"/>
                </a:ext>
              </a:extLst>
            </p:cNvPr>
            <p:cNvGrpSpPr/>
            <p:nvPr/>
          </p:nvGrpSpPr>
          <p:grpSpPr>
            <a:xfrm>
              <a:off x="8335846" y="3593256"/>
              <a:ext cx="1509402" cy="111875"/>
              <a:chOff x="8335846" y="3498555"/>
              <a:chExt cx="1509402" cy="206573"/>
            </a:xfrm>
          </p:grpSpPr>
          <p:cxnSp>
            <p:nvCxnSpPr>
              <p:cNvPr id="18" name="Straight Connector 17">
                <a:extLst>
                  <a:ext uri="{FF2B5EF4-FFF2-40B4-BE49-F238E27FC236}">
                    <a16:creationId xmlns:a16="http://schemas.microsoft.com/office/drawing/2014/main" id="{33F4E9F9-A7BB-417B-B7D8-44E513C1E35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4471F8A-A6FF-478F-B21C-16B27F79EA1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7BD7BAD-A456-4CDA-AAF2-5B28F66CF7AC}"/>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93968D-4ED1-4D98-BC02-7CE789FA38B2}"/>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F79CF59-778A-4310-9EAA-73FC5193DBEB}"/>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5C58FA-21CF-4D4E-8F85-D218ABD5DBD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307C462-2E34-4B78-AF4D-6D93FF61EB7D}"/>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82B236-4337-4E82-BF42-5F3BF652CD0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AE3E6691-849A-42CE-B310-226C974D8545}"/>
              </a:ext>
            </a:extLst>
          </p:cNvPr>
          <p:cNvGrpSpPr/>
          <p:nvPr/>
        </p:nvGrpSpPr>
        <p:grpSpPr>
          <a:xfrm>
            <a:off x="7295059" y="3241014"/>
            <a:ext cx="1450614" cy="146999"/>
            <a:chOff x="8120217" y="3558128"/>
            <a:chExt cx="1940664" cy="146999"/>
          </a:xfrm>
        </p:grpSpPr>
        <p:cxnSp>
          <p:nvCxnSpPr>
            <p:cNvPr id="27" name="Straight Connector 26">
              <a:extLst>
                <a:ext uri="{FF2B5EF4-FFF2-40B4-BE49-F238E27FC236}">
                  <a16:creationId xmlns:a16="http://schemas.microsoft.com/office/drawing/2014/main" id="{4A2AADB1-5ACB-4B06-8960-DA5B2CBA957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971EAF7-2482-48BE-B9D1-ED930A7D5255}"/>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1B140EAB-319E-4A3D-BADD-1487F2A8610F}"/>
                </a:ext>
              </a:extLst>
            </p:cNvPr>
            <p:cNvGrpSpPr/>
            <p:nvPr/>
          </p:nvGrpSpPr>
          <p:grpSpPr>
            <a:xfrm>
              <a:off x="8335846" y="3592140"/>
              <a:ext cx="1509402" cy="112986"/>
              <a:chOff x="8335846" y="3496504"/>
              <a:chExt cx="1509402" cy="208625"/>
            </a:xfrm>
          </p:grpSpPr>
          <p:cxnSp>
            <p:nvCxnSpPr>
              <p:cNvPr id="31" name="Straight Connector 30">
                <a:extLst>
                  <a:ext uri="{FF2B5EF4-FFF2-40B4-BE49-F238E27FC236}">
                    <a16:creationId xmlns:a16="http://schemas.microsoft.com/office/drawing/2014/main" id="{E00BEBDB-ED9F-4CF4-86F8-6932A394656B}"/>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85136C-A8BF-418A-AC51-79F632211548}"/>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D7CE1A0-DB70-4794-98EC-7F2367C9D90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E2E449-5E21-4074-AE06-FFA79787AFB8}"/>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7693B8E-21A1-4B6A-B15E-5563F05446D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8085440-B678-4A53-91EA-F68A0F5D3ABF}"/>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CADAF9-6666-4671-8DF5-6C4B0902B046}"/>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39F7B7-30CE-40EC-BD52-084CB961FCF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42862650-122D-478D-A643-4F78F1CFC9AD}"/>
              </a:ext>
            </a:extLst>
          </p:cNvPr>
          <p:cNvGrpSpPr/>
          <p:nvPr/>
        </p:nvGrpSpPr>
        <p:grpSpPr>
          <a:xfrm>
            <a:off x="7295059" y="3588712"/>
            <a:ext cx="1450614" cy="147000"/>
            <a:chOff x="8120217" y="3558128"/>
            <a:chExt cx="1940664" cy="147000"/>
          </a:xfrm>
        </p:grpSpPr>
        <p:cxnSp>
          <p:nvCxnSpPr>
            <p:cNvPr id="41" name="Straight Connector 40">
              <a:extLst>
                <a:ext uri="{FF2B5EF4-FFF2-40B4-BE49-F238E27FC236}">
                  <a16:creationId xmlns:a16="http://schemas.microsoft.com/office/drawing/2014/main" id="{9D607C2D-C5DF-442D-8A48-59D656A91493}"/>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DA20C60-AB0F-478B-8CA7-BFE6B3F9DBD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D0211F3B-8C0B-4A97-9EA8-D67A0CB21FF3}"/>
                </a:ext>
              </a:extLst>
            </p:cNvPr>
            <p:cNvGrpSpPr/>
            <p:nvPr/>
          </p:nvGrpSpPr>
          <p:grpSpPr>
            <a:xfrm>
              <a:off x="8335846" y="3593752"/>
              <a:ext cx="1509402" cy="111376"/>
              <a:chOff x="8335846" y="3499477"/>
              <a:chExt cx="1509402" cy="205652"/>
            </a:xfrm>
          </p:grpSpPr>
          <p:cxnSp>
            <p:nvCxnSpPr>
              <p:cNvPr id="45" name="Straight Connector 44">
                <a:extLst>
                  <a:ext uri="{FF2B5EF4-FFF2-40B4-BE49-F238E27FC236}">
                    <a16:creationId xmlns:a16="http://schemas.microsoft.com/office/drawing/2014/main" id="{7F1B9279-5D72-436B-AA70-8DE4EE1BA9C3}"/>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EFC06FA-2399-48C8-B905-D7338CDD3CDC}"/>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B3B114-19EA-47E8-BE1A-AABBCF4D4F21}"/>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817593F-BEB3-4069-B7AD-0436D92788C8}"/>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A67F6FE-9B8F-4A1B-A058-5414093A731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9F0A976-453B-463F-91D6-0C611B815CBC}"/>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565DDC2-7B47-4B83-A0FB-2DC7C7C8BC1B}"/>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3691DC-B356-4D59-99E2-0970AE2C758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B4CEA875-FCA7-44FB-A4C6-37F4D145A96D}"/>
              </a:ext>
            </a:extLst>
          </p:cNvPr>
          <p:cNvGrpSpPr/>
          <p:nvPr/>
        </p:nvGrpSpPr>
        <p:grpSpPr>
          <a:xfrm>
            <a:off x="7295059" y="3936411"/>
            <a:ext cx="1450614" cy="147002"/>
            <a:chOff x="8120217" y="3558128"/>
            <a:chExt cx="1940664" cy="147002"/>
          </a:xfrm>
        </p:grpSpPr>
        <p:cxnSp>
          <p:nvCxnSpPr>
            <p:cNvPr id="54" name="Straight Connector 53">
              <a:extLst>
                <a:ext uri="{FF2B5EF4-FFF2-40B4-BE49-F238E27FC236}">
                  <a16:creationId xmlns:a16="http://schemas.microsoft.com/office/drawing/2014/main" id="{B967AD7B-F52F-4B1F-B557-CDADFF492C20}"/>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E85ECC0-806C-4FB5-AAC3-F83E14B7B51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1E82DF8A-9DA7-42CE-A9D7-D153E0037A75}"/>
                </a:ext>
              </a:extLst>
            </p:cNvPr>
            <p:cNvGrpSpPr/>
            <p:nvPr/>
          </p:nvGrpSpPr>
          <p:grpSpPr>
            <a:xfrm>
              <a:off x="8335846" y="3595364"/>
              <a:ext cx="1509402" cy="109766"/>
              <a:chOff x="8335846" y="3502450"/>
              <a:chExt cx="1509402" cy="202679"/>
            </a:xfrm>
          </p:grpSpPr>
          <p:cxnSp>
            <p:nvCxnSpPr>
              <p:cNvPr id="57" name="Straight Connector 56">
                <a:extLst>
                  <a:ext uri="{FF2B5EF4-FFF2-40B4-BE49-F238E27FC236}">
                    <a16:creationId xmlns:a16="http://schemas.microsoft.com/office/drawing/2014/main" id="{B49411CB-20CD-4961-BCEF-F473BF9DE50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03961EE-4D11-41B0-A80C-6F74F6E972D2}"/>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EB82067-4994-4ABF-9DFE-E6EDD20ACAD8}"/>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3EC73D7-0229-49D8-9310-B919F1C32BD2}"/>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EB320E5-A7E5-43E0-B8AA-F97D163948B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048D1FB-D453-418E-825B-CD0FE7434ECD}"/>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29C819F-C82D-4546-96FF-9F6354F14FA0}"/>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438182D-82AE-4512-8139-D435A9D2FB23}"/>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66" name="Isosceles Triangle 65">
            <a:extLst>
              <a:ext uri="{FF2B5EF4-FFF2-40B4-BE49-F238E27FC236}">
                <a16:creationId xmlns:a16="http://schemas.microsoft.com/office/drawing/2014/main" id="{B0DD8EC6-0046-4274-B5A9-B81B57C48785}"/>
              </a:ext>
            </a:extLst>
          </p:cNvPr>
          <p:cNvSpPr/>
          <p:nvPr/>
        </p:nvSpPr>
        <p:spPr bwMode="auto">
          <a:xfrm>
            <a:off x="7227837" y="2948871"/>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Isosceles Triangle 66">
            <a:extLst>
              <a:ext uri="{FF2B5EF4-FFF2-40B4-BE49-F238E27FC236}">
                <a16:creationId xmlns:a16="http://schemas.microsoft.com/office/drawing/2014/main" id="{B25060C6-9AA8-42B4-9FAE-2F09F4C71448}"/>
              </a:ext>
            </a:extLst>
          </p:cNvPr>
          <p:cNvSpPr/>
          <p:nvPr/>
        </p:nvSpPr>
        <p:spPr bwMode="auto">
          <a:xfrm>
            <a:off x="7227837" y="3296571"/>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Isosceles Triangle 67">
            <a:extLst>
              <a:ext uri="{FF2B5EF4-FFF2-40B4-BE49-F238E27FC236}">
                <a16:creationId xmlns:a16="http://schemas.microsoft.com/office/drawing/2014/main" id="{3DD55A1A-0126-4F4B-8DAB-7170E3312892}"/>
              </a:ext>
            </a:extLst>
          </p:cNvPr>
          <p:cNvSpPr/>
          <p:nvPr/>
        </p:nvSpPr>
        <p:spPr bwMode="auto">
          <a:xfrm>
            <a:off x="7227837" y="3644271"/>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D4F56831-466C-490B-994D-C4E766A67456}"/>
              </a:ext>
            </a:extLst>
          </p:cNvPr>
          <p:cNvSpPr/>
          <p:nvPr/>
        </p:nvSpPr>
        <p:spPr bwMode="auto">
          <a:xfrm>
            <a:off x="7227837" y="3991970"/>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8073F30B-1B75-468A-9E11-233BEF8B686E}"/>
              </a:ext>
            </a:extLst>
          </p:cNvPr>
          <p:cNvSpPr/>
          <p:nvPr/>
        </p:nvSpPr>
        <p:spPr bwMode="auto">
          <a:xfrm>
            <a:off x="9571688" y="3743449"/>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74" name="TextBox 73">
            <a:extLst>
              <a:ext uri="{FF2B5EF4-FFF2-40B4-BE49-F238E27FC236}">
                <a16:creationId xmlns:a16="http://schemas.microsoft.com/office/drawing/2014/main" id="{5819BF1A-393F-4DC0-AAFF-F23D33A65562}"/>
              </a:ext>
            </a:extLst>
          </p:cNvPr>
          <p:cNvSpPr txBox="1"/>
          <p:nvPr/>
        </p:nvSpPr>
        <p:spPr>
          <a:xfrm>
            <a:off x="9616019" y="4218340"/>
            <a:ext cx="564577" cy="237757"/>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a:ea typeface="+mn-ea"/>
                <a:cs typeface="+mn-cs"/>
              </a:rPr>
              <a:t>Model</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518" y="2767649"/>
            <a:ext cx="323919" cy="2410590"/>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0" name="Group 99">
            <a:extLst>
              <a:ext uri="{FF2B5EF4-FFF2-40B4-BE49-F238E27FC236}">
                <a16:creationId xmlns:a16="http://schemas.microsoft.com/office/drawing/2014/main" id="{DE726EF7-D1FA-4062-B4C5-9B6733D5C31E}"/>
              </a:ext>
            </a:extLst>
          </p:cNvPr>
          <p:cNvGrpSpPr/>
          <p:nvPr/>
        </p:nvGrpSpPr>
        <p:grpSpPr>
          <a:xfrm>
            <a:off x="2469759" y="2268043"/>
            <a:ext cx="7252482" cy="341632"/>
            <a:chOff x="735582" y="2268043"/>
            <a:chExt cx="7252482" cy="341632"/>
          </a:xfrm>
        </p:grpSpPr>
        <p:sp>
          <p:nvSpPr>
            <p:cNvPr id="101" name="Rectangle 100">
              <a:extLst>
                <a:ext uri="{FF2B5EF4-FFF2-40B4-BE49-F238E27FC236}">
                  <a16:creationId xmlns:a16="http://schemas.microsoft.com/office/drawing/2014/main" id="{324E18D1-6B94-4650-90E2-157E1950682B}"/>
                </a:ext>
              </a:extLst>
            </p:cNvPr>
            <p:cNvSpPr/>
            <p:nvPr/>
          </p:nvSpPr>
          <p:spPr bwMode="auto">
            <a:xfrm>
              <a:off x="3084709" y="2268043"/>
              <a:ext cx="2211940"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102" name="Rectangle 101">
              <a:extLst>
                <a:ext uri="{FF2B5EF4-FFF2-40B4-BE49-F238E27FC236}">
                  <a16:creationId xmlns:a16="http://schemas.microsoft.com/office/drawing/2014/main" id="{A3A8272B-7B63-4A7D-A68B-04789BD8FA46}"/>
                </a:ext>
              </a:extLst>
            </p:cNvPr>
            <p:cNvSpPr/>
            <p:nvPr/>
          </p:nvSpPr>
          <p:spPr bwMode="auto">
            <a:xfrm>
              <a:off x="5577476" y="2268043"/>
              <a:ext cx="2410588"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103" name="Rectangle 102">
              <a:extLst>
                <a:ext uri="{FF2B5EF4-FFF2-40B4-BE49-F238E27FC236}">
                  <a16:creationId xmlns:a16="http://schemas.microsoft.com/office/drawing/2014/main" id="{10198808-CC0B-495A-81F7-CAE7F8DC4458}"/>
                </a:ext>
              </a:extLst>
            </p:cNvPr>
            <p:cNvSpPr/>
            <p:nvPr/>
          </p:nvSpPr>
          <p:spPr bwMode="auto">
            <a:xfrm>
              <a:off x="735582" y="2268043"/>
              <a:ext cx="2068299"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grpSp>
      <p:sp>
        <p:nvSpPr>
          <p:cNvPr id="104" name="Rectangle 103">
            <a:extLst>
              <a:ext uri="{FF2B5EF4-FFF2-40B4-BE49-F238E27FC236}">
                <a16:creationId xmlns:a16="http://schemas.microsoft.com/office/drawing/2014/main" id="{D0CF168F-2132-4758-BFE1-832832D1F6AC}"/>
              </a:ext>
            </a:extLst>
          </p:cNvPr>
          <p:cNvSpPr/>
          <p:nvPr/>
        </p:nvSpPr>
        <p:spPr bwMode="auto">
          <a:xfrm>
            <a:off x="735582" y="3528963"/>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105" name="Rectangle 104">
            <a:extLst>
              <a:ext uri="{FF2B5EF4-FFF2-40B4-BE49-F238E27FC236}">
                <a16:creationId xmlns:a16="http://schemas.microsoft.com/office/drawing/2014/main" id="{FD25B7A3-F9AD-4257-871B-494A13D668C1}"/>
              </a:ext>
            </a:extLst>
          </p:cNvPr>
          <p:cNvSpPr/>
          <p:nvPr/>
        </p:nvSpPr>
        <p:spPr bwMode="auto">
          <a:xfrm>
            <a:off x="735582" y="3879259"/>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grpSp>
        <p:nvGrpSpPr>
          <p:cNvPr id="70" name="Group 69">
            <a:extLst>
              <a:ext uri="{FF2B5EF4-FFF2-40B4-BE49-F238E27FC236}">
                <a16:creationId xmlns:a16="http://schemas.microsoft.com/office/drawing/2014/main" id="{14AA2959-6F4C-429A-A8AB-CE521F9CDFEF}"/>
              </a:ext>
            </a:extLst>
          </p:cNvPr>
          <p:cNvGrpSpPr/>
          <p:nvPr/>
        </p:nvGrpSpPr>
        <p:grpSpPr>
          <a:xfrm>
            <a:off x="7295059" y="4281370"/>
            <a:ext cx="1450614" cy="147002"/>
            <a:chOff x="8120217" y="3558128"/>
            <a:chExt cx="1940664" cy="147002"/>
          </a:xfrm>
        </p:grpSpPr>
        <p:cxnSp>
          <p:nvCxnSpPr>
            <p:cNvPr id="71" name="Straight Connector 70">
              <a:extLst>
                <a:ext uri="{FF2B5EF4-FFF2-40B4-BE49-F238E27FC236}">
                  <a16:creationId xmlns:a16="http://schemas.microsoft.com/office/drawing/2014/main" id="{E7EC2C52-1819-4767-80A1-A75A6DFB7A8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6190086-0E14-456D-A3EA-699EEEB26E5F}"/>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0DCDE0FC-AFB8-4AF2-968D-59AABFF9ADE3}"/>
                </a:ext>
              </a:extLst>
            </p:cNvPr>
            <p:cNvGrpSpPr/>
            <p:nvPr/>
          </p:nvGrpSpPr>
          <p:grpSpPr>
            <a:xfrm>
              <a:off x="8335846" y="3595364"/>
              <a:ext cx="1509402" cy="109766"/>
              <a:chOff x="8335846" y="3502450"/>
              <a:chExt cx="1509402" cy="202679"/>
            </a:xfrm>
          </p:grpSpPr>
          <p:cxnSp>
            <p:nvCxnSpPr>
              <p:cNvPr id="77" name="Straight Connector 76">
                <a:extLst>
                  <a:ext uri="{FF2B5EF4-FFF2-40B4-BE49-F238E27FC236}">
                    <a16:creationId xmlns:a16="http://schemas.microsoft.com/office/drawing/2014/main" id="{09E16FAD-08D0-4E8C-A18F-711C4CEECCC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F158C30-719E-4C2C-825D-490990D26729}"/>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BE32757-C701-41B2-9C72-E2617C77806E}"/>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94D0AAB6-5B96-4A7F-B240-D048BDFF71DF}"/>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900AE66-D293-4436-84A1-E503410EDAC9}"/>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B70103E5-57E3-4E59-ACBC-F5BC090D690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D410592-BE65-46FC-BB57-A316F21EA63C}"/>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53C2D859-5A03-4D3C-BFBF-A8976DC67BE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85" name="Isosceles Triangle 84">
            <a:extLst>
              <a:ext uri="{FF2B5EF4-FFF2-40B4-BE49-F238E27FC236}">
                <a16:creationId xmlns:a16="http://schemas.microsoft.com/office/drawing/2014/main" id="{F6F4027C-0511-46B4-9511-0BB75D5B785C}"/>
              </a:ext>
            </a:extLst>
          </p:cNvPr>
          <p:cNvSpPr/>
          <p:nvPr/>
        </p:nvSpPr>
        <p:spPr bwMode="auto">
          <a:xfrm>
            <a:off x="7227837" y="4336929"/>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83517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0 4.44444E-6 L -0.14232 4.44444E-6 " pathEditMode="relative" rAng="0" ptsTypes="AA">
                                      <p:cBhvr>
                                        <p:cTn id="6" dur="1000" fill="hold"/>
                                        <p:tgtEl>
                                          <p:spTgt spid="100"/>
                                        </p:tgtEl>
                                        <p:attrNameLst>
                                          <p:attrName>ppt_x</p:attrName>
                                          <p:attrName>ppt_y</p:attrName>
                                        </p:attrNameLst>
                                      </p:cBhvr>
                                      <p:rCtr x="-7122" y="0"/>
                                    </p:animMotion>
                                  </p:childTnLst>
                                </p:cTn>
                              </p:par>
                            </p:childTnLst>
                          </p:cTn>
                        </p:par>
                        <p:par>
                          <p:cTn id="7" fill="hold">
                            <p:stCondLst>
                              <p:cond delay="1000"/>
                            </p:stCondLst>
                            <p:childTnLst>
                              <p:par>
                                <p:cTn id="8" presetID="22" presetClass="entr" presetSubtype="1" fill="hold" grpId="0" nodeType="after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500"/>
                                        <p:tgtEl>
                                          <p:spTgt spid="6"/>
                                        </p:tgtEl>
                                      </p:cBhvr>
                                    </p:animEffect>
                                  </p:childTnLst>
                                </p:cTn>
                              </p:par>
                              <p:par>
                                <p:cTn id="11" presetID="22" presetClass="entr" presetSubtype="1" fill="hold" grpId="0" nodeType="withEffect">
                                  <p:stCondLst>
                                    <p:cond delay="250"/>
                                  </p:stCondLst>
                                  <p:childTnLst>
                                    <p:set>
                                      <p:cBhvr>
                                        <p:cTn id="12" dur="1" fill="hold">
                                          <p:stCondLst>
                                            <p:cond delay="0"/>
                                          </p:stCondLst>
                                        </p:cTn>
                                        <p:tgtEl>
                                          <p:spTgt spid="9"/>
                                        </p:tgtEl>
                                        <p:attrNameLst>
                                          <p:attrName>style.visibility</p:attrName>
                                        </p:attrNameLst>
                                      </p:cBhvr>
                                      <p:to>
                                        <p:strVal val="visible"/>
                                      </p:to>
                                    </p:set>
                                    <p:animEffect transition="in" filter="wipe(up)">
                                      <p:cBhvr>
                                        <p:cTn id="13" dur="500"/>
                                        <p:tgtEl>
                                          <p:spTgt spid="9"/>
                                        </p:tgtEl>
                                      </p:cBhvr>
                                    </p:animEffect>
                                  </p:childTnLst>
                                </p:cTn>
                              </p:par>
                              <p:par>
                                <p:cTn id="14" presetID="22" presetClass="entr" presetSubtype="1" fill="hold" grpId="0" nodeType="withEffect">
                                  <p:stCondLst>
                                    <p:cond delay="5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4"/>
                                        </p:tgtEl>
                                        <p:attrNameLst>
                                          <p:attrName>style.visibility</p:attrName>
                                        </p:attrNameLst>
                                      </p:cBhvr>
                                      <p:to>
                                        <p:strVal val="visible"/>
                                      </p:to>
                                    </p:set>
                                    <p:animEffect transition="in" filter="fade">
                                      <p:cBhvr>
                                        <p:cTn id="21" dur="500"/>
                                        <p:tgtEl>
                                          <p:spTgt spid="104"/>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105"/>
                                        </p:tgtEl>
                                        <p:attrNameLst>
                                          <p:attrName>style.visibility</p:attrName>
                                        </p:attrNameLst>
                                      </p:cBhvr>
                                      <p:to>
                                        <p:strVal val="visible"/>
                                      </p:to>
                                    </p:set>
                                    <p:animEffect transition="in" filter="fade">
                                      <p:cBhvr>
                                        <p:cTn id="29" dur="500"/>
                                        <p:tgtEl>
                                          <p:spTgt spid="105"/>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10" presetClass="exit" presetSubtype="0" fill="hold" grpId="1" nodeType="withEffect">
                                  <p:stCondLst>
                                    <p:cond delay="500"/>
                                  </p:stCondLst>
                                  <p:childTnLst>
                                    <p:animEffect transition="out" filter="fade">
                                      <p:cBhvr>
                                        <p:cTn id="39" dur="500"/>
                                        <p:tgtEl>
                                          <p:spTgt spid="7"/>
                                        </p:tgtEl>
                                      </p:cBhvr>
                                    </p:animEffect>
                                    <p:set>
                                      <p:cBhvr>
                                        <p:cTn id="40" dur="1" fill="hold">
                                          <p:stCondLst>
                                            <p:cond delay="499"/>
                                          </p:stCondLst>
                                        </p:cTn>
                                        <p:tgtEl>
                                          <p:spTgt spid="7"/>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nodeType="click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wipe(left)">
                                      <p:cBhvr>
                                        <p:cTn id="45" dur="500"/>
                                        <p:tgtEl>
                                          <p:spTgt spid="14"/>
                                        </p:tgtEl>
                                      </p:cBhvr>
                                    </p:animEffect>
                                  </p:childTnLst>
                                </p:cTn>
                              </p:par>
                              <p:par>
                                <p:cTn id="46" presetID="22" presetClass="entr" presetSubtype="8" fill="hold"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wipe(left)">
                                      <p:cBhvr>
                                        <p:cTn id="48" dur="500"/>
                                        <p:tgtEl>
                                          <p:spTgt spid="26"/>
                                        </p:tgtEl>
                                      </p:cBhvr>
                                    </p:animEffect>
                                  </p:childTnLst>
                                </p:cTn>
                              </p:par>
                              <p:par>
                                <p:cTn id="49" presetID="22" presetClass="entr" presetSubtype="8" fill="hold" nodeType="withEffect">
                                  <p:stCondLst>
                                    <p:cond delay="0"/>
                                  </p:stCondLst>
                                  <p:childTnLst>
                                    <p:set>
                                      <p:cBhvr>
                                        <p:cTn id="50" dur="1" fill="hold">
                                          <p:stCondLst>
                                            <p:cond delay="0"/>
                                          </p:stCondLst>
                                        </p:cTn>
                                        <p:tgtEl>
                                          <p:spTgt spid="40"/>
                                        </p:tgtEl>
                                        <p:attrNameLst>
                                          <p:attrName>style.visibility</p:attrName>
                                        </p:attrNameLst>
                                      </p:cBhvr>
                                      <p:to>
                                        <p:strVal val="visible"/>
                                      </p:to>
                                    </p:set>
                                    <p:animEffect transition="in" filter="wipe(left)">
                                      <p:cBhvr>
                                        <p:cTn id="51" dur="500"/>
                                        <p:tgtEl>
                                          <p:spTgt spid="40"/>
                                        </p:tgtEl>
                                      </p:cBhvr>
                                    </p:animEffect>
                                  </p:childTnLst>
                                </p:cTn>
                              </p:par>
                              <p:par>
                                <p:cTn id="52" presetID="22" presetClass="entr" presetSubtype="8" fill="hold" nodeType="withEffect">
                                  <p:stCondLst>
                                    <p:cond delay="0"/>
                                  </p:stCondLst>
                                  <p:childTnLst>
                                    <p:set>
                                      <p:cBhvr>
                                        <p:cTn id="53" dur="1" fill="hold">
                                          <p:stCondLst>
                                            <p:cond delay="0"/>
                                          </p:stCondLst>
                                        </p:cTn>
                                        <p:tgtEl>
                                          <p:spTgt spid="53"/>
                                        </p:tgtEl>
                                        <p:attrNameLst>
                                          <p:attrName>style.visibility</p:attrName>
                                        </p:attrNameLst>
                                      </p:cBhvr>
                                      <p:to>
                                        <p:strVal val="visible"/>
                                      </p:to>
                                    </p:set>
                                    <p:animEffect transition="in" filter="wipe(left)">
                                      <p:cBhvr>
                                        <p:cTn id="54" dur="500"/>
                                        <p:tgtEl>
                                          <p:spTgt spid="53"/>
                                        </p:tgtEl>
                                      </p:cBhvr>
                                    </p:animEffect>
                                  </p:childTnLst>
                                </p:cTn>
                              </p:par>
                              <p:par>
                                <p:cTn id="55" presetID="22" presetClass="entr" presetSubtype="8" fill="hold" nodeType="withEffect">
                                  <p:stCondLst>
                                    <p:cond delay="0"/>
                                  </p:stCondLst>
                                  <p:childTnLst>
                                    <p:set>
                                      <p:cBhvr>
                                        <p:cTn id="56" dur="1" fill="hold">
                                          <p:stCondLst>
                                            <p:cond delay="0"/>
                                          </p:stCondLst>
                                        </p:cTn>
                                        <p:tgtEl>
                                          <p:spTgt spid="70"/>
                                        </p:tgtEl>
                                        <p:attrNameLst>
                                          <p:attrName>style.visibility</p:attrName>
                                        </p:attrNameLst>
                                      </p:cBhvr>
                                      <p:to>
                                        <p:strVal val="visible"/>
                                      </p:to>
                                    </p:set>
                                    <p:animEffect transition="in" filter="wipe(left)">
                                      <p:cBhvr>
                                        <p:cTn id="57" dur="500"/>
                                        <p:tgtEl>
                                          <p:spTgt spid="70"/>
                                        </p:tgtEl>
                                      </p:cBhvr>
                                    </p:animEffect>
                                  </p:childTnLst>
                                </p:cTn>
                              </p:par>
                              <p:par>
                                <p:cTn id="58" presetID="10" presetClass="entr" presetSubtype="0" fill="hold" grpId="0" nodeType="withEffect">
                                  <p:stCondLst>
                                    <p:cond delay="250"/>
                                  </p:stCondLst>
                                  <p:childTnLst>
                                    <p:set>
                                      <p:cBhvr>
                                        <p:cTn id="59" dur="1" fill="hold">
                                          <p:stCondLst>
                                            <p:cond delay="0"/>
                                          </p:stCondLst>
                                        </p:cTn>
                                        <p:tgtEl>
                                          <p:spTgt spid="66"/>
                                        </p:tgtEl>
                                        <p:attrNameLst>
                                          <p:attrName>style.visibility</p:attrName>
                                        </p:attrNameLst>
                                      </p:cBhvr>
                                      <p:to>
                                        <p:strVal val="visible"/>
                                      </p:to>
                                    </p:set>
                                    <p:animEffect transition="in" filter="fade">
                                      <p:cBhvr>
                                        <p:cTn id="60" dur="250"/>
                                        <p:tgtEl>
                                          <p:spTgt spid="66"/>
                                        </p:tgtEl>
                                      </p:cBhvr>
                                    </p:animEffect>
                                  </p:childTnLst>
                                </p:cTn>
                              </p:par>
                              <p:par>
                                <p:cTn id="61" presetID="10" presetClass="entr" presetSubtype="0" fill="hold" grpId="0" nodeType="withEffect">
                                  <p:stCondLst>
                                    <p:cond delay="250"/>
                                  </p:stCondLst>
                                  <p:childTnLst>
                                    <p:set>
                                      <p:cBhvr>
                                        <p:cTn id="62" dur="1" fill="hold">
                                          <p:stCondLst>
                                            <p:cond delay="0"/>
                                          </p:stCondLst>
                                        </p:cTn>
                                        <p:tgtEl>
                                          <p:spTgt spid="67"/>
                                        </p:tgtEl>
                                        <p:attrNameLst>
                                          <p:attrName>style.visibility</p:attrName>
                                        </p:attrNameLst>
                                      </p:cBhvr>
                                      <p:to>
                                        <p:strVal val="visible"/>
                                      </p:to>
                                    </p:set>
                                    <p:animEffect transition="in" filter="fade">
                                      <p:cBhvr>
                                        <p:cTn id="63" dur="250"/>
                                        <p:tgtEl>
                                          <p:spTgt spid="67"/>
                                        </p:tgtEl>
                                      </p:cBhvr>
                                    </p:animEffect>
                                  </p:childTnLst>
                                </p:cTn>
                              </p:par>
                              <p:par>
                                <p:cTn id="64" presetID="10" presetClass="entr" presetSubtype="0" fill="hold" grpId="0" nodeType="withEffect">
                                  <p:stCondLst>
                                    <p:cond delay="250"/>
                                  </p:stCondLst>
                                  <p:childTnLst>
                                    <p:set>
                                      <p:cBhvr>
                                        <p:cTn id="65" dur="1" fill="hold">
                                          <p:stCondLst>
                                            <p:cond delay="0"/>
                                          </p:stCondLst>
                                        </p:cTn>
                                        <p:tgtEl>
                                          <p:spTgt spid="68"/>
                                        </p:tgtEl>
                                        <p:attrNameLst>
                                          <p:attrName>style.visibility</p:attrName>
                                        </p:attrNameLst>
                                      </p:cBhvr>
                                      <p:to>
                                        <p:strVal val="visible"/>
                                      </p:to>
                                    </p:set>
                                    <p:animEffect transition="in" filter="fade">
                                      <p:cBhvr>
                                        <p:cTn id="66" dur="250"/>
                                        <p:tgtEl>
                                          <p:spTgt spid="68"/>
                                        </p:tgtEl>
                                      </p:cBhvr>
                                    </p:animEffect>
                                  </p:childTnLst>
                                </p:cTn>
                              </p:par>
                              <p:par>
                                <p:cTn id="67" presetID="10" presetClass="entr" presetSubtype="0" fill="hold" grpId="0" nodeType="withEffect">
                                  <p:stCondLst>
                                    <p:cond delay="250"/>
                                  </p:stCondLst>
                                  <p:childTnLst>
                                    <p:set>
                                      <p:cBhvr>
                                        <p:cTn id="68" dur="1" fill="hold">
                                          <p:stCondLst>
                                            <p:cond delay="0"/>
                                          </p:stCondLst>
                                        </p:cTn>
                                        <p:tgtEl>
                                          <p:spTgt spid="69"/>
                                        </p:tgtEl>
                                        <p:attrNameLst>
                                          <p:attrName>style.visibility</p:attrName>
                                        </p:attrNameLst>
                                      </p:cBhvr>
                                      <p:to>
                                        <p:strVal val="visible"/>
                                      </p:to>
                                    </p:set>
                                    <p:animEffect transition="in" filter="fade">
                                      <p:cBhvr>
                                        <p:cTn id="69" dur="250"/>
                                        <p:tgtEl>
                                          <p:spTgt spid="69"/>
                                        </p:tgtEl>
                                      </p:cBhvr>
                                    </p:animEffect>
                                  </p:childTnLst>
                                </p:cTn>
                              </p:par>
                              <p:par>
                                <p:cTn id="70" presetID="10" presetClass="entr" presetSubtype="0" fill="hold" grpId="0" nodeType="withEffect">
                                  <p:stCondLst>
                                    <p:cond delay="250"/>
                                  </p:stCondLst>
                                  <p:childTnLst>
                                    <p:set>
                                      <p:cBhvr>
                                        <p:cTn id="71" dur="1" fill="hold">
                                          <p:stCondLst>
                                            <p:cond delay="0"/>
                                          </p:stCondLst>
                                        </p:cTn>
                                        <p:tgtEl>
                                          <p:spTgt spid="85"/>
                                        </p:tgtEl>
                                        <p:attrNameLst>
                                          <p:attrName>style.visibility</p:attrName>
                                        </p:attrNameLst>
                                      </p:cBhvr>
                                      <p:to>
                                        <p:strVal val="visible"/>
                                      </p:to>
                                    </p:set>
                                    <p:animEffect transition="in" filter="fade">
                                      <p:cBhvr>
                                        <p:cTn id="72" dur="250"/>
                                        <p:tgtEl>
                                          <p:spTgt spid="85"/>
                                        </p:tgtEl>
                                      </p:cBhvr>
                                    </p:animEffect>
                                  </p:childTnLst>
                                </p:cTn>
                              </p:par>
                            </p:childTnLst>
                          </p:cTn>
                        </p:par>
                        <p:par>
                          <p:cTn id="73" fill="hold">
                            <p:stCondLst>
                              <p:cond delay="500"/>
                            </p:stCondLst>
                            <p:childTnLst>
                              <p:par>
                                <p:cTn id="74" presetID="63" presetClass="path" presetSubtype="0" accel="24000" decel="50000" fill="hold" grpId="1" nodeType="afterEffect">
                                  <p:stCondLst>
                                    <p:cond delay="0"/>
                                  </p:stCondLst>
                                  <p:childTnLst>
                                    <p:animMotion origin="layout" path="M 2.5E-6 -4.07407E-6 L 0.09245 -4.07407E-6 " pathEditMode="relative" rAng="0" ptsTypes="AA">
                                      <p:cBhvr>
                                        <p:cTn id="75" dur="750" fill="hold"/>
                                        <p:tgtEl>
                                          <p:spTgt spid="66"/>
                                        </p:tgtEl>
                                        <p:attrNameLst>
                                          <p:attrName>ppt_x</p:attrName>
                                          <p:attrName>ppt_y</p:attrName>
                                        </p:attrNameLst>
                                      </p:cBhvr>
                                      <p:rCtr x="4622" y="0"/>
                                    </p:animMotion>
                                  </p:childTnLst>
                                </p:cTn>
                              </p:par>
                              <p:par>
                                <p:cTn id="76" presetID="63" presetClass="path" presetSubtype="0" accel="24000" decel="50000" fill="hold" grpId="1" nodeType="withEffect">
                                  <p:stCondLst>
                                    <p:cond delay="0"/>
                                  </p:stCondLst>
                                  <p:childTnLst>
                                    <p:animMotion origin="layout" path="M 2.5E-6 -7.40741E-7 L 0.03958 -7.40741E-7 " pathEditMode="relative" rAng="0" ptsTypes="AA">
                                      <p:cBhvr>
                                        <p:cTn id="77" dur="750" fill="hold"/>
                                        <p:tgtEl>
                                          <p:spTgt spid="67"/>
                                        </p:tgtEl>
                                        <p:attrNameLst>
                                          <p:attrName>ppt_x</p:attrName>
                                          <p:attrName>ppt_y</p:attrName>
                                        </p:attrNameLst>
                                      </p:cBhvr>
                                      <p:rCtr x="1979" y="0"/>
                                    </p:animMotion>
                                  </p:childTnLst>
                                </p:cTn>
                              </p:par>
                              <p:par>
                                <p:cTn id="78" presetID="63" presetClass="path" presetSubtype="0" accel="24000" decel="50000" fill="hold" grpId="1" nodeType="withEffect">
                                  <p:stCondLst>
                                    <p:cond delay="0"/>
                                  </p:stCondLst>
                                  <p:childTnLst>
                                    <p:animMotion origin="layout" path="M 2.5E-6 2.59259E-6 L 0.05286 2.59259E-6 " pathEditMode="relative" rAng="0" ptsTypes="AA">
                                      <p:cBhvr>
                                        <p:cTn id="79" dur="750" fill="hold"/>
                                        <p:tgtEl>
                                          <p:spTgt spid="68"/>
                                        </p:tgtEl>
                                        <p:attrNameLst>
                                          <p:attrName>ppt_x</p:attrName>
                                          <p:attrName>ppt_y</p:attrName>
                                        </p:attrNameLst>
                                      </p:cBhvr>
                                      <p:rCtr x="2643" y="0"/>
                                    </p:animMotion>
                                  </p:childTnLst>
                                </p:cTn>
                              </p:par>
                              <p:par>
                                <p:cTn id="80" presetID="63" presetClass="path" presetSubtype="0" accel="24000" decel="50000" fill="hold" grpId="1" nodeType="withEffect">
                                  <p:stCondLst>
                                    <p:cond delay="0"/>
                                  </p:stCondLst>
                                  <p:childTnLst>
                                    <p:animMotion origin="layout" path="M 2.5E-6 -4.07407E-6 L 0.02643 -4.07407E-6 " pathEditMode="relative" rAng="0" ptsTypes="AA">
                                      <p:cBhvr>
                                        <p:cTn id="81" dur="750" fill="hold"/>
                                        <p:tgtEl>
                                          <p:spTgt spid="69"/>
                                        </p:tgtEl>
                                        <p:attrNameLst>
                                          <p:attrName>ppt_x</p:attrName>
                                          <p:attrName>ppt_y</p:attrName>
                                        </p:attrNameLst>
                                      </p:cBhvr>
                                      <p:rCtr x="1315" y="0"/>
                                    </p:animMotion>
                                  </p:childTnLst>
                                </p:cTn>
                              </p:par>
                              <p:par>
                                <p:cTn id="82" presetID="63" presetClass="path" presetSubtype="0" accel="24000" decel="50000" fill="hold" grpId="1" nodeType="withEffect">
                                  <p:stCondLst>
                                    <p:cond delay="0"/>
                                  </p:stCondLst>
                                  <p:childTnLst>
                                    <p:animMotion origin="layout" path="M 2.5E-6 -3.7037E-7 L 0.07916 -3.7037E-7 " pathEditMode="relative" rAng="0" ptsTypes="AA">
                                      <p:cBhvr>
                                        <p:cTn id="83" dur="750" fill="hold"/>
                                        <p:tgtEl>
                                          <p:spTgt spid="85"/>
                                        </p:tgtEl>
                                        <p:attrNameLst>
                                          <p:attrName>ppt_x</p:attrName>
                                          <p:attrName>ppt_y</p:attrName>
                                        </p:attrNameLst>
                                      </p:cBhvr>
                                      <p:rCtr x="3958" y="0"/>
                                    </p:animMotion>
                                  </p:childTnLst>
                                </p:cTn>
                              </p:par>
                            </p:childTnLst>
                          </p:cTn>
                        </p:par>
                        <p:par>
                          <p:cTn id="84" fill="hold">
                            <p:stCondLst>
                              <p:cond delay="1250"/>
                            </p:stCondLst>
                            <p:childTnLst>
                              <p:par>
                                <p:cTn id="85" presetID="12" presetClass="entr" presetSubtype="8" fill="hold" grpId="0" nodeType="afterEffect">
                                  <p:stCondLst>
                                    <p:cond delay="0"/>
                                  </p:stCondLst>
                                  <p:childTnLst>
                                    <p:set>
                                      <p:cBhvr>
                                        <p:cTn id="86" dur="1" fill="hold">
                                          <p:stCondLst>
                                            <p:cond delay="0"/>
                                          </p:stCondLst>
                                        </p:cTn>
                                        <p:tgtEl>
                                          <p:spTgt spid="75"/>
                                        </p:tgtEl>
                                        <p:attrNameLst>
                                          <p:attrName>style.visibility</p:attrName>
                                        </p:attrNameLst>
                                      </p:cBhvr>
                                      <p:to>
                                        <p:strVal val="visible"/>
                                      </p:to>
                                    </p:set>
                                    <p:anim calcmode="lin" valueType="num">
                                      <p:cBhvr additive="base">
                                        <p:cTn id="87" dur="500"/>
                                        <p:tgtEl>
                                          <p:spTgt spid="75"/>
                                        </p:tgtEl>
                                        <p:attrNameLst>
                                          <p:attrName>ppt_x</p:attrName>
                                        </p:attrNameLst>
                                      </p:cBhvr>
                                      <p:tavLst>
                                        <p:tav tm="0">
                                          <p:val>
                                            <p:strVal val="#ppt_x-#ppt_w*1.125000"/>
                                          </p:val>
                                        </p:tav>
                                        <p:tav tm="100000">
                                          <p:val>
                                            <p:strVal val="#ppt_x"/>
                                          </p:val>
                                        </p:tav>
                                      </p:tavLst>
                                    </p:anim>
                                    <p:animEffect transition="in" filter="wipe(right)">
                                      <p:cBhvr>
                                        <p:cTn id="88" dur="500"/>
                                        <p:tgtEl>
                                          <p:spTgt spid="75"/>
                                        </p:tgtEl>
                                      </p:cBhvr>
                                    </p:animEffect>
                                  </p:childTnLst>
                                </p:cTn>
                              </p:par>
                            </p:childTnLst>
                          </p:cTn>
                        </p:par>
                        <p:par>
                          <p:cTn id="89" fill="hold">
                            <p:stCondLst>
                              <p:cond delay="1750"/>
                            </p:stCondLst>
                            <p:childTnLst>
                              <p:par>
                                <p:cTn id="90" presetID="22" presetClass="entr" presetSubtype="8" fill="hold" grpId="0" nodeType="afterEffect">
                                  <p:stCondLst>
                                    <p:cond delay="0"/>
                                  </p:stCondLst>
                                  <p:childTnLst>
                                    <p:set>
                                      <p:cBhvr>
                                        <p:cTn id="91" dur="1" fill="hold">
                                          <p:stCondLst>
                                            <p:cond delay="0"/>
                                          </p:stCondLst>
                                        </p:cTn>
                                        <p:tgtEl>
                                          <p:spTgt spid="73"/>
                                        </p:tgtEl>
                                        <p:attrNameLst>
                                          <p:attrName>style.visibility</p:attrName>
                                        </p:attrNameLst>
                                      </p:cBhvr>
                                      <p:to>
                                        <p:strVal val="visible"/>
                                      </p:to>
                                    </p:set>
                                    <p:animEffect transition="in" filter="wipe(left)">
                                      <p:cBhvr>
                                        <p:cTn id="92" dur="500"/>
                                        <p:tgtEl>
                                          <p:spTgt spid="73"/>
                                        </p:tgtEl>
                                      </p:cBhvr>
                                    </p:animEffect>
                                  </p:childTnLst>
                                </p:cTn>
                              </p:par>
                              <p:par>
                                <p:cTn id="93" presetID="22" presetClass="entr" presetSubtype="8" fill="hold" grpId="0" nodeType="withEffect">
                                  <p:stCondLst>
                                    <p:cond delay="0"/>
                                  </p:stCondLst>
                                  <p:childTnLst>
                                    <p:set>
                                      <p:cBhvr>
                                        <p:cTn id="94" dur="1" fill="hold">
                                          <p:stCondLst>
                                            <p:cond delay="0"/>
                                          </p:stCondLst>
                                        </p:cTn>
                                        <p:tgtEl>
                                          <p:spTgt spid="74"/>
                                        </p:tgtEl>
                                        <p:attrNameLst>
                                          <p:attrName>style.visibility</p:attrName>
                                        </p:attrNameLst>
                                      </p:cBhvr>
                                      <p:to>
                                        <p:strVal val="visible"/>
                                      </p:to>
                                    </p:set>
                                    <p:animEffect transition="in" filter="wipe(left)">
                                      <p:cBhvr>
                                        <p:cTn id="95"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7" grpId="1"/>
      <p:bldP spid="9" grpId="0"/>
      <p:bldP spid="11" grpId="0" animBg="1"/>
      <p:bldP spid="12" grpId="0" animBg="1"/>
      <p:bldP spid="13" grpId="0"/>
      <p:bldP spid="66" grpId="0" animBg="1"/>
      <p:bldP spid="66" grpId="1" animBg="1"/>
      <p:bldP spid="67" grpId="0" animBg="1"/>
      <p:bldP spid="67" grpId="1" animBg="1"/>
      <p:bldP spid="68" grpId="0" animBg="1"/>
      <p:bldP spid="68" grpId="1" animBg="1"/>
      <p:bldP spid="69" grpId="0" animBg="1"/>
      <p:bldP spid="69" grpId="1" animBg="1"/>
      <p:bldP spid="73" grpId="0" animBg="1"/>
      <p:bldP spid="74" grpId="0"/>
      <p:bldP spid="75" grpId="0" animBg="1"/>
      <p:bldP spid="104" grpId="0" animBg="1"/>
      <p:bldP spid="105" grpId="0" animBg="1"/>
      <p:bldP spid="85" grpId="0" animBg="1"/>
      <p:bldP spid="85"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24F1C5-AFA1-4EB9-B62D-87EF246C2E29}"/>
              </a:ext>
            </a:extLst>
          </p:cNvPr>
          <p:cNvSpPr/>
          <p:nvPr/>
        </p:nvSpPr>
        <p:spPr bwMode="auto">
          <a:xfrm>
            <a:off x="5577476" y="2780150"/>
            <a:ext cx="1669661"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Criter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Los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Min Samples Split</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Min Samples Leaf</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Others</a:t>
            </a:r>
          </a:p>
        </p:txBody>
      </p:sp>
      <p:sp>
        <p:nvSpPr>
          <p:cNvPr id="84" name="Rectangle 83">
            <a:extLst>
              <a:ext uri="{FF2B5EF4-FFF2-40B4-BE49-F238E27FC236}">
                <a16:creationId xmlns:a16="http://schemas.microsoft.com/office/drawing/2014/main" id="{92192048-1443-47D3-9B5E-3646ED6B16D2}"/>
              </a:ext>
            </a:extLst>
          </p:cNvPr>
          <p:cNvSpPr/>
          <p:nvPr/>
        </p:nvSpPr>
        <p:spPr bwMode="auto">
          <a:xfrm>
            <a:off x="5577476" y="2780150"/>
            <a:ext cx="1669661"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N </a:t>
            </a: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ighbor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Weight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etric</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Others</a:t>
            </a:r>
          </a:p>
        </p:txBody>
      </p:sp>
      <p:sp>
        <p:nvSpPr>
          <p:cNvPr id="33" name="Rectangle 32">
            <a:extLst>
              <a:ext uri="{FF2B5EF4-FFF2-40B4-BE49-F238E27FC236}">
                <a16:creationId xmlns:a16="http://schemas.microsoft.com/office/drawing/2014/main" id="{E85050E8-530B-48B8-8D30-6B4189AAC40C}"/>
              </a:ext>
            </a:extLst>
          </p:cNvPr>
          <p:cNvSpPr/>
          <p:nvPr/>
        </p:nvSpPr>
        <p:spPr bwMode="auto">
          <a:xfrm>
            <a:off x="3084709" y="2268043"/>
            <a:ext cx="2211940"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42" name="Rectangle 41">
            <a:extLst>
              <a:ext uri="{FF2B5EF4-FFF2-40B4-BE49-F238E27FC236}">
                <a16:creationId xmlns:a16="http://schemas.microsoft.com/office/drawing/2014/main" id="{8DFBE1EA-D672-4BA2-8AC5-8F9258F9AE8E}"/>
              </a:ext>
            </a:extLst>
          </p:cNvPr>
          <p:cNvSpPr/>
          <p:nvPr/>
        </p:nvSpPr>
        <p:spPr bwMode="auto">
          <a:xfrm>
            <a:off x="5577476" y="2268043"/>
            <a:ext cx="2410588"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29" name="Rectangle 28">
            <a:extLst>
              <a:ext uri="{FF2B5EF4-FFF2-40B4-BE49-F238E27FC236}">
                <a16:creationId xmlns:a16="http://schemas.microsoft.com/office/drawing/2014/main" id="{22EE7413-F083-4FA4-B233-0BE9A60054A1}"/>
              </a:ext>
            </a:extLst>
          </p:cNvPr>
          <p:cNvSpPr/>
          <p:nvPr/>
        </p:nvSpPr>
        <p:spPr bwMode="auto">
          <a:xfrm>
            <a:off x="735582" y="2268043"/>
            <a:ext cx="2068299"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sp>
        <p:nvSpPr>
          <p:cNvPr id="6" name="Rectangle 5">
            <a:extLst>
              <a:ext uri="{FF2B5EF4-FFF2-40B4-BE49-F238E27FC236}">
                <a16:creationId xmlns:a16="http://schemas.microsoft.com/office/drawing/2014/main" id="{1168F540-B516-4595-99BE-669BAE43E877}"/>
              </a:ext>
            </a:extLst>
          </p:cNvPr>
          <p:cNvSpPr/>
          <p:nvPr/>
        </p:nvSpPr>
        <p:spPr bwMode="auto">
          <a:xfrm>
            <a:off x="735582" y="2780150"/>
            <a:ext cx="1775864"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leag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ondit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ar brand</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Year of mak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Regulation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9" name="Rectangle 8">
            <a:extLst>
              <a:ext uri="{FF2B5EF4-FFF2-40B4-BE49-F238E27FC236}">
                <a16:creationId xmlns:a16="http://schemas.microsoft.com/office/drawing/2014/main" id="{8613D47F-F817-488D-A5C9-E311626DB096}"/>
              </a:ext>
            </a:extLst>
          </p:cNvPr>
          <p:cNvSpPr/>
          <p:nvPr/>
        </p:nvSpPr>
        <p:spPr bwMode="auto">
          <a:xfrm>
            <a:off x="3084711" y="2780150"/>
            <a:ext cx="2281590"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Gradient Boosted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arest Neighbors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SVM</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Bayesian Regress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GBM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12" name="Rectangle 11">
            <a:extLst>
              <a:ext uri="{FF2B5EF4-FFF2-40B4-BE49-F238E27FC236}">
                <a16:creationId xmlns:a16="http://schemas.microsoft.com/office/drawing/2014/main" id="{839EEEBE-474C-4A48-8C83-5F1694ABB77B}"/>
              </a:ext>
            </a:extLst>
          </p:cNvPr>
          <p:cNvSpPr/>
          <p:nvPr/>
        </p:nvSpPr>
        <p:spPr bwMode="auto">
          <a:xfrm>
            <a:off x="3084711" y="3156498"/>
            <a:ext cx="2084214" cy="33832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Nearest Neighbors</a:t>
            </a:r>
          </a:p>
        </p:txBody>
      </p:sp>
      <p:grpSp>
        <p:nvGrpSpPr>
          <p:cNvPr id="14" name="Group 13">
            <a:extLst>
              <a:ext uri="{FF2B5EF4-FFF2-40B4-BE49-F238E27FC236}">
                <a16:creationId xmlns:a16="http://schemas.microsoft.com/office/drawing/2014/main" id="{EB7F8B3D-BA5D-451F-A1DB-80D9356B9AD0}"/>
              </a:ext>
            </a:extLst>
          </p:cNvPr>
          <p:cNvGrpSpPr/>
          <p:nvPr/>
        </p:nvGrpSpPr>
        <p:grpSpPr>
          <a:xfrm>
            <a:off x="7295059" y="2917625"/>
            <a:ext cx="1450614" cy="147003"/>
            <a:chOff x="8120217" y="3558128"/>
            <a:chExt cx="1940664" cy="147003"/>
          </a:xfrm>
        </p:grpSpPr>
        <p:cxnSp>
          <p:nvCxnSpPr>
            <p:cNvPr id="15" name="Straight Connector 14">
              <a:extLst>
                <a:ext uri="{FF2B5EF4-FFF2-40B4-BE49-F238E27FC236}">
                  <a16:creationId xmlns:a16="http://schemas.microsoft.com/office/drawing/2014/main" id="{36E66D7F-221D-4A0D-A9EC-9E8497E2AEA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F721B48-8884-4907-8896-F0A5619E29E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570DBDBC-C4D7-4D6E-9975-A40CD248796E}"/>
                </a:ext>
              </a:extLst>
            </p:cNvPr>
            <p:cNvGrpSpPr/>
            <p:nvPr/>
          </p:nvGrpSpPr>
          <p:grpSpPr>
            <a:xfrm>
              <a:off x="8335846" y="3593256"/>
              <a:ext cx="1509402" cy="111875"/>
              <a:chOff x="8335846" y="3498555"/>
              <a:chExt cx="1509402" cy="206573"/>
            </a:xfrm>
          </p:grpSpPr>
          <p:cxnSp>
            <p:nvCxnSpPr>
              <p:cNvPr id="18" name="Straight Connector 17">
                <a:extLst>
                  <a:ext uri="{FF2B5EF4-FFF2-40B4-BE49-F238E27FC236}">
                    <a16:creationId xmlns:a16="http://schemas.microsoft.com/office/drawing/2014/main" id="{33F4E9F9-A7BB-417B-B7D8-44E513C1E35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4471F8A-A6FF-478F-B21C-16B27F79EA1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7BD7BAD-A456-4CDA-AAF2-5B28F66CF7AC}"/>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93968D-4ED1-4D98-BC02-7CE789FA38B2}"/>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F79CF59-778A-4310-9EAA-73FC5193DBEB}"/>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5C58FA-21CF-4D4E-8F85-D218ABD5DBD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307C462-2E34-4B78-AF4D-6D93FF61EB7D}"/>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82B236-4337-4E82-BF42-5F3BF652CD0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AE3E6691-849A-42CE-B310-226C974D8545}"/>
              </a:ext>
            </a:extLst>
          </p:cNvPr>
          <p:cNvGrpSpPr/>
          <p:nvPr/>
        </p:nvGrpSpPr>
        <p:grpSpPr>
          <a:xfrm>
            <a:off x="7295059" y="3257223"/>
            <a:ext cx="1450614" cy="146999"/>
            <a:chOff x="8120217" y="3558128"/>
            <a:chExt cx="1940664" cy="146999"/>
          </a:xfrm>
        </p:grpSpPr>
        <p:cxnSp>
          <p:nvCxnSpPr>
            <p:cNvPr id="27" name="Straight Connector 26">
              <a:extLst>
                <a:ext uri="{FF2B5EF4-FFF2-40B4-BE49-F238E27FC236}">
                  <a16:creationId xmlns:a16="http://schemas.microsoft.com/office/drawing/2014/main" id="{4A2AADB1-5ACB-4B06-8960-DA5B2CBA957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971EAF7-2482-48BE-B9D1-ED930A7D5255}"/>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1B140EAB-319E-4A3D-BADD-1487F2A8610F}"/>
                </a:ext>
              </a:extLst>
            </p:cNvPr>
            <p:cNvGrpSpPr/>
            <p:nvPr/>
          </p:nvGrpSpPr>
          <p:grpSpPr>
            <a:xfrm>
              <a:off x="8335846" y="3592140"/>
              <a:ext cx="1509402" cy="112986"/>
              <a:chOff x="8335846" y="3496504"/>
              <a:chExt cx="1509402" cy="208625"/>
            </a:xfrm>
          </p:grpSpPr>
          <p:cxnSp>
            <p:nvCxnSpPr>
              <p:cNvPr id="31" name="Straight Connector 30">
                <a:extLst>
                  <a:ext uri="{FF2B5EF4-FFF2-40B4-BE49-F238E27FC236}">
                    <a16:creationId xmlns:a16="http://schemas.microsoft.com/office/drawing/2014/main" id="{E00BEBDB-ED9F-4CF4-86F8-6932A394656B}"/>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85136C-A8BF-418A-AC51-79F632211548}"/>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D7CE1A0-DB70-4794-98EC-7F2367C9D90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E2E449-5E21-4074-AE06-FFA79787AFB8}"/>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7693B8E-21A1-4B6A-B15E-5563F05446D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8085440-B678-4A53-91EA-F68A0F5D3ABF}"/>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CADAF9-6666-4671-8DF5-6C4B0902B046}"/>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39F7B7-30CE-40EC-BD52-084CB961FCF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42862650-122D-478D-A643-4F78F1CFC9AD}"/>
              </a:ext>
            </a:extLst>
          </p:cNvPr>
          <p:cNvGrpSpPr/>
          <p:nvPr/>
        </p:nvGrpSpPr>
        <p:grpSpPr>
          <a:xfrm>
            <a:off x="7295059" y="3596817"/>
            <a:ext cx="1450614" cy="147000"/>
            <a:chOff x="8120217" y="3558128"/>
            <a:chExt cx="1940664" cy="147000"/>
          </a:xfrm>
        </p:grpSpPr>
        <p:cxnSp>
          <p:nvCxnSpPr>
            <p:cNvPr id="41" name="Straight Connector 40">
              <a:extLst>
                <a:ext uri="{FF2B5EF4-FFF2-40B4-BE49-F238E27FC236}">
                  <a16:creationId xmlns:a16="http://schemas.microsoft.com/office/drawing/2014/main" id="{9D607C2D-C5DF-442D-8A48-59D656A91493}"/>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DA20C60-AB0F-478B-8CA7-BFE6B3F9DBD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D0211F3B-8C0B-4A97-9EA8-D67A0CB21FF3}"/>
                </a:ext>
              </a:extLst>
            </p:cNvPr>
            <p:cNvGrpSpPr/>
            <p:nvPr/>
          </p:nvGrpSpPr>
          <p:grpSpPr>
            <a:xfrm>
              <a:off x="8335846" y="3593752"/>
              <a:ext cx="1509402" cy="111376"/>
              <a:chOff x="8335846" y="3499477"/>
              <a:chExt cx="1509402" cy="205652"/>
            </a:xfrm>
          </p:grpSpPr>
          <p:cxnSp>
            <p:nvCxnSpPr>
              <p:cNvPr id="45" name="Straight Connector 44">
                <a:extLst>
                  <a:ext uri="{FF2B5EF4-FFF2-40B4-BE49-F238E27FC236}">
                    <a16:creationId xmlns:a16="http://schemas.microsoft.com/office/drawing/2014/main" id="{7F1B9279-5D72-436B-AA70-8DE4EE1BA9C3}"/>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EFC06FA-2399-48C8-B905-D7338CDD3CDC}"/>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B3B114-19EA-47E8-BE1A-AABBCF4D4F21}"/>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817593F-BEB3-4069-B7AD-0436D92788C8}"/>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A67F6FE-9B8F-4A1B-A058-5414093A731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9F0A976-453B-463F-91D6-0C611B815CBC}"/>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565DDC2-7B47-4B83-A0FB-2DC7C7C8BC1B}"/>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3691DC-B356-4D59-99E2-0970AE2C758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B4CEA875-FCA7-44FB-A4C6-37F4D145A96D}"/>
              </a:ext>
            </a:extLst>
          </p:cNvPr>
          <p:cNvGrpSpPr/>
          <p:nvPr/>
        </p:nvGrpSpPr>
        <p:grpSpPr>
          <a:xfrm>
            <a:off x="7295059" y="3936411"/>
            <a:ext cx="1450614" cy="147002"/>
            <a:chOff x="8120217" y="3558128"/>
            <a:chExt cx="1940664" cy="147002"/>
          </a:xfrm>
        </p:grpSpPr>
        <p:cxnSp>
          <p:nvCxnSpPr>
            <p:cNvPr id="54" name="Straight Connector 53">
              <a:extLst>
                <a:ext uri="{FF2B5EF4-FFF2-40B4-BE49-F238E27FC236}">
                  <a16:creationId xmlns:a16="http://schemas.microsoft.com/office/drawing/2014/main" id="{B967AD7B-F52F-4B1F-B557-CDADFF492C20}"/>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E85ECC0-806C-4FB5-AAC3-F83E14B7B51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1E82DF8A-9DA7-42CE-A9D7-D153E0037A75}"/>
                </a:ext>
              </a:extLst>
            </p:cNvPr>
            <p:cNvGrpSpPr/>
            <p:nvPr/>
          </p:nvGrpSpPr>
          <p:grpSpPr>
            <a:xfrm>
              <a:off x="8335846" y="3595364"/>
              <a:ext cx="1509402" cy="109766"/>
              <a:chOff x="8335846" y="3502450"/>
              <a:chExt cx="1509402" cy="202679"/>
            </a:xfrm>
          </p:grpSpPr>
          <p:cxnSp>
            <p:nvCxnSpPr>
              <p:cNvPr id="57" name="Straight Connector 56">
                <a:extLst>
                  <a:ext uri="{FF2B5EF4-FFF2-40B4-BE49-F238E27FC236}">
                    <a16:creationId xmlns:a16="http://schemas.microsoft.com/office/drawing/2014/main" id="{B49411CB-20CD-4961-BCEF-F473BF9DE50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03961EE-4D11-41B0-A80C-6F74F6E972D2}"/>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EB82067-4994-4ABF-9DFE-E6EDD20ACAD8}"/>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3EC73D7-0229-49D8-9310-B919F1C32BD2}"/>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EB320E5-A7E5-43E0-B8AA-F97D163948B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048D1FB-D453-418E-825B-CD0FE7434ECD}"/>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29C819F-C82D-4546-96FF-9F6354F14FA0}"/>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438182D-82AE-4512-8139-D435A9D2FB23}"/>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66" name="Isosceles Triangle 65">
            <a:extLst>
              <a:ext uri="{FF2B5EF4-FFF2-40B4-BE49-F238E27FC236}">
                <a16:creationId xmlns:a16="http://schemas.microsoft.com/office/drawing/2014/main" id="{B0DD8EC6-0046-4274-B5A9-B81B57C48785}"/>
              </a:ext>
            </a:extLst>
          </p:cNvPr>
          <p:cNvSpPr/>
          <p:nvPr/>
        </p:nvSpPr>
        <p:spPr bwMode="auto">
          <a:xfrm>
            <a:off x="8354730" y="2973188"/>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Isosceles Triangle 66">
            <a:extLst>
              <a:ext uri="{FF2B5EF4-FFF2-40B4-BE49-F238E27FC236}">
                <a16:creationId xmlns:a16="http://schemas.microsoft.com/office/drawing/2014/main" id="{B25060C6-9AA8-42B4-9FAE-2F09F4C71448}"/>
              </a:ext>
            </a:extLst>
          </p:cNvPr>
          <p:cNvSpPr/>
          <p:nvPr/>
        </p:nvSpPr>
        <p:spPr bwMode="auto">
          <a:xfrm>
            <a:off x="7712911" y="3312783"/>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Isosceles Triangle 67">
            <a:extLst>
              <a:ext uri="{FF2B5EF4-FFF2-40B4-BE49-F238E27FC236}">
                <a16:creationId xmlns:a16="http://schemas.microsoft.com/office/drawing/2014/main" id="{3DD55A1A-0126-4F4B-8DAB-7170E3312892}"/>
              </a:ext>
            </a:extLst>
          </p:cNvPr>
          <p:cNvSpPr/>
          <p:nvPr/>
        </p:nvSpPr>
        <p:spPr bwMode="auto">
          <a:xfrm>
            <a:off x="7863791" y="3652378"/>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D4F56831-466C-490B-994D-C4E766A67456}"/>
              </a:ext>
            </a:extLst>
          </p:cNvPr>
          <p:cNvSpPr/>
          <p:nvPr/>
        </p:nvSpPr>
        <p:spPr bwMode="auto">
          <a:xfrm>
            <a:off x="7542627" y="3991973"/>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8073F30B-1B75-468A-9E11-233BEF8B686E}"/>
              </a:ext>
            </a:extLst>
          </p:cNvPr>
          <p:cNvSpPr/>
          <p:nvPr/>
        </p:nvSpPr>
        <p:spPr bwMode="auto">
          <a:xfrm>
            <a:off x="9571688" y="3743449"/>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74" name="TextBox 73">
            <a:extLst>
              <a:ext uri="{FF2B5EF4-FFF2-40B4-BE49-F238E27FC236}">
                <a16:creationId xmlns:a16="http://schemas.microsoft.com/office/drawing/2014/main" id="{5819BF1A-393F-4DC0-AAFF-F23D33A65562}"/>
              </a:ext>
            </a:extLst>
          </p:cNvPr>
          <p:cNvSpPr txBox="1"/>
          <p:nvPr/>
        </p:nvSpPr>
        <p:spPr>
          <a:xfrm>
            <a:off x="9605599" y="4225265"/>
            <a:ext cx="585417" cy="244682"/>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a:ea typeface="+mn-ea"/>
                <a:cs typeface="+mn-cs"/>
              </a:rPr>
              <a:t>Model</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518" y="2767649"/>
            <a:ext cx="323919" cy="2410590"/>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77B495D5-2B30-4AA1-AA98-F45B619A2F83}"/>
              </a:ext>
            </a:extLst>
          </p:cNvPr>
          <p:cNvGrpSpPr/>
          <p:nvPr/>
        </p:nvGrpSpPr>
        <p:grpSpPr>
          <a:xfrm>
            <a:off x="588264" y="5680406"/>
            <a:ext cx="8661068" cy="663526"/>
            <a:chOff x="837632" y="5844616"/>
            <a:chExt cx="9792001" cy="663526"/>
          </a:xfrm>
        </p:grpSpPr>
        <p:cxnSp>
          <p:nvCxnSpPr>
            <p:cNvPr id="78" name="Connector: Elbow 77">
              <a:extLst>
                <a:ext uri="{FF2B5EF4-FFF2-40B4-BE49-F238E27FC236}">
                  <a16:creationId xmlns:a16="http://schemas.microsoft.com/office/drawing/2014/main" id="{CD9E5583-191B-46A7-89A0-4970E92444FC}"/>
                </a:ext>
              </a:extLst>
            </p:cNvPr>
            <p:cNvCxnSpPr>
              <a:cxnSpLocks/>
            </p:cNvCxnSpPr>
            <p:nvPr/>
          </p:nvCxnSpPr>
          <p:spPr>
            <a:xfrm rot="5400000">
              <a:off x="5727283" y="954965"/>
              <a:ext cx="12700" cy="9792001"/>
            </a:xfrm>
            <a:prstGeom prst="bentConnector3">
              <a:avLst>
                <a:gd name="adj1" fmla="val 2170835"/>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619FF23F-887C-46B1-9898-6C2E0700A7A2}"/>
                </a:ext>
              </a:extLst>
            </p:cNvPr>
            <p:cNvSpPr/>
            <p:nvPr/>
          </p:nvSpPr>
          <p:spPr bwMode="auto">
            <a:xfrm>
              <a:off x="5160653" y="6221910"/>
              <a:ext cx="1145960" cy="2862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Iterate</a:t>
              </a:r>
            </a:p>
          </p:txBody>
        </p:sp>
      </p:grpSp>
      <p:sp>
        <p:nvSpPr>
          <p:cNvPr id="80" name="Rectangle 79">
            <a:extLst>
              <a:ext uri="{FF2B5EF4-FFF2-40B4-BE49-F238E27FC236}">
                <a16:creationId xmlns:a16="http://schemas.microsoft.com/office/drawing/2014/main" id="{6C1DA2B4-1C0E-4041-B2C8-AE1DBE888000}"/>
              </a:ext>
            </a:extLst>
          </p:cNvPr>
          <p:cNvSpPr/>
          <p:nvPr/>
        </p:nvSpPr>
        <p:spPr bwMode="auto">
          <a:xfrm>
            <a:off x="9571688" y="3751867"/>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83" name="Rectangle 82">
            <a:extLst>
              <a:ext uri="{FF2B5EF4-FFF2-40B4-BE49-F238E27FC236}">
                <a16:creationId xmlns:a16="http://schemas.microsoft.com/office/drawing/2014/main" id="{766313DE-E1C9-40AE-938F-A49589B1BBD4}"/>
              </a:ext>
            </a:extLst>
          </p:cNvPr>
          <p:cNvSpPr/>
          <p:nvPr/>
        </p:nvSpPr>
        <p:spPr bwMode="auto">
          <a:xfrm>
            <a:off x="3084711" y="2805466"/>
            <a:ext cx="2084214" cy="33832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Gradient Boosted</a:t>
            </a:r>
          </a:p>
        </p:txBody>
      </p:sp>
      <p:grpSp>
        <p:nvGrpSpPr>
          <p:cNvPr id="97" name="Group 96">
            <a:extLst>
              <a:ext uri="{FF2B5EF4-FFF2-40B4-BE49-F238E27FC236}">
                <a16:creationId xmlns:a16="http://schemas.microsoft.com/office/drawing/2014/main" id="{A5076285-431D-44B4-824C-4F8DF6C6B7A4}"/>
              </a:ext>
            </a:extLst>
          </p:cNvPr>
          <p:cNvGrpSpPr/>
          <p:nvPr/>
        </p:nvGrpSpPr>
        <p:grpSpPr>
          <a:xfrm>
            <a:off x="736222" y="2831239"/>
            <a:ext cx="1859572" cy="1345646"/>
            <a:chOff x="887982" y="2981479"/>
            <a:chExt cx="1859572" cy="1345646"/>
          </a:xfrm>
          <a:solidFill>
            <a:schemeClr val="tx2"/>
          </a:solidFill>
        </p:grpSpPr>
        <p:sp>
          <p:nvSpPr>
            <p:cNvPr id="98" name="Rectangle 97">
              <a:extLst>
                <a:ext uri="{FF2B5EF4-FFF2-40B4-BE49-F238E27FC236}">
                  <a16:creationId xmlns:a16="http://schemas.microsoft.com/office/drawing/2014/main" id="{2DB19555-5C4A-423A-81BC-6D0081323C7C}"/>
                </a:ext>
              </a:extLst>
            </p:cNvPr>
            <p:cNvSpPr/>
            <p:nvPr/>
          </p:nvSpPr>
          <p:spPr bwMode="auto">
            <a:xfrm>
              <a:off x="887982" y="2981479"/>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Mileage</a:t>
              </a:r>
            </a:p>
          </p:txBody>
        </p:sp>
        <p:sp>
          <p:nvSpPr>
            <p:cNvPr id="99" name="Rectangle 98">
              <a:extLst>
                <a:ext uri="{FF2B5EF4-FFF2-40B4-BE49-F238E27FC236}">
                  <a16:creationId xmlns:a16="http://schemas.microsoft.com/office/drawing/2014/main" id="{71FE8245-9253-4C95-833E-F8CE7A73D919}"/>
                </a:ext>
              </a:extLst>
            </p:cNvPr>
            <p:cNvSpPr/>
            <p:nvPr/>
          </p:nvSpPr>
          <p:spPr bwMode="auto">
            <a:xfrm>
              <a:off x="887982" y="3681363"/>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103" name="Rectangle 102">
              <a:extLst>
                <a:ext uri="{FF2B5EF4-FFF2-40B4-BE49-F238E27FC236}">
                  <a16:creationId xmlns:a16="http://schemas.microsoft.com/office/drawing/2014/main" id="{A5C9A6E2-03E2-4179-B9E9-43BE2661A750}"/>
                </a:ext>
              </a:extLst>
            </p:cNvPr>
            <p:cNvSpPr/>
            <p:nvPr/>
          </p:nvSpPr>
          <p:spPr bwMode="auto">
            <a:xfrm>
              <a:off x="887982" y="4031659"/>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grpSp>
      <p:grpSp>
        <p:nvGrpSpPr>
          <p:cNvPr id="82" name="Group 81">
            <a:extLst>
              <a:ext uri="{FF2B5EF4-FFF2-40B4-BE49-F238E27FC236}">
                <a16:creationId xmlns:a16="http://schemas.microsoft.com/office/drawing/2014/main" id="{112BEC75-D81D-4186-8772-659189043A0B}"/>
              </a:ext>
            </a:extLst>
          </p:cNvPr>
          <p:cNvGrpSpPr/>
          <p:nvPr/>
        </p:nvGrpSpPr>
        <p:grpSpPr>
          <a:xfrm>
            <a:off x="736222" y="3181181"/>
            <a:ext cx="1859572" cy="995704"/>
            <a:chOff x="887982" y="3331421"/>
            <a:chExt cx="1859572" cy="995704"/>
          </a:xfrm>
          <a:solidFill>
            <a:schemeClr val="tx2"/>
          </a:solidFill>
        </p:grpSpPr>
        <p:sp>
          <p:nvSpPr>
            <p:cNvPr id="87" name="Rectangle 86">
              <a:extLst>
                <a:ext uri="{FF2B5EF4-FFF2-40B4-BE49-F238E27FC236}">
                  <a16:creationId xmlns:a16="http://schemas.microsoft.com/office/drawing/2014/main" id="{893B809B-6138-4491-82C4-842FA4297CF5}"/>
                </a:ext>
              </a:extLst>
            </p:cNvPr>
            <p:cNvSpPr/>
            <p:nvPr/>
          </p:nvSpPr>
          <p:spPr bwMode="auto">
            <a:xfrm>
              <a:off x="887982" y="3681363"/>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88" name="Rectangle 87">
              <a:extLst>
                <a:ext uri="{FF2B5EF4-FFF2-40B4-BE49-F238E27FC236}">
                  <a16:creationId xmlns:a16="http://schemas.microsoft.com/office/drawing/2014/main" id="{F10017AA-64D2-4E65-84D5-C84A8DD03586}"/>
                </a:ext>
              </a:extLst>
            </p:cNvPr>
            <p:cNvSpPr/>
            <p:nvPr/>
          </p:nvSpPr>
          <p:spPr bwMode="auto">
            <a:xfrm>
              <a:off x="887982" y="4031659"/>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sp>
          <p:nvSpPr>
            <p:cNvPr id="89" name="Rectangle 88">
              <a:extLst>
                <a:ext uri="{FF2B5EF4-FFF2-40B4-BE49-F238E27FC236}">
                  <a16:creationId xmlns:a16="http://schemas.microsoft.com/office/drawing/2014/main" id="{EF5445C5-73C5-489C-9D10-B4969B450FE9}"/>
                </a:ext>
              </a:extLst>
            </p:cNvPr>
            <p:cNvSpPr/>
            <p:nvPr/>
          </p:nvSpPr>
          <p:spPr bwMode="auto">
            <a:xfrm>
              <a:off x="887982" y="3331421"/>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ondition</a:t>
              </a:r>
            </a:p>
          </p:txBody>
        </p:sp>
      </p:grpSp>
      <p:grpSp>
        <p:nvGrpSpPr>
          <p:cNvPr id="81" name="Group 80">
            <a:extLst>
              <a:ext uri="{FF2B5EF4-FFF2-40B4-BE49-F238E27FC236}">
                <a16:creationId xmlns:a16="http://schemas.microsoft.com/office/drawing/2014/main" id="{ACF85DC9-5BD9-4A30-A0F4-9AD7F813FBBF}"/>
              </a:ext>
            </a:extLst>
          </p:cNvPr>
          <p:cNvGrpSpPr/>
          <p:nvPr/>
        </p:nvGrpSpPr>
        <p:grpSpPr>
          <a:xfrm>
            <a:off x="7295059" y="4281370"/>
            <a:ext cx="1450614" cy="147002"/>
            <a:chOff x="8120217" y="3558128"/>
            <a:chExt cx="1940664" cy="147002"/>
          </a:xfrm>
        </p:grpSpPr>
        <p:cxnSp>
          <p:nvCxnSpPr>
            <p:cNvPr id="86" name="Straight Connector 85">
              <a:extLst>
                <a:ext uri="{FF2B5EF4-FFF2-40B4-BE49-F238E27FC236}">
                  <a16:creationId xmlns:a16="http://schemas.microsoft.com/office/drawing/2014/main" id="{FD831044-E06F-46BE-B791-C4588AA8B0FD}"/>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673CF05-855A-42F6-B8B4-6815B4183A8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70EB13C6-CB43-4DFB-ACBA-BA73ADB8BA5A}"/>
                </a:ext>
              </a:extLst>
            </p:cNvPr>
            <p:cNvGrpSpPr/>
            <p:nvPr/>
          </p:nvGrpSpPr>
          <p:grpSpPr>
            <a:xfrm>
              <a:off x="8335846" y="3595364"/>
              <a:ext cx="1509402" cy="109766"/>
              <a:chOff x="8335846" y="3502450"/>
              <a:chExt cx="1509402" cy="202679"/>
            </a:xfrm>
          </p:grpSpPr>
          <p:cxnSp>
            <p:nvCxnSpPr>
              <p:cNvPr id="92" name="Straight Connector 91">
                <a:extLst>
                  <a:ext uri="{FF2B5EF4-FFF2-40B4-BE49-F238E27FC236}">
                    <a16:creationId xmlns:a16="http://schemas.microsoft.com/office/drawing/2014/main" id="{36177D08-0A16-4664-BCEF-F8466BAA5189}"/>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8327A26-4063-4476-A929-43C18A757171}"/>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135E53D-F0C8-4E22-A844-588BEFBD230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87D8D64-1156-4C04-AC90-9AFA7DFFD56F}"/>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1925A22-FA2D-4017-A757-00855BF459B8}"/>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FF5EC524-7BB5-43E7-8A12-AB79994538B1}"/>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4FFD033-D313-436C-B4DD-4B40BA2517DF}"/>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B6C3F520-E24D-45F8-8BA0-3C8FC04BB182}"/>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104" name="Isosceles Triangle 103">
            <a:extLst>
              <a:ext uri="{FF2B5EF4-FFF2-40B4-BE49-F238E27FC236}">
                <a16:creationId xmlns:a16="http://schemas.microsoft.com/office/drawing/2014/main" id="{6445037D-370B-4B1F-84C2-A80D4B35AC29}"/>
              </a:ext>
            </a:extLst>
          </p:cNvPr>
          <p:cNvSpPr/>
          <p:nvPr/>
        </p:nvSpPr>
        <p:spPr bwMode="auto">
          <a:xfrm>
            <a:off x="8193551" y="4336929"/>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Title 2">
            <a:extLst>
              <a:ext uri="{FF2B5EF4-FFF2-40B4-BE49-F238E27FC236}">
                <a16:creationId xmlns:a16="http://schemas.microsoft.com/office/drawing/2014/main" id="{3DF5360C-C4EC-49A0-BB88-FBEFC680A57F}"/>
              </a:ext>
            </a:extLst>
          </p:cNvPr>
          <p:cNvSpPr>
            <a:spLocks noGrp="1"/>
          </p:cNvSpPr>
          <p:nvPr>
            <p:ph type="title"/>
          </p:nvPr>
        </p:nvSpPr>
        <p:spPr>
          <a:xfrm>
            <a:off x="735754" y="339959"/>
            <a:ext cx="11128895" cy="1107996"/>
          </a:xfrm>
        </p:spPr>
        <p:txBody>
          <a:bodyPr>
            <a:noAutofit/>
          </a:bodyPr>
          <a:lstStyle/>
          <a:p>
            <a:r>
              <a:rPr lang="en-US">
                <a:latin typeface="Segoe UI Light" panose="020B0502040204020203" pitchFamily="34" charset="0"/>
                <a:cs typeface="Segoe UI Light" panose="020B0502040204020203" pitchFamily="34" charset="0"/>
              </a:rPr>
              <a:t>Model Creation Is Typically Time-Consuming</a:t>
            </a:r>
          </a:p>
        </p:txBody>
      </p:sp>
    </p:spTree>
    <p:extLst>
      <p:ext uri="{BB962C8B-B14F-4D97-AF65-F5344CB8AC3E}">
        <p14:creationId xmlns:p14="http://schemas.microsoft.com/office/powerpoint/2010/main" val="2185587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right)">
                                      <p:cBhvr>
                                        <p:cTn id="7" dur="1000"/>
                                        <p:tgtEl>
                                          <p:spTgt spid="77"/>
                                        </p:tgtEl>
                                      </p:cBhvr>
                                    </p:animEffect>
                                  </p:childTnLst>
                                </p:cTn>
                              </p:par>
                              <p:par>
                                <p:cTn id="8" presetID="42" presetClass="path" presetSubtype="0" accel="50000" decel="50000" fill="hold" grpId="0" nodeType="withEffect">
                                  <p:stCondLst>
                                    <p:cond delay="0"/>
                                  </p:stCondLst>
                                  <p:childTnLst>
                                    <p:animMotion origin="layout" path="M 1.04167E-6 4.44444E-6 L 0.14284 -0.20348 " pathEditMode="relative" rAng="0" ptsTypes="AA">
                                      <p:cBhvr>
                                        <p:cTn id="9" dur="750" fill="hold"/>
                                        <p:tgtEl>
                                          <p:spTgt spid="80"/>
                                        </p:tgtEl>
                                        <p:attrNameLst>
                                          <p:attrName>ppt_x</p:attrName>
                                          <p:attrName>ppt_y</p:attrName>
                                        </p:attrNameLst>
                                      </p:cBhvr>
                                      <p:rCtr x="7135" y="-10185"/>
                                    </p:animMotion>
                                  </p:childTnLst>
                                </p:cTn>
                              </p:par>
                            </p:childTnLst>
                          </p:cTn>
                        </p:par>
                        <p:par>
                          <p:cTn id="10" fill="hold">
                            <p:stCondLst>
                              <p:cond delay="1000"/>
                            </p:stCondLst>
                            <p:childTnLst>
                              <p:par>
                                <p:cTn id="11" presetID="10" presetClass="entr" presetSubtype="0" fill="hold" nodeType="afterEffect">
                                  <p:stCondLst>
                                    <p:cond delay="250"/>
                                  </p:stCondLst>
                                  <p:childTnLst>
                                    <p:set>
                                      <p:cBhvr>
                                        <p:cTn id="12" dur="1" fill="hold">
                                          <p:stCondLst>
                                            <p:cond delay="0"/>
                                          </p:stCondLst>
                                        </p:cTn>
                                        <p:tgtEl>
                                          <p:spTgt spid="82"/>
                                        </p:tgtEl>
                                        <p:attrNameLst>
                                          <p:attrName>style.visibility</p:attrName>
                                        </p:attrNameLst>
                                      </p:cBhvr>
                                      <p:to>
                                        <p:strVal val="visible"/>
                                      </p:to>
                                    </p:set>
                                    <p:animEffect transition="in" filter="fade">
                                      <p:cBhvr>
                                        <p:cTn id="13" dur="500"/>
                                        <p:tgtEl>
                                          <p:spTgt spid="82"/>
                                        </p:tgtEl>
                                      </p:cBhvr>
                                    </p:animEffect>
                                  </p:childTnLst>
                                </p:cTn>
                              </p:par>
                            </p:childTnLst>
                          </p:cTn>
                        </p:par>
                        <p:par>
                          <p:cTn id="14" fill="hold">
                            <p:stCondLst>
                              <p:cond delay="1750"/>
                            </p:stCondLst>
                            <p:childTnLst>
                              <p:par>
                                <p:cTn id="15" presetID="22" presetClass="entr" presetSubtype="1" fill="hold" grpId="0"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ipe(up)">
                                      <p:cBhvr>
                                        <p:cTn id="17" dur="500"/>
                                        <p:tgtEl>
                                          <p:spTgt spid="12"/>
                                        </p:tgtEl>
                                      </p:cBhvr>
                                    </p:animEffect>
                                  </p:childTnLst>
                                </p:cTn>
                              </p:par>
                              <p:par>
                                <p:cTn id="18" presetID="22" presetClass="exit" presetSubtype="1" fill="hold" grpId="0" nodeType="withEffect">
                                  <p:stCondLst>
                                    <p:cond delay="0"/>
                                  </p:stCondLst>
                                  <p:childTnLst>
                                    <p:animEffect transition="out" filter="wipe(up)">
                                      <p:cBhvr>
                                        <p:cTn id="19" dur="500"/>
                                        <p:tgtEl>
                                          <p:spTgt spid="83"/>
                                        </p:tgtEl>
                                      </p:cBhvr>
                                    </p:animEffect>
                                    <p:set>
                                      <p:cBhvr>
                                        <p:cTn id="20" dur="1" fill="hold">
                                          <p:stCondLst>
                                            <p:cond delay="499"/>
                                          </p:stCondLst>
                                        </p:cTn>
                                        <p:tgtEl>
                                          <p:spTgt spid="83"/>
                                        </p:tgtEl>
                                        <p:attrNameLst>
                                          <p:attrName>style.visibility</p:attrName>
                                        </p:attrNameLst>
                                      </p:cBhvr>
                                      <p:to>
                                        <p:strVal val="hidden"/>
                                      </p:to>
                                    </p:set>
                                  </p:childTnLst>
                                </p:cTn>
                              </p:par>
                              <p:par>
                                <p:cTn id="21" presetID="10" presetClass="entr" presetSubtype="0" fill="hold" grpId="0" nodeType="withEffect">
                                  <p:stCondLst>
                                    <p:cond delay="0"/>
                                  </p:stCondLst>
                                  <p:childTnLst>
                                    <p:set>
                                      <p:cBhvr>
                                        <p:cTn id="22" dur="1" fill="hold">
                                          <p:stCondLst>
                                            <p:cond delay="0"/>
                                          </p:stCondLst>
                                        </p:cTn>
                                        <p:tgtEl>
                                          <p:spTgt spid="84"/>
                                        </p:tgtEl>
                                        <p:attrNameLst>
                                          <p:attrName>style.visibility</p:attrName>
                                        </p:attrNameLst>
                                      </p:cBhvr>
                                      <p:to>
                                        <p:strVal val="visible"/>
                                      </p:to>
                                    </p:set>
                                    <p:animEffect transition="in" filter="fade">
                                      <p:cBhvr>
                                        <p:cTn id="23" dur="500"/>
                                        <p:tgtEl>
                                          <p:spTgt spid="84"/>
                                        </p:tgtEl>
                                      </p:cBhvr>
                                    </p:animEffect>
                                  </p:childTnLst>
                                </p:cTn>
                              </p:par>
                              <p:par>
                                <p:cTn id="24" presetID="10" presetClass="exit" presetSubtype="0" fill="hold" grpId="0" nodeType="withEffect">
                                  <p:stCondLst>
                                    <p:cond delay="0"/>
                                  </p:stCondLst>
                                  <p:childTnLst>
                                    <p:animEffect transition="out" filter="fade">
                                      <p:cBhvr>
                                        <p:cTn id="25" dur="500"/>
                                        <p:tgtEl>
                                          <p:spTgt spid="13"/>
                                        </p:tgtEl>
                                      </p:cBhvr>
                                    </p:animEffect>
                                    <p:set>
                                      <p:cBhvr>
                                        <p:cTn id="26" dur="1" fill="hold">
                                          <p:stCondLst>
                                            <p:cond delay="499"/>
                                          </p:stCondLst>
                                        </p:cTn>
                                        <p:tgtEl>
                                          <p:spTgt spid="13"/>
                                        </p:tgtEl>
                                        <p:attrNameLst>
                                          <p:attrName>style.visibility</p:attrName>
                                        </p:attrNameLst>
                                      </p:cBhvr>
                                      <p:to>
                                        <p:strVal val="hidden"/>
                                      </p:to>
                                    </p:set>
                                  </p:childTnLst>
                                </p:cTn>
                              </p:par>
                            </p:childTnLst>
                          </p:cTn>
                        </p:par>
                        <p:par>
                          <p:cTn id="27" fill="hold">
                            <p:stCondLst>
                              <p:cond delay="2250"/>
                            </p:stCondLst>
                            <p:childTnLst>
                              <p:par>
                                <p:cTn id="28" presetID="63" presetClass="path" presetSubtype="0" accel="24000" decel="50000" fill="hold" grpId="0" nodeType="afterEffect">
                                  <p:stCondLst>
                                    <p:cond delay="0"/>
                                  </p:stCondLst>
                                  <p:childTnLst>
                                    <p:animMotion origin="layout" path="M 4.58333E-6 3.7037E-6 L -0.05287 3.7037E-6 " pathEditMode="relative" rAng="0" ptsTypes="AA">
                                      <p:cBhvr>
                                        <p:cTn id="29" dur="750" fill="hold"/>
                                        <p:tgtEl>
                                          <p:spTgt spid="66"/>
                                        </p:tgtEl>
                                        <p:attrNameLst>
                                          <p:attrName>ppt_x</p:attrName>
                                          <p:attrName>ppt_y</p:attrName>
                                        </p:attrNameLst>
                                      </p:cBhvr>
                                      <p:rCtr x="-2643" y="0"/>
                                    </p:animMotion>
                                  </p:childTnLst>
                                </p:cTn>
                              </p:par>
                              <p:par>
                                <p:cTn id="30" presetID="63" presetClass="path" presetSubtype="0" accel="24000" decel="50000" fill="hold" grpId="0" nodeType="withEffect">
                                  <p:stCondLst>
                                    <p:cond delay="0"/>
                                  </p:stCondLst>
                                  <p:childTnLst>
                                    <p:animMotion origin="layout" path="M -1.25E-6 -3.33333E-6 L 0.07904 -3.33333E-6 " pathEditMode="relative" rAng="0" ptsTypes="AA">
                                      <p:cBhvr>
                                        <p:cTn id="31" dur="750" fill="hold"/>
                                        <p:tgtEl>
                                          <p:spTgt spid="67"/>
                                        </p:tgtEl>
                                        <p:attrNameLst>
                                          <p:attrName>ppt_x</p:attrName>
                                          <p:attrName>ppt_y</p:attrName>
                                        </p:attrNameLst>
                                      </p:cBhvr>
                                      <p:rCtr x="3945" y="0"/>
                                    </p:animMotion>
                                  </p:childTnLst>
                                </p:cTn>
                              </p:par>
                              <p:par>
                                <p:cTn id="32" presetID="63" presetClass="path" presetSubtype="0" accel="50000" decel="50000" fill="hold" grpId="0" nodeType="withEffect">
                                  <p:stCondLst>
                                    <p:cond delay="0"/>
                                  </p:stCondLst>
                                  <p:childTnLst>
                                    <p:animMotion origin="layout" path="M -1.04167E-6 -3.7037E-7 L 0.0138 -3.7037E-7 " pathEditMode="relative" rAng="0" ptsTypes="AA">
                                      <p:cBhvr>
                                        <p:cTn id="33" dur="750" fill="hold"/>
                                        <p:tgtEl>
                                          <p:spTgt spid="68"/>
                                        </p:tgtEl>
                                        <p:attrNameLst>
                                          <p:attrName>ppt_x</p:attrName>
                                          <p:attrName>ppt_y</p:attrName>
                                        </p:attrNameLst>
                                      </p:cBhvr>
                                      <p:rCtr x="690" y="0"/>
                                    </p:animMotion>
                                  </p:childTnLst>
                                </p:cTn>
                              </p:par>
                              <p:par>
                                <p:cTn id="34" presetID="63" presetClass="path" presetSubtype="0" accel="24000" decel="50000" fill="hold" grpId="0" nodeType="withEffect">
                                  <p:stCondLst>
                                    <p:cond delay="0"/>
                                  </p:stCondLst>
                                  <p:childTnLst>
                                    <p:animMotion origin="layout" path="M 1.25E-6 2.59259E-6 L 0.06667 2.59259E-6 " pathEditMode="relative" rAng="0" ptsTypes="AA">
                                      <p:cBhvr>
                                        <p:cTn id="35" dur="750" fill="hold"/>
                                        <p:tgtEl>
                                          <p:spTgt spid="69"/>
                                        </p:tgtEl>
                                        <p:attrNameLst>
                                          <p:attrName>ppt_x</p:attrName>
                                          <p:attrName>ppt_y</p:attrName>
                                        </p:attrNameLst>
                                      </p:cBhvr>
                                      <p:rCtr x="3333" y="0"/>
                                    </p:animMotion>
                                  </p:childTnLst>
                                </p:cTn>
                              </p:par>
                              <p:par>
                                <p:cTn id="36" presetID="63" presetClass="path" presetSubtype="0" accel="24000" decel="50000" fill="hold" grpId="0" nodeType="withEffect">
                                  <p:stCondLst>
                                    <p:cond delay="0"/>
                                  </p:stCondLst>
                                  <p:childTnLst>
                                    <p:animMotion origin="layout" path="M -4.16667E-6 -3.7037E-7 L 0.02709 -3.7037E-7 " pathEditMode="relative" rAng="0" ptsTypes="AA">
                                      <p:cBhvr>
                                        <p:cTn id="37" dur="750" fill="hold"/>
                                        <p:tgtEl>
                                          <p:spTgt spid="104"/>
                                        </p:tgtEl>
                                        <p:attrNameLst>
                                          <p:attrName>ppt_x</p:attrName>
                                          <p:attrName>ppt_y</p:attrName>
                                        </p:attrNameLst>
                                      </p:cBhvr>
                                      <p:rCtr x="1354" y="0"/>
                                    </p:animMotion>
                                  </p:childTnLst>
                                </p:cTn>
                              </p:par>
                            </p:childTnLst>
                          </p:cTn>
                        </p:par>
                        <p:par>
                          <p:cTn id="38" fill="hold">
                            <p:stCondLst>
                              <p:cond delay="3000"/>
                            </p:stCondLst>
                            <p:childTnLst>
                              <p:par>
                                <p:cTn id="39" presetID="22" presetClass="entr" presetSubtype="8" fill="hold" grpId="0" nodeType="afterEffect">
                                  <p:stCondLst>
                                    <p:cond delay="0"/>
                                  </p:stCondLst>
                                  <p:childTnLst>
                                    <p:set>
                                      <p:cBhvr>
                                        <p:cTn id="40" dur="1" fill="hold">
                                          <p:stCondLst>
                                            <p:cond delay="0"/>
                                          </p:stCondLst>
                                        </p:cTn>
                                        <p:tgtEl>
                                          <p:spTgt spid="73"/>
                                        </p:tgtEl>
                                        <p:attrNameLst>
                                          <p:attrName>style.visibility</p:attrName>
                                        </p:attrNameLst>
                                      </p:cBhvr>
                                      <p:to>
                                        <p:strVal val="visible"/>
                                      </p:to>
                                    </p:set>
                                    <p:animEffect transition="in" filter="wipe(left)">
                                      <p:cBhvr>
                                        <p:cTn id="41" dur="500"/>
                                        <p:tgtEl>
                                          <p:spTgt spid="73"/>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74"/>
                                        </p:tgtEl>
                                        <p:attrNameLst>
                                          <p:attrName>style.visibility</p:attrName>
                                        </p:attrNameLst>
                                      </p:cBhvr>
                                      <p:to>
                                        <p:strVal val="visible"/>
                                      </p:to>
                                    </p:set>
                                    <p:animEffect transition="in" filter="wipe(left)">
                                      <p:cBhvr>
                                        <p:cTn id="44"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84" grpId="0"/>
      <p:bldP spid="12" grpId="0" animBg="1"/>
      <p:bldP spid="66" grpId="0" animBg="1"/>
      <p:bldP spid="67" grpId="0" animBg="1"/>
      <p:bldP spid="68" grpId="0" animBg="1"/>
      <p:bldP spid="69" grpId="0" animBg="1"/>
      <p:bldP spid="73" grpId="0" animBg="1"/>
      <p:bldP spid="74" grpId="0"/>
      <p:bldP spid="80" grpId="0" animBg="1"/>
      <p:bldP spid="83" grpId="0" animBg="1"/>
      <p:bldP spid="10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D8AE1ED-2270-4A61-B841-2FB66EFCD65D}"/>
              </a:ext>
            </a:extLst>
          </p:cNvPr>
          <p:cNvGrpSpPr/>
          <p:nvPr/>
        </p:nvGrpSpPr>
        <p:grpSpPr>
          <a:xfrm>
            <a:off x="5884446" y="3044537"/>
            <a:ext cx="1450614" cy="1505382"/>
            <a:chOff x="5884446" y="3044537"/>
            <a:chExt cx="1450614" cy="1505382"/>
          </a:xfrm>
        </p:grpSpPr>
        <p:grpSp>
          <p:nvGrpSpPr>
            <p:cNvPr id="37" name="Group 36">
              <a:extLst>
                <a:ext uri="{FF2B5EF4-FFF2-40B4-BE49-F238E27FC236}">
                  <a16:creationId xmlns:a16="http://schemas.microsoft.com/office/drawing/2014/main" id="{A995BB77-5A05-41A6-9266-9ADBB2F88266}"/>
                </a:ext>
              </a:extLst>
            </p:cNvPr>
            <p:cNvGrpSpPr/>
            <p:nvPr/>
          </p:nvGrpSpPr>
          <p:grpSpPr>
            <a:xfrm>
              <a:off x="5884446" y="3044537"/>
              <a:ext cx="1450614" cy="147003"/>
              <a:chOff x="8120217" y="3558128"/>
              <a:chExt cx="1940664" cy="147003"/>
            </a:xfrm>
          </p:grpSpPr>
          <p:cxnSp>
            <p:nvCxnSpPr>
              <p:cNvPr id="38" name="Straight Connector 37">
                <a:extLst>
                  <a:ext uri="{FF2B5EF4-FFF2-40B4-BE49-F238E27FC236}">
                    <a16:creationId xmlns:a16="http://schemas.microsoft.com/office/drawing/2014/main" id="{A2C03983-943E-4E59-8383-78832CD2E20F}"/>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CFA1416-A1B0-46EB-AA53-BA421B3A6A62}"/>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63FEEBB4-CF81-4A62-A145-6BB88C917CEF}"/>
                  </a:ext>
                </a:extLst>
              </p:cNvPr>
              <p:cNvGrpSpPr/>
              <p:nvPr/>
            </p:nvGrpSpPr>
            <p:grpSpPr>
              <a:xfrm>
                <a:off x="8335846" y="3593256"/>
                <a:ext cx="1509402" cy="111875"/>
                <a:chOff x="8335846" y="3498555"/>
                <a:chExt cx="1509402" cy="206573"/>
              </a:xfrm>
            </p:grpSpPr>
            <p:cxnSp>
              <p:nvCxnSpPr>
                <p:cNvPr id="41" name="Straight Connector 40">
                  <a:extLst>
                    <a:ext uri="{FF2B5EF4-FFF2-40B4-BE49-F238E27FC236}">
                      <a16:creationId xmlns:a16="http://schemas.microsoft.com/office/drawing/2014/main" id="{ABE1743D-D1F2-43E7-B341-1A20A333C275}"/>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C39D94C-F515-4933-9AF5-4B2CFA4290EE}"/>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EC3DB11-A16E-4FA3-81C1-F37D64614F79}"/>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901AC9C-3A65-48E6-8B46-C286C1AB0A94}"/>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F4013FE-06AA-432A-B791-C38C54872705}"/>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40B3E34-315A-43D8-AA4B-023448EFED5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BC5764D-496A-4C25-8E2B-2168EE748EB2}"/>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3933A55-06DD-421E-8217-539D482A68B2}"/>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0" name="Group 49">
              <a:extLst>
                <a:ext uri="{FF2B5EF4-FFF2-40B4-BE49-F238E27FC236}">
                  <a16:creationId xmlns:a16="http://schemas.microsoft.com/office/drawing/2014/main" id="{FBC36DC7-6421-41AA-90FB-4B930E7F7699}"/>
                </a:ext>
              </a:extLst>
            </p:cNvPr>
            <p:cNvGrpSpPr/>
            <p:nvPr/>
          </p:nvGrpSpPr>
          <p:grpSpPr>
            <a:xfrm>
              <a:off x="5884446" y="3384135"/>
              <a:ext cx="1450614" cy="146999"/>
              <a:chOff x="8120217" y="3558128"/>
              <a:chExt cx="1940664" cy="146999"/>
            </a:xfrm>
          </p:grpSpPr>
          <p:cxnSp>
            <p:nvCxnSpPr>
              <p:cNvPr id="51" name="Straight Connector 50">
                <a:extLst>
                  <a:ext uri="{FF2B5EF4-FFF2-40B4-BE49-F238E27FC236}">
                    <a16:creationId xmlns:a16="http://schemas.microsoft.com/office/drawing/2014/main" id="{FF018632-D3DD-4FB4-B439-BA2DE4ECF3EB}"/>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DA117C8-247D-4054-83E9-865713E71A63}"/>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2349FF8E-577E-498D-AB2F-B28E2E1BD54A}"/>
                  </a:ext>
                </a:extLst>
              </p:cNvPr>
              <p:cNvGrpSpPr/>
              <p:nvPr/>
            </p:nvGrpSpPr>
            <p:grpSpPr>
              <a:xfrm>
                <a:off x="8335846" y="3592140"/>
                <a:ext cx="1509402" cy="112986"/>
                <a:chOff x="8335846" y="3496504"/>
                <a:chExt cx="1509402" cy="208625"/>
              </a:xfrm>
            </p:grpSpPr>
            <p:cxnSp>
              <p:nvCxnSpPr>
                <p:cNvPr id="54" name="Straight Connector 53">
                  <a:extLst>
                    <a:ext uri="{FF2B5EF4-FFF2-40B4-BE49-F238E27FC236}">
                      <a16:creationId xmlns:a16="http://schemas.microsoft.com/office/drawing/2014/main" id="{2EC5FF38-6339-4622-9F80-B1FD5D7DAF8A}"/>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F03DFD5-DB55-4A40-9412-5171EF8D1835}"/>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4710521-9101-48D4-90EE-618C4FDE2EF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CBB89D8-D9DB-4D62-8272-8D713528E36F}"/>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B6CD139-D39D-4878-9E28-BE0C2BD8C6E2}"/>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4A0DD67-A763-48FD-A81D-8F04147AB311}"/>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2CEBA28-FAC1-4C37-B381-EAB4830EBCE2}"/>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1FEE2D7-34CB-46DC-B3D8-70A182BA7CB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62" name="Group 61">
              <a:extLst>
                <a:ext uri="{FF2B5EF4-FFF2-40B4-BE49-F238E27FC236}">
                  <a16:creationId xmlns:a16="http://schemas.microsoft.com/office/drawing/2014/main" id="{269E9AA7-0CA8-482A-999E-DCB9FD2B890B}"/>
                </a:ext>
              </a:extLst>
            </p:cNvPr>
            <p:cNvGrpSpPr/>
            <p:nvPr/>
          </p:nvGrpSpPr>
          <p:grpSpPr>
            <a:xfrm>
              <a:off x="5884446" y="3723729"/>
              <a:ext cx="1450614" cy="147000"/>
              <a:chOff x="8120217" y="3558128"/>
              <a:chExt cx="1940664" cy="147000"/>
            </a:xfrm>
          </p:grpSpPr>
          <p:cxnSp>
            <p:nvCxnSpPr>
              <p:cNvPr id="63" name="Straight Connector 62">
                <a:extLst>
                  <a:ext uri="{FF2B5EF4-FFF2-40B4-BE49-F238E27FC236}">
                    <a16:creationId xmlns:a16="http://schemas.microsoft.com/office/drawing/2014/main" id="{91AFD085-E71F-4890-99A1-521333659CB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EB1AE87-2B7B-44E9-BF9F-8CCF029CD1DD}"/>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4C0965D2-43FB-4D0F-81E7-FA62C2F0C0D3}"/>
                  </a:ext>
                </a:extLst>
              </p:cNvPr>
              <p:cNvGrpSpPr/>
              <p:nvPr/>
            </p:nvGrpSpPr>
            <p:grpSpPr>
              <a:xfrm>
                <a:off x="8335846" y="3593752"/>
                <a:ext cx="1509402" cy="111376"/>
                <a:chOff x="8335846" y="3499477"/>
                <a:chExt cx="1509402" cy="205652"/>
              </a:xfrm>
            </p:grpSpPr>
            <p:cxnSp>
              <p:nvCxnSpPr>
                <p:cNvPr id="67" name="Straight Connector 66">
                  <a:extLst>
                    <a:ext uri="{FF2B5EF4-FFF2-40B4-BE49-F238E27FC236}">
                      <a16:creationId xmlns:a16="http://schemas.microsoft.com/office/drawing/2014/main" id="{EC94363D-8C74-40A0-BFCB-17F1AD4F0698}"/>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A890D25-18AF-44F6-9B6F-D4F4487FF2C3}"/>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138C371-61A1-42C9-B4A2-79F976A960C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4EF16B2-A7B8-470E-9C44-CDF47811A560}"/>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A23ABB0-200B-48EE-A948-E4F8F37FB747}"/>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6385DD5-FF34-4167-BBD4-00747FF75FC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7FC391A-47BA-4E02-8135-A6E71A404ACC}"/>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BD4B48A-796E-4BBD-B449-EA0E46FBC60F}"/>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76" name="Group 75">
              <a:extLst>
                <a:ext uri="{FF2B5EF4-FFF2-40B4-BE49-F238E27FC236}">
                  <a16:creationId xmlns:a16="http://schemas.microsoft.com/office/drawing/2014/main" id="{F8B8793F-DC9E-4FC7-AD81-64D579C99EDC}"/>
                </a:ext>
              </a:extLst>
            </p:cNvPr>
            <p:cNvGrpSpPr/>
            <p:nvPr/>
          </p:nvGrpSpPr>
          <p:grpSpPr>
            <a:xfrm>
              <a:off x="5884446" y="4063323"/>
              <a:ext cx="1450614" cy="147002"/>
              <a:chOff x="8120217" y="3558128"/>
              <a:chExt cx="1940664" cy="147002"/>
            </a:xfrm>
          </p:grpSpPr>
          <p:cxnSp>
            <p:nvCxnSpPr>
              <p:cNvPr id="82" name="Straight Connector 81">
                <a:extLst>
                  <a:ext uri="{FF2B5EF4-FFF2-40B4-BE49-F238E27FC236}">
                    <a16:creationId xmlns:a16="http://schemas.microsoft.com/office/drawing/2014/main" id="{491D9C4E-1A37-4B3D-B6C5-63A81C2A777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289FCC8D-A8D9-4D95-AA3D-2EFCC67F6C29}"/>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A9BFA321-5756-42FA-874C-3A83531A87B3}"/>
                  </a:ext>
                </a:extLst>
              </p:cNvPr>
              <p:cNvGrpSpPr/>
              <p:nvPr/>
            </p:nvGrpSpPr>
            <p:grpSpPr>
              <a:xfrm>
                <a:off x="8335846" y="3595364"/>
                <a:ext cx="1509402" cy="109766"/>
                <a:chOff x="8335846" y="3502450"/>
                <a:chExt cx="1509402" cy="202679"/>
              </a:xfrm>
            </p:grpSpPr>
            <p:cxnSp>
              <p:nvCxnSpPr>
                <p:cNvPr id="85" name="Straight Connector 84">
                  <a:extLst>
                    <a:ext uri="{FF2B5EF4-FFF2-40B4-BE49-F238E27FC236}">
                      <a16:creationId xmlns:a16="http://schemas.microsoft.com/office/drawing/2014/main" id="{65AD5B74-1B00-45C4-B604-AAA31870CB40}"/>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C850950-BA30-47D6-9490-154EC1104819}"/>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92F841C-1B25-438E-9FF8-005F5F97D41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C7ACCF32-A9CE-483B-95B1-4F68EBFC981D}"/>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4FB3800-9155-4E5F-AF1E-F3128455126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602CA657-BE4B-4048-9C8A-8BB682F42557}"/>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9F36F5E-8B54-4B75-BCF9-C1D53DF4BE74}"/>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D904617-8559-4E41-BC9D-3E4881C0D03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5" name="Group 104">
              <a:extLst>
                <a:ext uri="{FF2B5EF4-FFF2-40B4-BE49-F238E27FC236}">
                  <a16:creationId xmlns:a16="http://schemas.microsoft.com/office/drawing/2014/main" id="{4264AE4F-C5AC-4148-B274-D99ABD4D60D6}"/>
                </a:ext>
              </a:extLst>
            </p:cNvPr>
            <p:cNvGrpSpPr/>
            <p:nvPr/>
          </p:nvGrpSpPr>
          <p:grpSpPr>
            <a:xfrm>
              <a:off x="5884446" y="4402917"/>
              <a:ext cx="1450614" cy="147002"/>
              <a:chOff x="8120217" y="3558128"/>
              <a:chExt cx="1940664" cy="147002"/>
            </a:xfrm>
          </p:grpSpPr>
          <p:cxnSp>
            <p:nvCxnSpPr>
              <p:cNvPr id="106" name="Straight Connector 105">
                <a:extLst>
                  <a:ext uri="{FF2B5EF4-FFF2-40B4-BE49-F238E27FC236}">
                    <a16:creationId xmlns:a16="http://schemas.microsoft.com/office/drawing/2014/main" id="{BEFF23A2-946C-4BAD-8E6B-7812762ACDD5}"/>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F9B64E9A-3596-4F19-9B91-6E0E6F82DF0F}"/>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8" name="Group 107">
                <a:extLst>
                  <a:ext uri="{FF2B5EF4-FFF2-40B4-BE49-F238E27FC236}">
                    <a16:creationId xmlns:a16="http://schemas.microsoft.com/office/drawing/2014/main" id="{AEF420FF-3ED7-4F4B-848D-720ED8C39485}"/>
                  </a:ext>
                </a:extLst>
              </p:cNvPr>
              <p:cNvGrpSpPr/>
              <p:nvPr/>
            </p:nvGrpSpPr>
            <p:grpSpPr>
              <a:xfrm>
                <a:off x="8335846" y="3595364"/>
                <a:ext cx="1509402" cy="109766"/>
                <a:chOff x="8335846" y="3502450"/>
                <a:chExt cx="1509402" cy="202679"/>
              </a:xfrm>
            </p:grpSpPr>
            <p:cxnSp>
              <p:nvCxnSpPr>
                <p:cNvPr id="112" name="Straight Connector 111">
                  <a:extLst>
                    <a:ext uri="{FF2B5EF4-FFF2-40B4-BE49-F238E27FC236}">
                      <a16:creationId xmlns:a16="http://schemas.microsoft.com/office/drawing/2014/main" id="{D6AF544E-ADDF-4260-8FBC-56810DB4448D}"/>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C9177729-9337-4D34-946B-DFE4481F5E4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8B5F39E7-EF92-481F-B897-34DA903E2595}"/>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73BDB3AA-CDE0-4C62-B51C-DC1F3A0E5CC8}"/>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67783E9-C504-4723-9867-5BFA3F01AFD6}"/>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48A591B9-6BAE-442B-9699-3B4856913C0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8AEBBB1-E1D2-423E-8C80-D660D7BF9FC7}"/>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82DBB156-D4D6-4F2B-BB8D-63740E75D9C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sp>
        <p:nvSpPr>
          <p:cNvPr id="136" name="Rectangle 135">
            <a:extLst>
              <a:ext uri="{FF2B5EF4-FFF2-40B4-BE49-F238E27FC236}">
                <a16:creationId xmlns:a16="http://schemas.microsoft.com/office/drawing/2014/main" id="{B876C16E-02E3-49C5-B773-9B262EC0EB00}"/>
              </a:ext>
            </a:extLst>
          </p:cNvPr>
          <p:cNvSpPr/>
          <p:nvPr/>
        </p:nvSpPr>
        <p:spPr bwMode="auto">
          <a:xfrm>
            <a:off x="3090134" y="2809506"/>
            <a:ext cx="2078783" cy="32014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7" name="Rectangle 146">
            <a:extLst>
              <a:ext uri="{FF2B5EF4-FFF2-40B4-BE49-F238E27FC236}">
                <a16:creationId xmlns:a16="http://schemas.microsoft.com/office/drawing/2014/main" id="{AF6BECDC-1136-474D-AD57-07C750BD7A6D}"/>
              </a:ext>
            </a:extLst>
          </p:cNvPr>
          <p:cNvSpPr/>
          <p:nvPr/>
        </p:nvSpPr>
        <p:spPr bwMode="auto">
          <a:xfrm>
            <a:off x="3090134" y="3511941"/>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8" name="Rectangle 147">
            <a:extLst>
              <a:ext uri="{FF2B5EF4-FFF2-40B4-BE49-F238E27FC236}">
                <a16:creationId xmlns:a16="http://schemas.microsoft.com/office/drawing/2014/main" id="{781F9281-CBE0-4766-9CEB-2F25D7221217}"/>
              </a:ext>
            </a:extLst>
          </p:cNvPr>
          <p:cNvSpPr/>
          <p:nvPr/>
        </p:nvSpPr>
        <p:spPr bwMode="auto">
          <a:xfrm>
            <a:off x="3090134" y="3867747"/>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9" name="Rectangle 148">
            <a:extLst>
              <a:ext uri="{FF2B5EF4-FFF2-40B4-BE49-F238E27FC236}">
                <a16:creationId xmlns:a16="http://schemas.microsoft.com/office/drawing/2014/main" id="{446FD518-64A8-443E-85DA-D36BBF1E57EC}"/>
              </a:ext>
            </a:extLst>
          </p:cNvPr>
          <p:cNvSpPr/>
          <p:nvPr/>
        </p:nvSpPr>
        <p:spPr bwMode="auto">
          <a:xfrm>
            <a:off x="3090134" y="4223555"/>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50" name="Rectangle 149">
            <a:extLst>
              <a:ext uri="{FF2B5EF4-FFF2-40B4-BE49-F238E27FC236}">
                <a16:creationId xmlns:a16="http://schemas.microsoft.com/office/drawing/2014/main" id="{76003EBD-BBD0-43A8-ACD9-097C9F3C2F52}"/>
              </a:ext>
            </a:extLst>
          </p:cNvPr>
          <p:cNvSpPr/>
          <p:nvPr/>
        </p:nvSpPr>
        <p:spPr bwMode="auto">
          <a:xfrm>
            <a:off x="3090134" y="3156135"/>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33" name="Rectangle 32">
            <a:extLst>
              <a:ext uri="{FF2B5EF4-FFF2-40B4-BE49-F238E27FC236}">
                <a16:creationId xmlns:a16="http://schemas.microsoft.com/office/drawing/2014/main" id="{E85050E8-530B-48B8-8D30-6B4189AAC40C}"/>
              </a:ext>
            </a:extLst>
          </p:cNvPr>
          <p:cNvSpPr/>
          <p:nvPr/>
        </p:nvSpPr>
        <p:spPr bwMode="auto">
          <a:xfrm>
            <a:off x="3084709" y="2268043"/>
            <a:ext cx="2211940"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42" name="Rectangle 41">
            <a:extLst>
              <a:ext uri="{FF2B5EF4-FFF2-40B4-BE49-F238E27FC236}">
                <a16:creationId xmlns:a16="http://schemas.microsoft.com/office/drawing/2014/main" id="{8DFBE1EA-D672-4BA2-8AC5-8F9258F9AE8E}"/>
              </a:ext>
            </a:extLst>
          </p:cNvPr>
          <p:cNvSpPr/>
          <p:nvPr/>
        </p:nvSpPr>
        <p:spPr bwMode="auto">
          <a:xfrm>
            <a:off x="5577476" y="2268043"/>
            <a:ext cx="2410588"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29" name="Rectangle 28">
            <a:extLst>
              <a:ext uri="{FF2B5EF4-FFF2-40B4-BE49-F238E27FC236}">
                <a16:creationId xmlns:a16="http://schemas.microsoft.com/office/drawing/2014/main" id="{22EE7413-F083-4FA4-B233-0BE9A60054A1}"/>
              </a:ext>
            </a:extLst>
          </p:cNvPr>
          <p:cNvSpPr/>
          <p:nvPr/>
        </p:nvSpPr>
        <p:spPr bwMode="auto">
          <a:xfrm>
            <a:off x="735582" y="2268043"/>
            <a:ext cx="2068299"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518" y="2767649"/>
            <a:ext cx="323919" cy="2410590"/>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6C1DA2B4-1C0E-4041-B2C8-AE1DBE888000}"/>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81" name="Rectangle 80">
            <a:extLst>
              <a:ext uri="{FF2B5EF4-FFF2-40B4-BE49-F238E27FC236}">
                <a16:creationId xmlns:a16="http://schemas.microsoft.com/office/drawing/2014/main" id="{5843B82D-D9A4-4766-8C2A-684A866EB0F0}"/>
              </a:ext>
            </a:extLst>
          </p:cNvPr>
          <p:cNvSpPr/>
          <p:nvPr/>
        </p:nvSpPr>
        <p:spPr bwMode="auto">
          <a:xfrm>
            <a:off x="11310201" y="235381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90" name="Rectangle 89">
            <a:extLst>
              <a:ext uri="{FF2B5EF4-FFF2-40B4-BE49-F238E27FC236}">
                <a16:creationId xmlns:a16="http://schemas.microsoft.com/office/drawing/2014/main" id="{9E12CE79-1D28-42FF-A8D2-F17C5397AD4B}"/>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91" name="Rectangle 90">
            <a:extLst>
              <a:ext uri="{FF2B5EF4-FFF2-40B4-BE49-F238E27FC236}">
                <a16:creationId xmlns:a16="http://schemas.microsoft.com/office/drawing/2014/main" id="{2C0B2D7F-DABA-4CF5-986F-41239206EBA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123" name="Rectangle 122">
            <a:extLst>
              <a:ext uri="{FF2B5EF4-FFF2-40B4-BE49-F238E27FC236}">
                <a16:creationId xmlns:a16="http://schemas.microsoft.com/office/drawing/2014/main" id="{C138F34D-E681-4EC2-A776-620ACB5B2ADA}"/>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5%</a:t>
            </a:r>
          </a:p>
        </p:txBody>
      </p:sp>
      <p:sp>
        <p:nvSpPr>
          <p:cNvPr id="137" name="Rectangle 136">
            <a:extLst>
              <a:ext uri="{FF2B5EF4-FFF2-40B4-BE49-F238E27FC236}">
                <a16:creationId xmlns:a16="http://schemas.microsoft.com/office/drawing/2014/main" id="{C2BBE4FC-909C-4345-B6B7-CD98E0800549}"/>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138" name="Rectangle 137">
            <a:extLst>
              <a:ext uri="{FF2B5EF4-FFF2-40B4-BE49-F238E27FC236}">
                <a16:creationId xmlns:a16="http://schemas.microsoft.com/office/drawing/2014/main" id="{E5DC31E9-1B38-490E-97B1-396F5BC8BD3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65%</a:t>
            </a:r>
          </a:p>
        </p:txBody>
      </p:sp>
      <p:sp>
        <p:nvSpPr>
          <p:cNvPr id="139" name="Rectangle 138">
            <a:extLst>
              <a:ext uri="{FF2B5EF4-FFF2-40B4-BE49-F238E27FC236}">
                <a16:creationId xmlns:a16="http://schemas.microsoft.com/office/drawing/2014/main" id="{38AE8513-E5E7-4164-8B0A-DCBE47A3789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95%</a:t>
            </a:r>
          </a:p>
        </p:txBody>
      </p:sp>
      <p:sp>
        <p:nvSpPr>
          <p:cNvPr id="140" name="Rectangle 139">
            <a:extLst>
              <a:ext uri="{FF2B5EF4-FFF2-40B4-BE49-F238E27FC236}">
                <a16:creationId xmlns:a16="http://schemas.microsoft.com/office/drawing/2014/main" id="{B6105E7D-98D4-444D-AAC0-1B90A43BA286}"/>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5%</a:t>
            </a:r>
          </a:p>
        </p:txBody>
      </p:sp>
      <p:sp>
        <p:nvSpPr>
          <p:cNvPr id="141" name="Rectangle 140">
            <a:extLst>
              <a:ext uri="{FF2B5EF4-FFF2-40B4-BE49-F238E27FC236}">
                <a16:creationId xmlns:a16="http://schemas.microsoft.com/office/drawing/2014/main" id="{35207BB3-4EC0-47BD-9F49-6F6AC0CE2C82}"/>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0%</a:t>
            </a:r>
          </a:p>
        </p:txBody>
      </p:sp>
      <p:sp>
        <p:nvSpPr>
          <p:cNvPr id="142" name="Rectangle 141">
            <a:extLst>
              <a:ext uri="{FF2B5EF4-FFF2-40B4-BE49-F238E27FC236}">
                <a16:creationId xmlns:a16="http://schemas.microsoft.com/office/drawing/2014/main" id="{A5FBACE0-802F-4F71-94F2-248DEFE1A4CA}"/>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5%</a:t>
            </a:r>
          </a:p>
        </p:txBody>
      </p:sp>
      <p:sp>
        <p:nvSpPr>
          <p:cNvPr id="143" name="Rectangle 142">
            <a:extLst>
              <a:ext uri="{FF2B5EF4-FFF2-40B4-BE49-F238E27FC236}">
                <a16:creationId xmlns:a16="http://schemas.microsoft.com/office/drawing/2014/main" id="{2EE1EEEC-9147-48AC-AA51-F7D7C757720A}"/>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0%</a:t>
            </a:r>
          </a:p>
        </p:txBody>
      </p:sp>
      <p:sp>
        <p:nvSpPr>
          <p:cNvPr id="144" name="Rectangle 143">
            <a:extLst>
              <a:ext uri="{FF2B5EF4-FFF2-40B4-BE49-F238E27FC236}">
                <a16:creationId xmlns:a16="http://schemas.microsoft.com/office/drawing/2014/main" id="{715BD311-5C47-4D16-84A4-CDE3875B2E28}"/>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45" name="Rectangle 144">
            <a:extLst>
              <a:ext uri="{FF2B5EF4-FFF2-40B4-BE49-F238E27FC236}">
                <a16:creationId xmlns:a16="http://schemas.microsoft.com/office/drawing/2014/main" id="{5FCC3BB9-011E-43E2-8A6D-CF0B434AEC4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146" name="Rectangle 145">
            <a:extLst>
              <a:ext uri="{FF2B5EF4-FFF2-40B4-BE49-F238E27FC236}">
                <a16:creationId xmlns:a16="http://schemas.microsoft.com/office/drawing/2014/main" id="{2E0AC568-B569-4102-91A1-BD4739EF7142}"/>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5%</a:t>
            </a:r>
          </a:p>
        </p:txBody>
      </p:sp>
      <p:grpSp>
        <p:nvGrpSpPr>
          <p:cNvPr id="26" name="Group 25">
            <a:extLst>
              <a:ext uri="{FF2B5EF4-FFF2-40B4-BE49-F238E27FC236}">
                <a16:creationId xmlns:a16="http://schemas.microsoft.com/office/drawing/2014/main" id="{630C095D-36FC-4EBB-8DEE-D3469ACDD9BD}"/>
              </a:ext>
            </a:extLst>
          </p:cNvPr>
          <p:cNvGrpSpPr/>
          <p:nvPr/>
        </p:nvGrpSpPr>
        <p:grpSpPr>
          <a:xfrm>
            <a:off x="588264" y="5680406"/>
            <a:ext cx="8661068" cy="663526"/>
            <a:chOff x="837632" y="5844616"/>
            <a:chExt cx="9792001" cy="663526"/>
          </a:xfrm>
        </p:grpSpPr>
        <p:cxnSp>
          <p:nvCxnSpPr>
            <p:cNvPr id="27" name="Connector: Elbow 26">
              <a:extLst>
                <a:ext uri="{FF2B5EF4-FFF2-40B4-BE49-F238E27FC236}">
                  <a16:creationId xmlns:a16="http://schemas.microsoft.com/office/drawing/2014/main" id="{D6DBBF17-7678-4E03-A750-D716BF7D3406}"/>
                </a:ext>
              </a:extLst>
            </p:cNvPr>
            <p:cNvCxnSpPr>
              <a:cxnSpLocks/>
            </p:cNvCxnSpPr>
            <p:nvPr/>
          </p:nvCxnSpPr>
          <p:spPr>
            <a:xfrm rot="5400000">
              <a:off x="5727283" y="954965"/>
              <a:ext cx="12700" cy="9792001"/>
            </a:xfrm>
            <a:prstGeom prst="bentConnector3">
              <a:avLst>
                <a:gd name="adj1" fmla="val 2170835"/>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29C9708C-5222-4249-BB52-52E83A8D83AC}"/>
                </a:ext>
              </a:extLst>
            </p:cNvPr>
            <p:cNvSpPr/>
            <p:nvPr/>
          </p:nvSpPr>
          <p:spPr bwMode="auto">
            <a:xfrm>
              <a:off x="5160653" y="6221910"/>
              <a:ext cx="1145960" cy="2862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Iterate</a:t>
              </a:r>
            </a:p>
          </p:txBody>
        </p:sp>
      </p:grpSp>
      <p:sp>
        <p:nvSpPr>
          <p:cNvPr id="98" name="Isosceles Triangle 97">
            <a:extLst>
              <a:ext uri="{FF2B5EF4-FFF2-40B4-BE49-F238E27FC236}">
                <a16:creationId xmlns:a16="http://schemas.microsoft.com/office/drawing/2014/main" id="{FE4ADEB3-BA1A-4527-97B6-E7A5905F8282}"/>
              </a:ext>
            </a:extLst>
          </p:cNvPr>
          <p:cNvSpPr/>
          <p:nvPr/>
        </p:nvSpPr>
        <p:spPr bwMode="auto">
          <a:xfrm>
            <a:off x="6293870" y="4119222"/>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Isosceles Triangle 110">
            <a:extLst>
              <a:ext uri="{FF2B5EF4-FFF2-40B4-BE49-F238E27FC236}">
                <a16:creationId xmlns:a16="http://schemas.microsoft.com/office/drawing/2014/main" id="{DC995B4C-717D-4215-9C84-59A63A08436E}"/>
              </a:ext>
            </a:extLst>
          </p:cNvPr>
          <p:cNvSpPr/>
          <p:nvPr/>
        </p:nvSpPr>
        <p:spPr bwMode="auto">
          <a:xfrm>
            <a:off x="6460577" y="3779967"/>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Isosceles Triangle 123">
            <a:extLst>
              <a:ext uri="{FF2B5EF4-FFF2-40B4-BE49-F238E27FC236}">
                <a16:creationId xmlns:a16="http://schemas.microsoft.com/office/drawing/2014/main" id="{D97260E6-C543-4A04-8701-4A7AD6348720}"/>
              </a:ext>
            </a:extLst>
          </p:cNvPr>
          <p:cNvSpPr/>
          <p:nvPr/>
        </p:nvSpPr>
        <p:spPr bwMode="auto">
          <a:xfrm>
            <a:off x="6944117" y="3101457"/>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Isosceles Triangle 124">
            <a:extLst>
              <a:ext uri="{FF2B5EF4-FFF2-40B4-BE49-F238E27FC236}">
                <a16:creationId xmlns:a16="http://schemas.microsoft.com/office/drawing/2014/main" id="{084B5AF6-26A2-4842-A41A-6E0C87018759}"/>
              </a:ext>
            </a:extLst>
          </p:cNvPr>
          <p:cNvSpPr/>
          <p:nvPr/>
        </p:nvSpPr>
        <p:spPr bwMode="auto">
          <a:xfrm>
            <a:off x="7103941" y="3440712"/>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Rectangle 163">
            <a:extLst>
              <a:ext uri="{FF2B5EF4-FFF2-40B4-BE49-F238E27FC236}">
                <a16:creationId xmlns:a16="http://schemas.microsoft.com/office/drawing/2014/main" id="{7ADB0596-0969-46D3-8F50-F5A45D799A8E}"/>
              </a:ext>
            </a:extLst>
          </p:cNvPr>
          <p:cNvSpPr/>
          <p:nvPr/>
        </p:nvSpPr>
        <p:spPr bwMode="auto">
          <a:xfrm>
            <a:off x="736222" y="4231007"/>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1" name="Rectangle 170">
            <a:extLst>
              <a:ext uri="{FF2B5EF4-FFF2-40B4-BE49-F238E27FC236}">
                <a16:creationId xmlns:a16="http://schemas.microsoft.com/office/drawing/2014/main" id="{FA033DC2-8489-4D03-B39C-76377D071DF5}"/>
              </a:ext>
            </a:extLst>
          </p:cNvPr>
          <p:cNvSpPr/>
          <p:nvPr/>
        </p:nvSpPr>
        <p:spPr bwMode="auto">
          <a:xfrm>
            <a:off x="736222" y="3181181"/>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3" name="Rectangle 172">
            <a:extLst>
              <a:ext uri="{FF2B5EF4-FFF2-40B4-BE49-F238E27FC236}">
                <a16:creationId xmlns:a16="http://schemas.microsoft.com/office/drawing/2014/main" id="{7465687A-7138-457A-AD69-9EA44E77B92B}"/>
              </a:ext>
            </a:extLst>
          </p:cNvPr>
          <p:cNvSpPr/>
          <p:nvPr/>
        </p:nvSpPr>
        <p:spPr bwMode="auto">
          <a:xfrm>
            <a:off x="736222" y="2831239"/>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4" name="Rectangle 173">
            <a:extLst>
              <a:ext uri="{FF2B5EF4-FFF2-40B4-BE49-F238E27FC236}">
                <a16:creationId xmlns:a16="http://schemas.microsoft.com/office/drawing/2014/main" id="{3ECF9070-C95C-4AEE-9B8E-522305BBBDAB}"/>
              </a:ext>
            </a:extLst>
          </p:cNvPr>
          <p:cNvSpPr/>
          <p:nvPr/>
        </p:nvSpPr>
        <p:spPr bwMode="auto">
          <a:xfrm>
            <a:off x="736222" y="3531123"/>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5" name="Rectangle 174">
            <a:extLst>
              <a:ext uri="{FF2B5EF4-FFF2-40B4-BE49-F238E27FC236}">
                <a16:creationId xmlns:a16="http://schemas.microsoft.com/office/drawing/2014/main" id="{AEFA5C18-DBD6-420E-8D38-357F8C70808D}"/>
              </a:ext>
            </a:extLst>
          </p:cNvPr>
          <p:cNvSpPr/>
          <p:nvPr/>
        </p:nvSpPr>
        <p:spPr bwMode="auto">
          <a:xfrm>
            <a:off x="736222" y="3881065"/>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20" name="Isosceles Triangle 119">
            <a:extLst>
              <a:ext uri="{FF2B5EF4-FFF2-40B4-BE49-F238E27FC236}">
                <a16:creationId xmlns:a16="http://schemas.microsoft.com/office/drawing/2014/main" id="{064EFD16-9865-43CE-AAC0-7320880D3E2A}"/>
              </a:ext>
            </a:extLst>
          </p:cNvPr>
          <p:cNvSpPr/>
          <p:nvPr/>
        </p:nvSpPr>
        <p:spPr bwMode="auto">
          <a:xfrm>
            <a:off x="6779933" y="4458475"/>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Title 2">
            <a:extLst>
              <a:ext uri="{FF2B5EF4-FFF2-40B4-BE49-F238E27FC236}">
                <a16:creationId xmlns:a16="http://schemas.microsoft.com/office/drawing/2014/main" id="{339B2FDB-D916-4CFB-88D9-3ED899EB3A28}"/>
              </a:ext>
            </a:extLst>
          </p:cNvPr>
          <p:cNvSpPr>
            <a:spLocks noGrp="1"/>
          </p:cNvSpPr>
          <p:nvPr>
            <p:ph type="title"/>
          </p:nvPr>
        </p:nvSpPr>
        <p:spPr>
          <a:xfrm>
            <a:off x="735754" y="339959"/>
            <a:ext cx="11128895" cy="1107996"/>
          </a:xfrm>
        </p:spPr>
        <p:txBody>
          <a:bodyPr>
            <a:noAutofit/>
          </a:bodyPr>
          <a:lstStyle/>
          <a:p>
            <a:r>
              <a:rPr lang="en-US">
                <a:latin typeface="Segoe UI Light" panose="020B0502040204020203" pitchFamily="34" charset="0"/>
                <a:cs typeface="Segoe UI Light" panose="020B0502040204020203" pitchFamily="34" charset="0"/>
              </a:rPr>
              <a:t>Model Creation Is Typically Time-Consuming</a:t>
            </a:r>
          </a:p>
        </p:txBody>
      </p:sp>
    </p:spTree>
    <p:extLst>
      <p:ext uri="{BB962C8B-B14F-4D97-AF65-F5344CB8AC3E}">
        <p14:creationId xmlns:p14="http://schemas.microsoft.com/office/powerpoint/2010/main" val="306050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0"/>
                                  </p:stCondLst>
                                  <p:childTnLst>
                                    <p:animMotion origin="layout" path="M 1.04167E-6 -2.59259E-6 L 0.14284 -0.10347 " pathEditMode="relative" rAng="0" ptsTypes="AA">
                                      <p:cBhvr>
                                        <p:cTn id="6" dur="150" fill="hold"/>
                                        <p:tgtEl>
                                          <p:spTgt spid="80"/>
                                        </p:tgtEl>
                                        <p:attrNameLst>
                                          <p:attrName>ppt_x</p:attrName>
                                          <p:attrName>ppt_y</p:attrName>
                                        </p:attrNameLst>
                                      </p:cBhvr>
                                      <p:rCtr x="7135" y="-5185"/>
                                    </p:animMotion>
                                  </p:childTnLst>
                                </p:cTn>
                              </p:par>
                              <p:par>
                                <p:cTn id="7" presetID="12" presetClass="entr" presetSubtype="8" fill="hold" grpId="1" nodeType="withEffect">
                                  <p:stCondLst>
                                    <p:cond delay="100"/>
                                  </p:stCondLst>
                                  <p:childTnLst>
                                    <p:set>
                                      <p:cBhvr>
                                        <p:cTn id="8" dur="1" fill="hold">
                                          <p:stCondLst>
                                            <p:cond delay="0"/>
                                          </p:stCondLst>
                                        </p:cTn>
                                        <p:tgtEl>
                                          <p:spTgt spid="90"/>
                                        </p:tgtEl>
                                        <p:attrNameLst>
                                          <p:attrName>style.visibility</p:attrName>
                                        </p:attrNameLst>
                                      </p:cBhvr>
                                      <p:to>
                                        <p:strVal val="visible"/>
                                      </p:to>
                                    </p:set>
                                    <p:anim calcmode="lin" valueType="num">
                                      <p:cBhvr additive="base">
                                        <p:cTn id="9" dur="80"/>
                                        <p:tgtEl>
                                          <p:spTgt spid="90"/>
                                        </p:tgtEl>
                                        <p:attrNameLst>
                                          <p:attrName>ppt_x</p:attrName>
                                        </p:attrNameLst>
                                      </p:cBhvr>
                                      <p:tavLst>
                                        <p:tav tm="0">
                                          <p:val>
                                            <p:strVal val="#ppt_x-#ppt_w*1.125000"/>
                                          </p:val>
                                        </p:tav>
                                        <p:tav tm="100000">
                                          <p:val>
                                            <p:strVal val="#ppt_x"/>
                                          </p:val>
                                        </p:tav>
                                      </p:tavLst>
                                    </p:anim>
                                    <p:animEffect transition="in" filter="wipe(right)">
                                      <p:cBhvr>
                                        <p:cTn id="10" dur="80"/>
                                        <p:tgtEl>
                                          <p:spTgt spid="90"/>
                                        </p:tgtEl>
                                      </p:cBhvr>
                                    </p:animEffect>
                                  </p:childTnLst>
                                </p:cTn>
                              </p:par>
                              <p:par>
                                <p:cTn id="11" presetID="10" presetClass="exit" presetSubtype="0" fill="hold" grpId="1" nodeType="withEffect">
                                  <p:stCondLst>
                                    <p:cond delay="100"/>
                                  </p:stCondLst>
                                  <p:childTnLst>
                                    <p:animEffect transition="out" filter="fade">
                                      <p:cBhvr>
                                        <p:cTn id="12" dur="150"/>
                                        <p:tgtEl>
                                          <p:spTgt spid="136"/>
                                        </p:tgtEl>
                                      </p:cBhvr>
                                    </p:animEffect>
                                    <p:set>
                                      <p:cBhvr>
                                        <p:cTn id="13" dur="1" fill="hold">
                                          <p:stCondLst>
                                            <p:cond delay="149"/>
                                          </p:stCondLst>
                                        </p:cTn>
                                        <p:tgtEl>
                                          <p:spTgt spid="136"/>
                                        </p:tgtEl>
                                        <p:attrNameLst>
                                          <p:attrName>style.visibility</p:attrName>
                                        </p:attrNameLst>
                                      </p:cBhvr>
                                      <p:to>
                                        <p:strVal val="hidden"/>
                                      </p:to>
                                    </p:set>
                                  </p:childTnLst>
                                </p:cTn>
                              </p:par>
                              <p:par>
                                <p:cTn id="14" presetID="10" presetClass="entr" presetSubtype="0" fill="hold" grpId="0" nodeType="withEffect">
                                  <p:stCondLst>
                                    <p:cond delay="100"/>
                                  </p:stCondLst>
                                  <p:childTnLst>
                                    <p:set>
                                      <p:cBhvr>
                                        <p:cTn id="15" dur="1" fill="hold">
                                          <p:stCondLst>
                                            <p:cond delay="0"/>
                                          </p:stCondLst>
                                        </p:cTn>
                                        <p:tgtEl>
                                          <p:spTgt spid="147"/>
                                        </p:tgtEl>
                                        <p:attrNameLst>
                                          <p:attrName>style.visibility</p:attrName>
                                        </p:attrNameLst>
                                      </p:cBhvr>
                                      <p:to>
                                        <p:strVal val="visible"/>
                                      </p:to>
                                    </p:set>
                                    <p:animEffect transition="in" filter="fade">
                                      <p:cBhvr>
                                        <p:cTn id="16" dur="150"/>
                                        <p:tgtEl>
                                          <p:spTgt spid="147"/>
                                        </p:tgtEl>
                                      </p:cBhvr>
                                    </p:animEffect>
                                  </p:childTnLst>
                                </p:cTn>
                              </p:par>
                              <p:par>
                                <p:cTn id="17" presetID="42" presetClass="path" presetSubtype="0" accel="50000" decel="50000" fill="hold" grpId="0" nodeType="withEffect">
                                  <p:stCondLst>
                                    <p:cond delay="100"/>
                                  </p:stCondLst>
                                  <p:childTnLst>
                                    <p:animMotion origin="layout" path="M 1.04167E-6 -2.59259E-6 L 0.14284 -2.59259E-6 " pathEditMode="relative" rAng="0" ptsTypes="AA">
                                      <p:cBhvr>
                                        <p:cTn id="18" dur="150" fill="hold"/>
                                        <p:tgtEl>
                                          <p:spTgt spid="90"/>
                                        </p:tgtEl>
                                        <p:attrNameLst>
                                          <p:attrName>ppt_x</p:attrName>
                                          <p:attrName>ppt_y</p:attrName>
                                        </p:attrNameLst>
                                      </p:cBhvr>
                                      <p:rCtr x="7135" y="0"/>
                                    </p:animMotion>
                                  </p:childTnLst>
                                </p:cTn>
                              </p:par>
                              <p:par>
                                <p:cTn id="19" presetID="22" presetClass="entr" presetSubtype="1" fill="hold" grpId="0" nodeType="withEffect">
                                  <p:stCondLst>
                                    <p:cond delay="100"/>
                                  </p:stCondLst>
                                  <p:childTnLst>
                                    <p:set>
                                      <p:cBhvr>
                                        <p:cTn id="20" dur="1" fill="hold">
                                          <p:stCondLst>
                                            <p:cond delay="0"/>
                                          </p:stCondLst>
                                        </p:cTn>
                                        <p:tgtEl>
                                          <p:spTgt spid="175"/>
                                        </p:tgtEl>
                                        <p:attrNameLst>
                                          <p:attrName>style.visibility</p:attrName>
                                        </p:attrNameLst>
                                      </p:cBhvr>
                                      <p:to>
                                        <p:strVal val="visible"/>
                                      </p:to>
                                    </p:set>
                                    <p:animEffect transition="in" filter="wipe(up)">
                                      <p:cBhvr>
                                        <p:cTn id="21" dur="150"/>
                                        <p:tgtEl>
                                          <p:spTgt spid="175"/>
                                        </p:tgtEl>
                                      </p:cBhvr>
                                    </p:animEffect>
                                  </p:childTnLst>
                                </p:cTn>
                              </p:par>
                              <p:par>
                                <p:cTn id="22" presetID="22" presetClass="entr" presetSubtype="1" fill="hold" grpId="0" nodeType="withEffect">
                                  <p:stCondLst>
                                    <p:cond delay="100"/>
                                  </p:stCondLst>
                                  <p:childTnLst>
                                    <p:set>
                                      <p:cBhvr>
                                        <p:cTn id="23" dur="1" fill="hold">
                                          <p:stCondLst>
                                            <p:cond delay="0"/>
                                          </p:stCondLst>
                                        </p:cTn>
                                        <p:tgtEl>
                                          <p:spTgt spid="164"/>
                                        </p:tgtEl>
                                        <p:attrNameLst>
                                          <p:attrName>style.visibility</p:attrName>
                                        </p:attrNameLst>
                                      </p:cBhvr>
                                      <p:to>
                                        <p:strVal val="visible"/>
                                      </p:to>
                                    </p:set>
                                    <p:animEffect transition="in" filter="wipe(up)">
                                      <p:cBhvr>
                                        <p:cTn id="24" dur="150"/>
                                        <p:tgtEl>
                                          <p:spTgt spid="164"/>
                                        </p:tgtEl>
                                      </p:cBhvr>
                                    </p:animEffect>
                                  </p:childTnLst>
                                </p:cTn>
                              </p:par>
                              <p:par>
                                <p:cTn id="25" presetID="22" presetClass="exit" presetSubtype="1" fill="hold" grpId="0" nodeType="withEffect">
                                  <p:stCondLst>
                                    <p:cond delay="100"/>
                                  </p:stCondLst>
                                  <p:childTnLst>
                                    <p:animEffect transition="out" filter="wipe(up)">
                                      <p:cBhvr>
                                        <p:cTn id="26" dur="150"/>
                                        <p:tgtEl>
                                          <p:spTgt spid="173"/>
                                        </p:tgtEl>
                                      </p:cBhvr>
                                    </p:animEffect>
                                    <p:set>
                                      <p:cBhvr>
                                        <p:cTn id="27" dur="1" fill="hold">
                                          <p:stCondLst>
                                            <p:cond delay="149"/>
                                          </p:stCondLst>
                                        </p:cTn>
                                        <p:tgtEl>
                                          <p:spTgt spid="173"/>
                                        </p:tgtEl>
                                        <p:attrNameLst>
                                          <p:attrName>style.visibility</p:attrName>
                                        </p:attrNameLst>
                                      </p:cBhvr>
                                      <p:to>
                                        <p:strVal val="hidden"/>
                                      </p:to>
                                    </p:set>
                                  </p:childTnLst>
                                </p:cTn>
                              </p:par>
                              <p:par>
                                <p:cTn id="28" presetID="12" presetClass="entr" presetSubtype="8" fill="hold" grpId="1" nodeType="withEffect">
                                  <p:stCondLst>
                                    <p:cond delay="200"/>
                                  </p:stCondLst>
                                  <p:childTnLst>
                                    <p:set>
                                      <p:cBhvr>
                                        <p:cTn id="29" dur="1" fill="hold">
                                          <p:stCondLst>
                                            <p:cond delay="0"/>
                                          </p:stCondLst>
                                        </p:cTn>
                                        <p:tgtEl>
                                          <p:spTgt spid="123"/>
                                        </p:tgtEl>
                                        <p:attrNameLst>
                                          <p:attrName>style.visibility</p:attrName>
                                        </p:attrNameLst>
                                      </p:cBhvr>
                                      <p:to>
                                        <p:strVal val="visible"/>
                                      </p:to>
                                    </p:set>
                                    <p:anim calcmode="lin" valueType="num">
                                      <p:cBhvr additive="base">
                                        <p:cTn id="30" dur="80"/>
                                        <p:tgtEl>
                                          <p:spTgt spid="123"/>
                                        </p:tgtEl>
                                        <p:attrNameLst>
                                          <p:attrName>ppt_x</p:attrName>
                                        </p:attrNameLst>
                                      </p:cBhvr>
                                      <p:tavLst>
                                        <p:tav tm="0">
                                          <p:val>
                                            <p:strVal val="#ppt_x-#ppt_w*1.125000"/>
                                          </p:val>
                                        </p:tav>
                                        <p:tav tm="100000">
                                          <p:val>
                                            <p:strVal val="#ppt_x"/>
                                          </p:val>
                                        </p:tav>
                                      </p:tavLst>
                                    </p:anim>
                                    <p:animEffect transition="in" filter="wipe(right)">
                                      <p:cBhvr>
                                        <p:cTn id="31" dur="80"/>
                                        <p:tgtEl>
                                          <p:spTgt spid="123"/>
                                        </p:tgtEl>
                                      </p:cBhvr>
                                    </p:animEffect>
                                  </p:childTnLst>
                                </p:cTn>
                              </p:par>
                              <p:par>
                                <p:cTn id="32" presetID="10" presetClass="exit" presetSubtype="0" fill="hold" grpId="5" nodeType="withEffect">
                                  <p:stCondLst>
                                    <p:cond delay="200"/>
                                  </p:stCondLst>
                                  <p:childTnLst>
                                    <p:animEffect transition="out" filter="fade">
                                      <p:cBhvr>
                                        <p:cTn id="33" dur="150"/>
                                        <p:tgtEl>
                                          <p:spTgt spid="147"/>
                                        </p:tgtEl>
                                      </p:cBhvr>
                                    </p:animEffect>
                                    <p:set>
                                      <p:cBhvr>
                                        <p:cTn id="34" dur="1" fill="hold">
                                          <p:stCondLst>
                                            <p:cond delay="149"/>
                                          </p:stCondLst>
                                        </p:cTn>
                                        <p:tgtEl>
                                          <p:spTgt spid="147"/>
                                        </p:tgtEl>
                                        <p:attrNameLst>
                                          <p:attrName>style.visibility</p:attrName>
                                        </p:attrNameLst>
                                      </p:cBhvr>
                                      <p:to>
                                        <p:strVal val="hidden"/>
                                      </p:to>
                                    </p:set>
                                  </p:childTnLst>
                                </p:cTn>
                              </p:par>
                              <p:par>
                                <p:cTn id="35" presetID="10" presetClass="entr" presetSubtype="0" fill="hold" grpId="0" nodeType="withEffect">
                                  <p:stCondLst>
                                    <p:cond delay="200"/>
                                  </p:stCondLst>
                                  <p:childTnLst>
                                    <p:set>
                                      <p:cBhvr>
                                        <p:cTn id="36" dur="1" fill="hold">
                                          <p:stCondLst>
                                            <p:cond delay="0"/>
                                          </p:stCondLst>
                                        </p:cTn>
                                        <p:tgtEl>
                                          <p:spTgt spid="150"/>
                                        </p:tgtEl>
                                        <p:attrNameLst>
                                          <p:attrName>style.visibility</p:attrName>
                                        </p:attrNameLst>
                                      </p:cBhvr>
                                      <p:to>
                                        <p:strVal val="visible"/>
                                      </p:to>
                                    </p:set>
                                    <p:animEffect transition="in" filter="fade">
                                      <p:cBhvr>
                                        <p:cTn id="37" dur="150"/>
                                        <p:tgtEl>
                                          <p:spTgt spid="150"/>
                                        </p:tgtEl>
                                      </p:cBhvr>
                                    </p:animEffect>
                                  </p:childTnLst>
                                </p:cTn>
                              </p:par>
                              <p:par>
                                <p:cTn id="38" presetID="42" presetClass="path" presetSubtype="0" accel="50000" decel="50000" fill="hold" grpId="0" nodeType="withEffect">
                                  <p:stCondLst>
                                    <p:cond delay="200"/>
                                  </p:stCondLst>
                                  <p:childTnLst>
                                    <p:animMotion origin="layout" path="M 1.04167E-6 -2.59259E-6 L 0.1431 0.10139 " pathEditMode="relative" rAng="0" ptsTypes="AA">
                                      <p:cBhvr>
                                        <p:cTn id="39" dur="150" fill="hold"/>
                                        <p:tgtEl>
                                          <p:spTgt spid="123"/>
                                        </p:tgtEl>
                                        <p:attrNameLst>
                                          <p:attrName>ppt_x</p:attrName>
                                          <p:attrName>ppt_y</p:attrName>
                                        </p:attrNameLst>
                                      </p:cBhvr>
                                      <p:rCtr x="7148" y="5069"/>
                                    </p:animMotion>
                                  </p:childTnLst>
                                </p:cTn>
                              </p:par>
                              <p:par>
                                <p:cTn id="40" presetID="22" presetClass="exit" presetSubtype="4" fill="hold" grpId="1" nodeType="withEffect">
                                  <p:stCondLst>
                                    <p:cond delay="200"/>
                                  </p:stCondLst>
                                  <p:childTnLst>
                                    <p:animEffect transition="out" filter="wipe(down)">
                                      <p:cBhvr>
                                        <p:cTn id="41" dur="150"/>
                                        <p:tgtEl>
                                          <p:spTgt spid="164"/>
                                        </p:tgtEl>
                                      </p:cBhvr>
                                    </p:animEffect>
                                    <p:set>
                                      <p:cBhvr>
                                        <p:cTn id="42" dur="1" fill="hold">
                                          <p:stCondLst>
                                            <p:cond delay="149"/>
                                          </p:stCondLst>
                                        </p:cTn>
                                        <p:tgtEl>
                                          <p:spTgt spid="164"/>
                                        </p:tgtEl>
                                        <p:attrNameLst>
                                          <p:attrName>style.visibility</p:attrName>
                                        </p:attrNameLst>
                                      </p:cBhvr>
                                      <p:to>
                                        <p:strVal val="hidden"/>
                                      </p:to>
                                    </p:set>
                                  </p:childTnLst>
                                </p:cTn>
                              </p:par>
                              <p:par>
                                <p:cTn id="43" presetID="12" presetClass="entr" presetSubtype="8" fill="hold" grpId="1" nodeType="withEffect">
                                  <p:stCondLst>
                                    <p:cond delay="300"/>
                                  </p:stCondLst>
                                  <p:childTnLst>
                                    <p:set>
                                      <p:cBhvr>
                                        <p:cTn id="44" dur="1" fill="hold">
                                          <p:stCondLst>
                                            <p:cond delay="0"/>
                                          </p:stCondLst>
                                        </p:cTn>
                                        <p:tgtEl>
                                          <p:spTgt spid="91"/>
                                        </p:tgtEl>
                                        <p:attrNameLst>
                                          <p:attrName>style.visibility</p:attrName>
                                        </p:attrNameLst>
                                      </p:cBhvr>
                                      <p:to>
                                        <p:strVal val="visible"/>
                                      </p:to>
                                    </p:set>
                                    <p:anim calcmode="lin" valueType="num">
                                      <p:cBhvr additive="base">
                                        <p:cTn id="45" dur="80"/>
                                        <p:tgtEl>
                                          <p:spTgt spid="91"/>
                                        </p:tgtEl>
                                        <p:attrNameLst>
                                          <p:attrName>ppt_x</p:attrName>
                                        </p:attrNameLst>
                                      </p:cBhvr>
                                      <p:tavLst>
                                        <p:tav tm="0">
                                          <p:val>
                                            <p:strVal val="#ppt_x-#ppt_w*1.125000"/>
                                          </p:val>
                                        </p:tav>
                                        <p:tav tm="100000">
                                          <p:val>
                                            <p:strVal val="#ppt_x"/>
                                          </p:val>
                                        </p:tav>
                                      </p:tavLst>
                                    </p:anim>
                                    <p:animEffect transition="in" filter="wipe(right)">
                                      <p:cBhvr>
                                        <p:cTn id="46" dur="80"/>
                                        <p:tgtEl>
                                          <p:spTgt spid="91"/>
                                        </p:tgtEl>
                                      </p:cBhvr>
                                    </p:animEffect>
                                  </p:childTnLst>
                                </p:cTn>
                              </p:par>
                              <p:par>
                                <p:cTn id="47" presetID="10" presetClass="exit" presetSubtype="0" fill="hold" grpId="5" nodeType="withEffect">
                                  <p:stCondLst>
                                    <p:cond delay="300"/>
                                  </p:stCondLst>
                                  <p:childTnLst>
                                    <p:animEffect transition="out" filter="fade">
                                      <p:cBhvr>
                                        <p:cTn id="48" dur="150"/>
                                        <p:tgtEl>
                                          <p:spTgt spid="150"/>
                                        </p:tgtEl>
                                      </p:cBhvr>
                                    </p:animEffect>
                                    <p:set>
                                      <p:cBhvr>
                                        <p:cTn id="49" dur="1" fill="hold">
                                          <p:stCondLst>
                                            <p:cond delay="149"/>
                                          </p:stCondLst>
                                        </p:cTn>
                                        <p:tgtEl>
                                          <p:spTgt spid="150"/>
                                        </p:tgtEl>
                                        <p:attrNameLst>
                                          <p:attrName>style.visibility</p:attrName>
                                        </p:attrNameLst>
                                      </p:cBhvr>
                                      <p:to>
                                        <p:strVal val="hidden"/>
                                      </p:to>
                                    </p:set>
                                  </p:childTnLst>
                                </p:cTn>
                              </p:par>
                              <p:par>
                                <p:cTn id="50" presetID="10" presetClass="entr" presetSubtype="0" fill="hold" grpId="0" nodeType="withEffect">
                                  <p:stCondLst>
                                    <p:cond delay="300"/>
                                  </p:stCondLst>
                                  <p:childTnLst>
                                    <p:set>
                                      <p:cBhvr>
                                        <p:cTn id="51" dur="1" fill="hold">
                                          <p:stCondLst>
                                            <p:cond delay="0"/>
                                          </p:stCondLst>
                                        </p:cTn>
                                        <p:tgtEl>
                                          <p:spTgt spid="148"/>
                                        </p:tgtEl>
                                        <p:attrNameLst>
                                          <p:attrName>style.visibility</p:attrName>
                                        </p:attrNameLst>
                                      </p:cBhvr>
                                      <p:to>
                                        <p:strVal val="visible"/>
                                      </p:to>
                                    </p:set>
                                    <p:animEffect transition="in" filter="fade">
                                      <p:cBhvr>
                                        <p:cTn id="52" dur="150"/>
                                        <p:tgtEl>
                                          <p:spTgt spid="148"/>
                                        </p:tgtEl>
                                      </p:cBhvr>
                                    </p:animEffect>
                                  </p:childTnLst>
                                </p:cTn>
                              </p:par>
                              <p:par>
                                <p:cTn id="53" presetID="42" presetClass="path" presetSubtype="0" accel="50000" decel="50000" fill="hold" grpId="0" nodeType="withEffect">
                                  <p:stCondLst>
                                    <p:cond delay="300"/>
                                  </p:stCondLst>
                                  <p:childTnLst>
                                    <p:animMotion origin="layout" path="M 1.04167E-6 -2.59259E-6 L 0.14219 0.20301 " pathEditMode="relative" rAng="0" ptsTypes="AA">
                                      <p:cBhvr>
                                        <p:cTn id="54" dur="150" fill="hold"/>
                                        <p:tgtEl>
                                          <p:spTgt spid="91"/>
                                        </p:tgtEl>
                                        <p:attrNameLst>
                                          <p:attrName>ppt_x</p:attrName>
                                          <p:attrName>ppt_y</p:attrName>
                                        </p:attrNameLst>
                                      </p:cBhvr>
                                      <p:rCtr x="7109" y="10139"/>
                                    </p:animMotion>
                                  </p:childTnLst>
                                </p:cTn>
                              </p:par>
                              <p:par>
                                <p:cTn id="55" presetID="22" presetClass="entr" presetSubtype="4" fill="hold" grpId="1" nodeType="withEffect">
                                  <p:stCondLst>
                                    <p:cond delay="300"/>
                                  </p:stCondLst>
                                  <p:childTnLst>
                                    <p:set>
                                      <p:cBhvr>
                                        <p:cTn id="56" dur="1" fill="hold">
                                          <p:stCondLst>
                                            <p:cond delay="0"/>
                                          </p:stCondLst>
                                        </p:cTn>
                                        <p:tgtEl>
                                          <p:spTgt spid="173"/>
                                        </p:tgtEl>
                                        <p:attrNameLst>
                                          <p:attrName>style.visibility</p:attrName>
                                        </p:attrNameLst>
                                      </p:cBhvr>
                                      <p:to>
                                        <p:strVal val="visible"/>
                                      </p:to>
                                    </p:set>
                                    <p:animEffect transition="in" filter="wipe(down)">
                                      <p:cBhvr>
                                        <p:cTn id="57" dur="150"/>
                                        <p:tgtEl>
                                          <p:spTgt spid="173"/>
                                        </p:tgtEl>
                                      </p:cBhvr>
                                    </p:animEffect>
                                  </p:childTnLst>
                                </p:cTn>
                              </p:par>
                              <p:par>
                                <p:cTn id="58" presetID="12" presetClass="entr" presetSubtype="8" fill="hold" grpId="1" nodeType="withEffect">
                                  <p:stCondLst>
                                    <p:cond delay="400"/>
                                  </p:stCondLst>
                                  <p:childTnLst>
                                    <p:set>
                                      <p:cBhvr>
                                        <p:cTn id="59" dur="1" fill="hold">
                                          <p:stCondLst>
                                            <p:cond delay="0"/>
                                          </p:stCondLst>
                                        </p:cTn>
                                        <p:tgtEl>
                                          <p:spTgt spid="137"/>
                                        </p:tgtEl>
                                        <p:attrNameLst>
                                          <p:attrName>style.visibility</p:attrName>
                                        </p:attrNameLst>
                                      </p:cBhvr>
                                      <p:to>
                                        <p:strVal val="visible"/>
                                      </p:to>
                                    </p:set>
                                    <p:anim calcmode="lin" valueType="num">
                                      <p:cBhvr additive="base">
                                        <p:cTn id="60" dur="80"/>
                                        <p:tgtEl>
                                          <p:spTgt spid="137"/>
                                        </p:tgtEl>
                                        <p:attrNameLst>
                                          <p:attrName>ppt_x</p:attrName>
                                        </p:attrNameLst>
                                      </p:cBhvr>
                                      <p:tavLst>
                                        <p:tav tm="0">
                                          <p:val>
                                            <p:strVal val="#ppt_x-#ppt_w*1.125000"/>
                                          </p:val>
                                        </p:tav>
                                        <p:tav tm="100000">
                                          <p:val>
                                            <p:strVal val="#ppt_x"/>
                                          </p:val>
                                        </p:tav>
                                      </p:tavLst>
                                    </p:anim>
                                    <p:animEffect transition="in" filter="wipe(right)">
                                      <p:cBhvr>
                                        <p:cTn id="61" dur="80"/>
                                        <p:tgtEl>
                                          <p:spTgt spid="137"/>
                                        </p:tgtEl>
                                      </p:cBhvr>
                                    </p:animEffect>
                                  </p:childTnLst>
                                </p:cTn>
                              </p:par>
                              <p:par>
                                <p:cTn id="62" presetID="10" presetClass="exit" presetSubtype="0" fill="hold" grpId="3" nodeType="withEffect">
                                  <p:stCondLst>
                                    <p:cond delay="400"/>
                                  </p:stCondLst>
                                  <p:childTnLst>
                                    <p:animEffect transition="out" filter="fade">
                                      <p:cBhvr>
                                        <p:cTn id="63" dur="150"/>
                                        <p:tgtEl>
                                          <p:spTgt spid="148"/>
                                        </p:tgtEl>
                                      </p:cBhvr>
                                    </p:animEffect>
                                    <p:set>
                                      <p:cBhvr>
                                        <p:cTn id="64" dur="1" fill="hold">
                                          <p:stCondLst>
                                            <p:cond delay="149"/>
                                          </p:stCondLst>
                                        </p:cTn>
                                        <p:tgtEl>
                                          <p:spTgt spid="148"/>
                                        </p:tgtEl>
                                        <p:attrNameLst>
                                          <p:attrName>style.visibility</p:attrName>
                                        </p:attrNameLst>
                                      </p:cBhvr>
                                      <p:to>
                                        <p:strVal val="hidden"/>
                                      </p:to>
                                    </p:set>
                                  </p:childTnLst>
                                </p:cTn>
                              </p:par>
                              <p:par>
                                <p:cTn id="65" presetID="10" presetClass="entr" presetSubtype="0" fill="hold" grpId="1" nodeType="withEffect">
                                  <p:stCondLst>
                                    <p:cond delay="400"/>
                                  </p:stCondLst>
                                  <p:childTnLst>
                                    <p:set>
                                      <p:cBhvr>
                                        <p:cTn id="66" dur="1" fill="hold">
                                          <p:stCondLst>
                                            <p:cond delay="0"/>
                                          </p:stCondLst>
                                        </p:cTn>
                                        <p:tgtEl>
                                          <p:spTgt spid="147"/>
                                        </p:tgtEl>
                                        <p:attrNameLst>
                                          <p:attrName>style.visibility</p:attrName>
                                        </p:attrNameLst>
                                      </p:cBhvr>
                                      <p:to>
                                        <p:strVal val="visible"/>
                                      </p:to>
                                    </p:set>
                                    <p:animEffect transition="in" filter="fade">
                                      <p:cBhvr>
                                        <p:cTn id="67" dur="150"/>
                                        <p:tgtEl>
                                          <p:spTgt spid="147"/>
                                        </p:tgtEl>
                                      </p:cBhvr>
                                    </p:animEffect>
                                  </p:childTnLst>
                                </p:cTn>
                              </p:par>
                              <p:par>
                                <p:cTn id="68" presetID="42" presetClass="path" presetSubtype="0" accel="50000" decel="50000" fill="hold" grpId="0" nodeType="withEffect">
                                  <p:stCondLst>
                                    <p:cond delay="400"/>
                                  </p:stCondLst>
                                  <p:childTnLst>
                                    <p:animMotion origin="layout" path="M 1.04167E-6 -2.59259E-6 L 0.07161 -0.2037 " pathEditMode="relative" rAng="0" ptsTypes="AA">
                                      <p:cBhvr>
                                        <p:cTn id="69" dur="150" fill="hold"/>
                                        <p:tgtEl>
                                          <p:spTgt spid="137"/>
                                        </p:tgtEl>
                                        <p:attrNameLst>
                                          <p:attrName>ppt_x</p:attrName>
                                          <p:attrName>ppt_y</p:attrName>
                                        </p:attrNameLst>
                                      </p:cBhvr>
                                      <p:rCtr x="3581" y="-10185"/>
                                    </p:animMotion>
                                  </p:childTnLst>
                                </p:cTn>
                              </p:par>
                              <p:par>
                                <p:cTn id="70" presetID="22" presetClass="exit" presetSubtype="1" fill="hold" grpId="0" nodeType="withEffect">
                                  <p:stCondLst>
                                    <p:cond delay="400"/>
                                  </p:stCondLst>
                                  <p:childTnLst>
                                    <p:animEffect transition="out" filter="wipe(up)">
                                      <p:cBhvr>
                                        <p:cTn id="71" dur="150"/>
                                        <p:tgtEl>
                                          <p:spTgt spid="171"/>
                                        </p:tgtEl>
                                      </p:cBhvr>
                                    </p:animEffect>
                                    <p:set>
                                      <p:cBhvr>
                                        <p:cTn id="72" dur="1" fill="hold">
                                          <p:stCondLst>
                                            <p:cond delay="149"/>
                                          </p:stCondLst>
                                        </p:cTn>
                                        <p:tgtEl>
                                          <p:spTgt spid="171"/>
                                        </p:tgtEl>
                                        <p:attrNameLst>
                                          <p:attrName>style.visibility</p:attrName>
                                        </p:attrNameLst>
                                      </p:cBhvr>
                                      <p:to>
                                        <p:strVal val="hidden"/>
                                      </p:to>
                                    </p:set>
                                  </p:childTnLst>
                                </p:cTn>
                              </p:par>
                              <p:par>
                                <p:cTn id="73" presetID="12" presetClass="entr" presetSubtype="8" fill="hold" grpId="1" nodeType="withEffect">
                                  <p:stCondLst>
                                    <p:cond delay="500"/>
                                  </p:stCondLst>
                                  <p:childTnLst>
                                    <p:set>
                                      <p:cBhvr>
                                        <p:cTn id="74" dur="1" fill="hold">
                                          <p:stCondLst>
                                            <p:cond delay="0"/>
                                          </p:stCondLst>
                                        </p:cTn>
                                        <p:tgtEl>
                                          <p:spTgt spid="138"/>
                                        </p:tgtEl>
                                        <p:attrNameLst>
                                          <p:attrName>style.visibility</p:attrName>
                                        </p:attrNameLst>
                                      </p:cBhvr>
                                      <p:to>
                                        <p:strVal val="visible"/>
                                      </p:to>
                                    </p:set>
                                    <p:anim calcmode="lin" valueType="num">
                                      <p:cBhvr additive="base">
                                        <p:cTn id="75" dur="80"/>
                                        <p:tgtEl>
                                          <p:spTgt spid="138"/>
                                        </p:tgtEl>
                                        <p:attrNameLst>
                                          <p:attrName>ppt_x</p:attrName>
                                        </p:attrNameLst>
                                      </p:cBhvr>
                                      <p:tavLst>
                                        <p:tav tm="0">
                                          <p:val>
                                            <p:strVal val="#ppt_x-#ppt_w*1.125000"/>
                                          </p:val>
                                        </p:tav>
                                        <p:tav tm="100000">
                                          <p:val>
                                            <p:strVal val="#ppt_x"/>
                                          </p:val>
                                        </p:tav>
                                      </p:tavLst>
                                    </p:anim>
                                    <p:animEffect transition="in" filter="wipe(right)">
                                      <p:cBhvr>
                                        <p:cTn id="76" dur="80"/>
                                        <p:tgtEl>
                                          <p:spTgt spid="138"/>
                                        </p:tgtEl>
                                      </p:cBhvr>
                                    </p:animEffect>
                                  </p:childTnLst>
                                </p:cTn>
                              </p:par>
                              <p:par>
                                <p:cTn id="77" presetID="10" presetClass="exit" presetSubtype="0" fill="hold" grpId="3" nodeType="withEffect">
                                  <p:stCondLst>
                                    <p:cond delay="500"/>
                                  </p:stCondLst>
                                  <p:childTnLst>
                                    <p:animEffect transition="out" filter="fade">
                                      <p:cBhvr>
                                        <p:cTn id="78" dur="150"/>
                                        <p:tgtEl>
                                          <p:spTgt spid="147"/>
                                        </p:tgtEl>
                                      </p:cBhvr>
                                    </p:animEffect>
                                    <p:set>
                                      <p:cBhvr>
                                        <p:cTn id="79" dur="1" fill="hold">
                                          <p:stCondLst>
                                            <p:cond delay="149"/>
                                          </p:stCondLst>
                                        </p:cTn>
                                        <p:tgtEl>
                                          <p:spTgt spid="147"/>
                                        </p:tgtEl>
                                        <p:attrNameLst>
                                          <p:attrName>style.visibility</p:attrName>
                                        </p:attrNameLst>
                                      </p:cBhvr>
                                      <p:to>
                                        <p:strVal val="hidden"/>
                                      </p:to>
                                    </p:set>
                                  </p:childTnLst>
                                </p:cTn>
                              </p:par>
                              <p:par>
                                <p:cTn id="80" presetID="10" presetClass="entr" presetSubtype="0" fill="hold" grpId="0" nodeType="withEffect">
                                  <p:stCondLst>
                                    <p:cond delay="500"/>
                                  </p:stCondLst>
                                  <p:childTnLst>
                                    <p:set>
                                      <p:cBhvr>
                                        <p:cTn id="81" dur="1" fill="hold">
                                          <p:stCondLst>
                                            <p:cond delay="0"/>
                                          </p:stCondLst>
                                        </p:cTn>
                                        <p:tgtEl>
                                          <p:spTgt spid="149"/>
                                        </p:tgtEl>
                                        <p:attrNameLst>
                                          <p:attrName>style.visibility</p:attrName>
                                        </p:attrNameLst>
                                      </p:cBhvr>
                                      <p:to>
                                        <p:strVal val="visible"/>
                                      </p:to>
                                    </p:set>
                                    <p:animEffect transition="in" filter="fade">
                                      <p:cBhvr>
                                        <p:cTn id="82" dur="150"/>
                                        <p:tgtEl>
                                          <p:spTgt spid="149"/>
                                        </p:tgtEl>
                                      </p:cBhvr>
                                    </p:animEffect>
                                  </p:childTnLst>
                                </p:cTn>
                              </p:par>
                              <p:par>
                                <p:cTn id="83" presetID="42" presetClass="path" presetSubtype="0" accel="50000" decel="50000" fill="hold" grpId="0" nodeType="withEffect">
                                  <p:stCondLst>
                                    <p:cond delay="500"/>
                                  </p:stCondLst>
                                  <p:childTnLst>
                                    <p:animMotion origin="layout" path="M 1.04167E-6 -2.59259E-6 L 0.07161 -0.10185 " pathEditMode="relative" rAng="0" ptsTypes="AA">
                                      <p:cBhvr>
                                        <p:cTn id="84" dur="150" fill="hold"/>
                                        <p:tgtEl>
                                          <p:spTgt spid="138"/>
                                        </p:tgtEl>
                                        <p:attrNameLst>
                                          <p:attrName>ppt_x</p:attrName>
                                          <p:attrName>ppt_y</p:attrName>
                                        </p:attrNameLst>
                                      </p:cBhvr>
                                      <p:rCtr x="3581" y="-5093"/>
                                    </p:animMotion>
                                  </p:childTnLst>
                                </p:cTn>
                              </p:par>
                              <p:par>
                                <p:cTn id="85" presetID="22" presetClass="entr" presetSubtype="1" fill="hold" grpId="2" nodeType="withEffect">
                                  <p:stCondLst>
                                    <p:cond delay="500"/>
                                  </p:stCondLst>
                                  <p:childTnLst>
                                    <p:set>
                                      <p:cBhvr>
                                        <p:cTn id="86" dur="1" fill="hold">
                                          <p:stCondLst>
                                            <p:cond delay="0"/>
                                          </p:stCondLst>
                                        </p:cTn>
                                        <p:tgtEl>
                                          <p:spTgt spid="164"/>
                                        </p:tgtEl>
                                        <p:attrNameLst>
                                          <p:attrName>style.visibility</p:attrName>
                                        </p:attrNameLst>
                                      </p:cBhvr>
                                      <p:to>
                                        <p:strVal val="visible"/>
                                      </p:to>
                                    </p:set>
                                    <p:animEffect transition="in" filter="wipe(up)">
                                      <p:cBhvr>
                                        <p:cTn id="87" dur="150"/>
                                        <p:tgtEl>
                                          <p:spTgt spid="164"/>
                                        </p:tgtEl>
                                      </p:cBhvr>
                                    </p:animEffect>
                                  </p:childTnLst>
                                </p:cTn>
                              </p:par>
                              <p:par>
                                <p:cTn id="88" presetID="12" presetClass="entr" presetSubtype="8" fill="hold" grpId="1" nodeType="withEffect">
                                  <p:stCondLst>
                                    <p:cond delay="600"/>
                                  </p:stCondLst>
                                  <p:childTnLst>
                                    <p:set>
                                      <p:cBhvr>
                                        <p:cTn id="89" dur="1" fill="hold">
                                          <p:stCondLst>
                                            <p:cond delay="0"/>
                                          </p:stCondLst>
                                        </p:cTn>
                                        <p:tgtEl>
                                          <p:spTgt spid="139"/>
                                        </p:tgtEl>
                                        <p:attrNameLst>
                                          <p:attrName>style.visibility</p:attrName>
                                        </p:attrNameLst>
                                      </p:cBhvr>
                                      <p:to>
                                        <p:strVal val="visible"/>
                                      </p:to>
                                    </p:set>
                                    <p:anim calcmode="lin" valueType="num">
                                      <p:cBhvr additive="base">
                                        <p:cTn id="90" dur="80"/>
                                        <p:tgtEl>
                                          <p:spTgt spid="139"/>
                                        </p:tgtEl>
                                        <p:attrNameLst>
                                          <p:attrName>ppt_x</p:attrName>
                                        </p:attrNameLst>
                                      </p:cBhvr>
                                      <p:tavLst>
                                        <p:tav tm="0">
                                          <p:val>
                                            <p:strVal val="#ppt_x-#ppt_w*1.125000"/>
                                          </p:val>
                                        </p:tav>
                                        <p:tav tm="100000">
                                          <p:val>
                                            <p:strVal val="#ppt_x"/>
                                          </p:val>
                                        </p:tav>
                                      </p:tavLst>
                                    </p:anim>
                                    <p:animEffect transition="in" filter="wipe(right)">
                                      <p:cBhvr>
                                        <p:cTn id="91" dur="80"/>
                                        <p:tgtEl>
                                          <p:spTgt spid="139"/>
                                        </p:tgtEl>
                                      </p:cBhvr>
                                    </p:animEffect>
                                  </p:childTnLst>
                                </p:cTn>
                              </p:par>
                              <p:par>
                                <p:cTn id="92" presetID="10" presetClass="exit" presetSubtype="0" fill="hold" grpId="3" nodeType="withEffect">
                                  <p:stCondLst>
                                    <p:cond delay="600"/>
                                  </p:stCondLst>
                                  <p:childTnLst>
                                    <p:animEffect transition="out" filter="fade">
                                      <p:cBhvr>
                                        <p:cTn id="93" dur="150"/>
                                        <p:tgtEl>
                                          <p:spTgt spid="149"/>
                                        </p:tgtEl>
                                      </p:cBhvr>
                                    </p:animEffect>
                                    <p:set>
                                      <p:cBhvr>
                                        <p:cTn id="94" dur="1" fill="hold">
                                          <p:stCondLst>
                                            <p:cond delay="149"/>
                                          </p:stCondLst>
                                        </p:cTn>
                                        <p:tgtEl>
                                          <p:spTgt spid="149"/>
                                        </p:tgtEl>
                                        <p:attrNameLst>
                                          <p:attrName>style.visibility</p:attrName>
                                        </p:attrNameLst>
                                      </p:cBhvr>
                                      <p:to>
                                        <p:strVal val="hidden"/>
                                      </p:to>
                                    </p:set>
                                  </p:childTnLst>
                                </p:cTn>
                              </p:par>
                              <p:par>
                                <p:cTn id="95" presetID="10" presetClass="entr" presetSubtype="0" fill="hold" grpId="0" nodeType="withEffect">
                                  <p:stCondLst>
                                    <p:cond delay="600"/>
                                  </p:stCondLst>
                                  <p:childTnLst>
                                    <p:set>
                                      <p:cBhvr>
                                        <p:cTn id="96" dur="1" fill="hold">
                                          <p:stCondLst>
                                            <p:cond delay="0"/>
                                          </p:stCondLst>
                                        </p:cTn>
                                        <p:tgtEl>
                                          <p:spTgt spid="136"/>
                                        </p:tgtEl>
                                        <p:attrNameLst>
                                          <p:attrName>style.visibility</p:attrName>
                                        </p:attrNameLst>
                                      </p:cBhvr>
                                      <p:to>
                                        <p:strVal val="visible"/>
                                      </p:to>
                                    </p:set>
                                    <p:animEffect transition="in" filter="fade">
                                      <p:cBhvr>
                                        <p:cTn id="97" dur="150"/>
                                        <p:tgtEl>
                                          <p:spTgt spid="136"/>
                                        </p:tgtEl>
                                      </p:cBhvr>
                                    </p:animEffect>
                                  </p:childTnLst>
                                </p:cTn>
                              </p:par>
                              <p:par>
                                <p:cTn id="98" presetID="42" presetClass="path" presetSubtype="0" accel="50000" decel="50000" fill="hold" grpId="0" nodeType="withEffect">
                                  <p:stCondLst>
                                    <p:cond delay="600"/>
                                  </p:stCondLst>
                                  <p:childTnLst>
                                    <p:animMotion origin="layout" path="M 1.04167E-6 -2.59259E-6 L 0.07135 -0.00023 " pathEditMode="relative" rAng="0" ptsTypes="AA">
                                      <p:cBhvr>
                                        <p:cTn id="99" dur="150" fill="hold"/>
                                        <p:tgtEl>
                                          <p:spTgt spid="139"/>
                                        </p:tgtEl>
                                        <p:attrNameLst>
                                          <p:attrName>ppt_x</p:attrName>
                                          <p:attrName>ppt_y</p:attrName>
                                        </p:attrNameLst>
                                      </p:cBhvr>
                                      <p:rCtr x="3568" y="-23"/>
                                    </p:animMotion>
                                  </p:childTnLst>
                                </p:cTn>
                              </p:par>
                              <p:par>
                                <p:cTn id="100" presetID="22" presetClass="entr" presetSubtype="4" fill="hold" grpId="1" nodeType="withEffect">
                                  <p:stCondLst>
                                    <p:cond delay="600"/>
                                  </p:stCondLst>
                                  <p:childTnLst>
                                    <p:set>
                                      <p:cBhvr>
                                        <p:cTn id="101" dur="1" fill="hold">
                                          <p:stCondLst>
                                            <p:cond delay="0"/>
                                          </p:stCondLst>
                                        </p:cTn>
                                        <p:tgtEl>
                                          <p:spTgt spid="171"/>
                                        </p:tgtEl>
                                        <p:attrNameLst>
                                          <p:attrName>style.visibility</p:attrName>
                                        </p:attrNameLst>
                                      </p:cBhvr>
                                      <p:to>
                                        <p:strVal val="visible"/>
                                      </p:to>
                                    </p:set>
                                    <p:animEffect transition="in" filter="wipe(down)">
                                      <p:cBhvr>
                                        <p:cTn id="102" dur="150"/>
                                        <p:tgtEl>
                                          <p:spTgt spid="171"/>
                                        </p:tgtEl>
                                      </p:cBhvr>
                                    </p:animEffect>
                                  </p:childTnLst>
                                </p:cTn>
                              </p:par>
                              <p:par>
                                <p:cTn id="103" presetID="22" presetClass="exit" presetSubtype="1" fill="hold" grpId="2" nodeType="withEffect">
                                  <p:stCondLst>
                                    <p:cond delay="600"/>
                                  </p:stCondLst>
                                  <p:childTnLst>
                                    <p:animEffect transition="out" filter="wipe(up)">
                                      <p:cBhvr>
                                        <p:cTn id="104" dur="150"/>
                                        <p:tgtEl>
                                          <p:spTgt spid="173"/>
                                        </p:tgtEl>
                                      </p:cBhvr>
                                    </p:animEffect>
                                    <p:set>
                                      <p:cBhvr>
                                        <p:cTn id="105" dur="1" fill="hold">
                                          <p:stCondLst>
                                            <p:cond delay="149"/>
                                          </p:stCondLst>
                                        </p:cTn>
                                        <p:tgtEl>
                                          <p:spTgt spid="173"/>
                                        </p:tgtEl>
                                        <p:attrNameLst>
                                          <p:attrName>style.visibility</p:attrName>
                                        </p:attrNameLst>
                                      </p:cBhvr>
                                      <p:to>
                                        <p:strVal val="hidden"/>
                                      </p:to>
                                    </p:set>
                                  </p:childTnLst>
                                </p:cTn>
                              </p:par>
                              <p:par>
                                <p:cTn id="106" presetID="12" presetClass="entr" presetSubtype="8" fill="hold" grpId="1" nodeType="withEffect">
                                  <p:stCondLst>
                                    <p:cond delay="700"/>
                                  </p:stCondLst>
                                  <p:childTnLst>
                                    <p:set>
                                      <p:cBhvr>
                                        <p:cTn id="107" dur="1" fill="hold">
                                          <p:stCondLst>
                                            <p:cond delay="0"/>
                                          </p:stCondLst>
                                        </p:cTn>
                                        <p:tgtEl>
                                          <p:spTgt spid="140"/>
                                        </p:tgtEl>
                                        <p:attrNameLst>
                                          <p:attrName>style.visibility</p:attrName>
                                        </p:attrNameLst>
                                      </p:cBhvr>
                                      <p:to>
                                        <p:strVal val="visible"/>
                                      </p:to>
                                    </p:set>
                                    <p:anim calcmode="lin" valueType="num">
                                      <p:cBhvr additive="base">
                                        <p:cTn id="108" dur="80"/>
                                        <p:tgtEl>
                                          <p:spTgt spid="140"/>
                                        </p:tgtEl>
                                        <p:attrNameLst>
                                          <p:attrName>ppt_x</p:attrName>
                                        </p:attrNameLst>
                                      </p:cBhvr>
                                      <p:tavLst>
                                        <p:tav tm="0">
                                          <p:val>
                                            <p:strVal val="#ppt_x-#ppt_w*1.125000"/>
                                          </p:val>
                                        </p:tav>
                                        <p:tav tm="100000">
                                          <p:val>
                                            <p:strVal val="#ppt_x"/>
                                          </p:val>
                                        </p:tav>
                                      </p:tavLst>
                                    </p:anim>
                                    <p:animEffect transition="in" filter="wipe(right)">
                                      <p:cBhvr>
                                        <p:cTn id="109" dur="80"/>
                                        <p:tgtEl>
                                          <p:spTgt spid="140"/>
                                        </p:tgtEl>
                                      </p:cBhvr>
                                    </p:animEffect>
                                  </p:childTnLst>
                                </p:cTn>
                              </p:par>
                              <p:par>
                                <p:cTn id="110" presetID="10" presetClass="exit" presetSubtype="0" fill="hold" grpId="2" nodeType="withEffect">
                                  <p:stCondLst>
                                    <p:cond delay="700"/>
                                  </p:stCondLst>
                                  <p:childTnLst>
                                    <p:animEffect transition="out" filter="fade">
                                      <p:cBhvr>
                                        <p:cTn id="111" dur="150"/>
                                        <p:tgtEl>
                                          <p:spTgt spid="136"/>
                                        </p:tgtEl>
                                      </p:cBhvr>
                                    </p:animEffect>
                                    <p:set>
                                      <p:cBhvr>
                                        <p:cTn id="112" dur="1" fill="hold">
                                          <p:stCondLst>
                                            <p:cond delay="149"/>
                                          </p:stCondLst>
                                        </p:cTn>
                                        <p:tgtEl>
                                          <p:spTgt spid="136"/>
                                        </p:tgtEl>
                                        <p:attrNameLst>
                                          <p:attrName>style.visibility</p:attrName>
                                        </p:attrNameLst>
                                      </p:cBhvr>
                                      <p:to>
                                        <p:strVal val="hidden"/>
                                      </p:to>
                                    </p:set>
                                  </p:childTnLst>
                                </p:cTn>
                              </p:par>
                              <p:par>
                                <p:cTn id="113" presetID="10" presetClass="entr" presetSubtype="0" fill="hold" grpId="1" nodeType="withEffect">
                                  <p:stCondLst>
                                    <p:cond delay="700"/>
                                  </p:stCondLst>
                                  <p:childTnLst>
                                    <p:set>
                                      <p:cBhvr>
                                        <p:cTn id="114" dur="1" fill="hold">
                                          <p:stCondLst>
                                            <p:cond delay="0"/>
                                          </p:stCondLst>
                                        </p:cTn>
                                        <p:tgtEl>
                                          <p:spTgt spid="150"/>
                                        </p:tgtEl>
                                        <p:attrNameLst>
                                          <p:attrName>style.visibility</p:attrName>
                                        </p:attrNameLst>
                                      </p:cBhvr>
                                      <p:to>
                                        <p:strVal val="visible"/>
                                      </p:to>
                                    </p:set>
                                    <p:animEffect transition="in" filter="fade">
                                      <p:cBhvr>
                                        <p:cTn id="115" dur="150"/>
                                        <p:tgtEl>
                                          <p:spTgt spid="150"/>
                                        </p:tgtEl>
                                      </p:cBhvr>
                                    </p:animEffect>
                                  </p:childTnLst>
                                </p:cTn>
                              </p:par>
                              <p:par>
                                <p:cTn id="116" presetID="42" presetClass="path" presetSubtype="0" accel="50000" decel="50000" fill="hold" grpId="0" nodeType="withEffect">
                                  <p:stCondLst>
                                    <p:cond delay="700"/>
                                  </p:stCondLst>
                                  <p:childTnLst>
                                    <p:animMotion origin="layout" path="M 1.04167E-6 -2.59259E-6 L 0.07174 0.10185 " pathEditMode="relative" rAng="0" ptsTypes="AA">
                                      <p:cBhvr>
                                        <p:cTn id="117" dur="150" fill="hold"/>
                                        <p:tgtEl>
                                          <p:spTgt spid="140"/>
                                        </p:tgtEl>
                                        <p:attrNameLst>
                                          <p:attrName>ppt_x</p:attrName>
                                          <p:attrName>ppt_y</p:attrName>
                                        </p:attrNameLst>
                                      </p:cBhvr>
                                      <p:rCtr x="3581" y="5093"/>
                                    </p:animMotion>
                                  </p:childTnLst>
                                </p:cTn>
                              </p:par>
                              <p:par>
                                <p:cTn id="118" presetID="22" presetClass="exit" presetSubtype="4" fill="hold" grpId="1" nodeType="withEffect">
                                  <p:stCondLst>
                                    <p:cond delay="700"/>
                                  </p:stCondLst>
                                  <p:childTnLst>
                                    <p:animEffect transition="out" filter="wipe(down)">
                                      <p:cBhvr>
                                        <p:cTn id="119" dur="150"/>
                                        <p:tgtEl>
                                          <p:spTgt spid="175"/>
                                        </p:tgtEl>
                                      </p:cBhvr>
                                    </p:animEffect>
                                    <p:set>
                                      <p:cBhvr>
                                        <p:cTn id="120" dur="1" fill="hold">
                                          <p:stCondLst>
                                            <p:cond delay="149"/>
                                          </p:stCondLst>
                                        </p:cTn>
                                        <p:tgtEl>
                                          <p:spTgt spid="175"/>
                                        </p:tgtEl>
                                        <p:attrNameLst>
                                          <p:attrName>style.visibility</p:attrName>
                                        </p:attrNameLst>
                                      </p:cBhvr>
                                      <p:to>
                                        <p:strVal val="hidden"/>
                                      </p:to>
                                    </p:set>
                                  </p:childTnLst>
                                </p:cTn>
                              </p:par>
                              <p:par>
                                <p:cTn id="121" presetID="22" presetClass="exit" presetSubtype="4" fill="hold" grpId="3" nodeType="withEffect">
                                  <p:stCondLst>
                                    <p:cond delay="700"/>
                                  </p:stCondLst>
                                  <p:childTnLst>
                                    <p:animEffect transition="out" filter="wipe(down)">
                                      <p:cBhvr>
                                        <p:cTn id="122" dur="150"/>
                                        <p:tgtEl>
                                          <p:spTgt spid="164"/>
                                        </p:tgtEl>
                                      </p:cBhvr>
                                    </p:animEffect>
                                    <p:set>
                                      <p:cBhvr>
                                        <p:cTn id="123" dur="1" fill="hold">
                                          <p:stCondLst>
                                            <p:cond delay="149"/>
                                          </p:stCondLst>
                                        </p:cTn>
                                        <p:tgtEl>
                                          <p:spTgt spid="164"/>
                                        </p:tgtEl>
                                        <p:attrNameLst>
                                          <p:attrName>style.visibility</p:attrName>
                                        </p:attrNameLst>
                                      </p:cBhvr>
                                      <p:to>
                                        <p:strVal val="hidden"/>
                                      </p:to>
                                    </p:set>
                                  </p:childTnLst>
                                </p:cTn>
                              </p:par>
                              <p:par>
                                <p:cTn id="124" presetID="22" presetClass="exit" presetSubtype="4" fill="hold" grpId="0" nodeType="withEffect">
                                  <p:stCondLst>
                                    <p:cond delay="700"/>
                                  </p:stCondLst>
                                  <p:childTnLst>
                                    <p:animEffect transition="out" filter="wipe(down)">
                                      <p:cBhvr>
                                        <p:cTn id="125" dur="150"/>
                                        <p:tgtEl>
                                          <p:spTgt spid="174"/>
                                        </p:tgtEl>
                                      </p:cBhvr>
                                    </p:animEffect>
                                    <p:set>
                                      <p:cBhvr>
                                        <p:cTn id="126" dur="1" fill="hold">
                                          <p:stCondLst>
                                            <p:cond delay="149"/>
                                          </p:stCondLst>
                                        </p:cTn>
                                        <p:tgtEl>
                                          <p:spTgt spid="174"/>
                                        </p:tgtEl>
                                        <p:attrNameLst>
                                          <p:attrName>style.visibility</p:attrName>
                                        </p:attrNameLst>
                                      </p:cBhvr>
                                      <p:to>
                                        <p:strVal val="hidden"/>
                                      </p:to>
                                    </p:set>
                                  </p:childTnLst>
                                </p:cTn>
                              </p:par>
                              <p:par>
                                <p:cTn id="127" presetID="12" presetClass="entr" presetSubtype="8" fill="hold" grpId="1" nodeType="withEffect">
                                  <p:stCondLst>
                                    <p:cond delay="800"/>
                                  </p:stCondLst>
                                  <p:childTnLst>
                                    <p:set>
                                      <p:cBhvr>
                                        <p:cTn id="128" dur="1" fill="hold">
                                          <p:stCondLst>
                                            <p:cond delay="0"/>
                                          </p:stCondLst>
                                        </p:cTn>
                                        <p:tgtEl>
                                          <p:spTgt spid="141"/>
                                        </p:tgtEl>
                                        <p:attrNameLst>
                                          <p:attrName>style.visibility</p:attrName>
                                        </p:attrNameLst>
                                      </p:cBhvr>
                                      <p:to>
                                        <p:strVal val="visible"/>
                                      </p:to>
                                    </p:set>
                                    <p:anim calcmode="lin" valueType="num">
                                      <p:cBhvr additive="base">
                                        <p:cTn id="129" dur="80"/>
                                        <p:tgtEl>
                                          <p:spTgt spid="141"/>
                                        </p:tgtEl>
                                        <p:attrNameLst>
                                          <p:attrName>ppt_x</p:attrName>
                                        </p:attrNameLst>
                                      </p:cBhvr>
                                      <p:tavLst>
                                        <p:tav tm="0">
                                          <p:val>
                                            <p:strVal val="#ppt_x-#ppt_w*1.125000"/>
                                          </p:val>
                                        </p:tav>
                                        <p:tav tm="100000">
                                          <p:val>
                                            <p:strVal val="#ppt_x"/>
                                          </p:val>
                                        </p:tav>
                                      </p:tavLst>
                                    </p:anim>
                                    <p:animEffect transition="in" filter="wipe(right)">
                                      <p:cBhvr>
                                        <p:cTn id="130" dur="80"/>
                                        <p:tgtEl>
                                          <p:spTgt spid="141"/>
                                        </p:tgtEl>
                                      </p:cBhvr>
                                    </p:animEffect>
                                  </p:childTnLst>
                                </p:cTn>
                              </p:par>
                              <p:par>
                                <p:cTn id="131" presetID="10" presetClass="exit" presetSubtype="0" fill="hold" grpId="3" nodeType="withEffect">
                                  <p:stCondLst>
                                    <p:cond delay="800"/>
                                  </p:stCondLst>
                                  <p:childTnLst>
                                    <p:animEffect transition="out" filter="fade">
                                      <p:cBhvr>
                                        <p:cTn id="132" dur="150"/>
                                        <p:tgtEl>
                                          <p:spTgt spid="150"/>
                                        </p:tgtEl>
                                      </p:cBhvr>
                                    </p:animEffect>
                                    <p:set>
                                      <p:cBhvr>
                                        <p:cTn id="133" dur="1" fill="hold">
                                          <p:stCondLst>
                                            <p:cond delay="149"/>
                                          </p:stCondLst>
                                        </p:cTn>
                                        <p:tgtEl>
                                          <p:spTgt spid="150"/>
                                        </p:tgtEl>
                                        <p:attrNameLst>
                                          <p:attrName>style.visibility</p:attrName>
                                        </p:attrNameLst>
                                      </p:cBhvr>
                                      <p:to>
                                        <p:strVal val="hidden"/>
                                      </p:to>
                                    </p:set>
                                  </p:childTnLst>
                                </p:cTn>
                              </p:par>
                              <p:par>
                                <p:cTn id="134" presetID="10" presetClass="entr" presetSubtype="0" fill="hold" grpId="1" nodeType="withEffect">
                                  <p:stCondLst>
                                    <p:cond delay="800"/>
                                  </p:stCondLst>
                                  <p:childTnLst>
                                    <p:set>
                                      <p:cBhvr>
                                        <p:cTn id="135" dur="1" fill="hold">
                                          <p:stCondLst>
                                            <p:cond delay="0"/>
                                          </p:stCondLst>
                                        </p:cTn>
                                        <p:tgtEl>
                                          <p:spTgt spid="149"/>
                                        </p:tgtEl>
                                        <p:attrNameLst>
                                          <p:attrName>style.visibility</p:attrName>
                                        </p:attrNameLst>
                                      </p:cBhvr>
                                      <p:to>
                                        <p:strVal val="visible"/>
                                      </p:to>
                                    </p:set>
                                    <p:animEffect transition="in" filter="fade">
                                      <p:cBhvr>
                                        <p:cTn id="136" dur="150"/>
                                        <p:tgtEl>
                                          <p:spTgt spid="149"/>
                                        </p:tgtEl>
                                      </p:cBhvr>
                                    </p:animEffect>
                                  </p:childTnLst>
                                </p:cTn>
                              </p:par>
                              <p:par>
                                <p:cTn id="137" presetID="42" presetClass="path" presetSubtype="0" accel="50000" decel="50000" fill="hold" grpId="0" nodeType="withEffect">
                                  <p:stCondLst>
                                    <p:cond delay="800"/>
                                  </p:stCondLst>
                                  <p:childTnLst>
                                    <p:animMotion origin="layout" path="M 1.04167E-6 -2.59259E-6 L 0.07161 0.20278 " pathEditMode="relative" rAng="0" ptsTypes="AA">
                                      <p:cBhvr>
                                        <p:cTn id="138" dur="150" fill="hold"/>
                                        <p:tgtEl>
                                          <p:spTgt spid="141"/>
                                        </p:tgtEl>
                                        <p:attrNameLst>
                                          <p:attrName>ppt_x</p:attrName>
                                          <p:attrName>ppt_y</p:attrName>
                                        </p:attrNameLst>
                                      </p:cBhvr>
                                      <p:rCtr x="3581" y="10139"/>
                                    </p:animMotion>
                                  </p:childTnLst>
                                </p:cTn>
                              </p:par>
                              <p:par>
                                <p:cTn id="139" presetID="12" presetClass="entr" presetSubtype="4" fill="hold" grpId="1" nodeType="withEffect">
                                  <p:stCondLst>
                                    <p:cond delay="900"/>
                                  </p:stCondLst>
                                  <p:childTnLst>
                                    <p:set>
                                      <p:cBhvr>
                                        <p:cTn id="140" dur="1" fill="hold">
                                          <p:stCondLst>
                                            <p:cond delay="0"/>
                                          </p:stCondLst>
                                        </p:cTn>
                                        <p:tgtEl>
                                          <p:spTgt spid="142"/>
                                        </p:tgtEl>
                                        <p:attrNameLst>
                                          <p:attrName>style.visibility</p:attrName>
                                        </p:attrNameLst>
                                      </p:cBhvr>
                                      <p:to>
                                        <p:strVal val="visible"/>
                                      </p:to>
                                    </p:set>
                                    <p:anim calcmode="lin" valueType="num">
                                      <p:cBhvr additive="base">
                                        <p:cTn id="141" dur="80"/>
                                        <p:tgtEl>
                                          <p:spTgt spid="142"/>
                                        </p:tgtEl>
                                        <p:attrNameLst>
                                          <p:attrName>ppt_y</p:attrName>
                                        </p:attrNameLst>
                                      </p:cBhvr>
                                      <p:tavLst>
                                        <p:tav tm="0">
                                          <p:val>
                                            <p:strVal val="#ppt_y+#ppt_h*1.125000"/>
                                          </p:val>
                                        </p:tav>
                                        <p:tav tm="100000">
                                          <p:val>
                                            <p:strVal val="#ppt_y"/>
                                          </p:val>
                                        </p:tav>
                                      </p:tavLst>
                                    </p:anim>
                                    <p:animEffect transition="in" filter="wipe(up)">
                                      <p:cBhvr>
                                        <p:cTn id="142" dur="80"/>
                                        <p:tgtEl>
                                          <p:spTgt spid="142"/>
                                        </p:tgtEl>
                                      </p:cBhvr>
                                    </p:animEffect>
                                  </p:childTnLst>
                                </p:cTn>
                              </p:par>
                              <p:par>
                                <p:cTn id="143" presetID="10" presetClass="exit" presetSubtype="0" fill="hold" grpId="4" nodeType="withEffect">
                                  <p:stCondLst>
                                    <p:cond delay="900"/>
                                  </p:stCondLst>
                                  <p:childTnLst>
                                    <p:animEffect transition="out" filter="fade">
                                      <p:cBhvr>
                                        <p:cTn id="144" dur="150"/>
                                        <p:tgtEl>
                                          <p:spTgt spid="149"/>
                                        </p:tgtEl>
                                      </p:cBhvr>
                                    </p:animEffect>
                                    <p:set>
                                      <p:cBhvr>
                                        <p:cTn id="145" dur="1" fill="hold">
                                          <p:stCondLst>
                                            <p:cond delay="149"/>
                                          </p:stCondLst>
                                        </p:cTn>
                                        <p:tgtEl>
                                          <p:spTgt spid="149"/>
                                        </p:tgtEl>
                                        <p:attrNameLst>
                                          <p:attrName>style.visibility</p:attrName>
                                        </p:attrNameLst>
                                      </p:cBhvr>
                                      <p:to>
                                        <p:strVal val="hidden"/>
                                      </p:to>
                                    </p:set>
                                  </p:childTnLst>
                                </p:cTn>
                              </p:par>
                              <p:par>
                                <p:cTn id="146" presetID="10" presetClass="entr" presetSubtype="0" fill="hold" grpId="2" nodeType="withEffect">
                                  <p:stCondLst>
                                    <p:cond delay="900"/>
                                  </p:stCondLst>
                                  <p:childTnLst>
                                    <p:set>
                                      <p:cBhvr>
                                        <p:cTn id="147" dur="1" fill="hold">
                                          <p:stCondLst>
                                            <p:cond delay="0"/>
                                          </p:stCondLst>
                                        </p:cTn>
                                        <p:tgtEl>
                                          <p:spTgt spid="147"/>
                                        </p:tgtEl>
                                        <p:attrNameLst>
                                          <p:attrName>style.visibility</p:attrName>
                                        </p:attrNameLst>
                                      </p:cBhvr>
                                      <p:to>
                                        <p:strVal val="visible"/>
                                      </p:to>
                                    </p:set>
                                    <p:animEffect transition="in" filter="fade">
                                      <p:cBhvr>
                                        <p:cTn id="148" dur="150"/>
                                        <p:tgtEl>
                                          <p:spTgt spid="147"/>
                                        </p:tgtEl>
                                      </p:cBhvr>
                                    </p:animEffect>
                                  </p:childTnLst>
                                </p:cTn>
                              </p:par>
                              <p:par>
                                <p:cTn id="149" presetID="42" presetClass="path" presetSubtype="0" accel="50000" decel="50000" fill="hold" grpId="0" nodeType="withEffect">
                                  <p:stCondLst>
                                    <p:cond delay="900"/>
                                  </p:stCondLst>
                                  <p:childTnLst>
                                    <p:animMotion origin="layout" path="M 1.04167E-6 -2.59259E-6 L 0.00026 -0.20486 " pathEditMode="relative" rAng="0" ptsTypes="AA">
                                      <p:cBhvr>
                                        <p:cTn id="150" dur="150" fill="hold"/>
                                        <p:tgtEl>
                                          <p:spTgt spid="142"/>
                                        </p:tgtEl>
                                        <p:attrNameLst>
                                          <p:attrName>ppt_x</p:attrName>
                                          <p:attrName>ppt_y</p:attrName>
                                        </p:attrNameLst>
                                      </p:cBhvr>
                                      <p:rCtr x="13" y="-10255"/>
                                    </p:animMotion>
                                  </p:childTnLst>
                                </p:cTn>
                              </p:par>
                              <p:par>
                                <p:cTn id="151" presetID="22" presetClass="entr" presetSubtype="1" fill="hold" grpId="2" nodeType="withEffect">
                                  <p:stCondLst>
                                    <p:cond delay="900"/>
                                  </p:stCondLst>
                                  <p:childTnLst>
                                    <p:set>
                                      <p:cBhvr>
                                        <p:cTn id="152" dur="1" fill="hold">
                                          <p:stCondLst>
                                            <p:cond delay="0"/>
                                          </p:stCondLst>
                                        </p:cTn>
                                        <p:tgtEl>
                                          <p:spTgt spid="175"/>
                                        </p:tgtEl>
                                        <p:attrNameLst>
                                          <p:attrName>style.visibility</p:attrName>
                                        </p:attrNameLst>
                                      </p:cBhvr>
                                      <p:to>
                                        <p:strVal val="visible"/>
                                      </p:to>
                                    </p:set>
                                    <p:animEffect transition="in" filter="wipe(up)">
                                      <p:cBhvr>
                                        <p:cTn id="153" dur="150"/>
                                        <p:tgtEl>
                                          <p:spTgt spid="175"/>
                                        </p:tgtEl>
                                      </p:cBhvr>
                                    </p:animEffect>
                                  </p:childTnLst>
                                </p:cTn>
                              </p:par>
                              <p:par>
                                <p:cTn id="154" presetID="22" presetClass="entr" presetSubtype="1" fill="hold" grpId="1" nodeType="withEffect">
                                  <p:stCondLst>
                                    <p:cond delay="900"/>
                                  </p:stCondLst>
                                  <p:childTnLst>
                                    <p:set>
                                      <p:cBhvr>
                                        <p:cTn id="155" dur="1" fill="hold">
                                          <p:stCondLst>
                                            <p:cond delay="0"/>
                                          </p:stCondLst>
                                        </p:cTn>
                                        <p:tgtEl>
                                          <p:spTgt spid="174"/>
                                        </p:tgtEl>
                                        <p:attrNameLst>
                                          <p:attrName>style.visibility</p:attrName>
                                        </p:attrNameLst>
                                      </p:cBhvr>
                                      <p:to>
                                        <p:strVal val="visible"/>
                                      </p:to>
                                    </p:set>
                                    <p:animEffect transition="in" filter="wipe(up)">
                                      <p:cBhvr>
                                        <p:cTn id="156" dur="150"/>
                                        <p:tgtEl>
                                          <p:spTgt spid="174"/>
                                        </p:tgtEl>
                                      </p:cBhvr>
                                    </p:animEffect>
                                  </p:childTnLst>
                                </p:cTn>
                              </p:par>
                              <p:par>
                                <p:cTn id="157" presetID="22" presetClass="entr" presetSubtype="4" fill="hold" grpId="3" nodeType="withEffect">
                                  <p:stCondLst>
                                    <p:cond delay="900"/>
                                  </p:stCondLst>
                                  <p:childTnLst>
                                    <p:set>
                                      <p:cBhvr>
                                        <p:cTn id="158" dur="1" fill="hold">
                                          <p:stCondLst>
                                            <p:cond delay="0"/>
                                          </p:stCondLst>
                                        </p:cTn>
                                        <p:tgtEl>
                                          <p:spTgt spid="173"/>
                                        </p:tgtEl>
                                        <p:attrNameLst>
                                          <p:attrName>style.visibility</p:attrName>
                                        </p:attrNameLst>
                                      </p:cBhvr>
                                      <p:to>
                                        <p:strVal val="visible"/>
                                      </p:to>
                                    </p:set>
                                    <p:animEffect transition="in" filter="wipe(down)">
                                      <p:cBhvr>
                                        <p:cTn id="159" dur="150"/>
                                        <p:tgtEl>
                                          <p:spTgt spid="173"/>
                                        </p:tgtEl>
                                      </p:cBhvr>
                                    </p:animEffect>
                                  </p:childTnLst>
                                </p:cTn>
                              </p:par>
                              <p:par>
                                <p:cTn id="160" presetID="12" presetClass="entr" presetSubtype="4" fill="hold" grpId="1" nodeType="withEffect">
                                  <p:stCondLst>
                                    <p:cond delay="1000"/>
                                  </p:stCondLst>
                                  <p:childTnLst>
                                    <p:set>
                                      <p:cBhvr>
                                        <p:cTn id="161" dur="1" fill="hold">
                                          <p:stCondLst>
                                            <p:cond delay="0"/>
                                          </p:stCondLst>
                                        </p:cTn>
                                        <p:tgtEl>
                                          <p:spTgt spid="143"/>
                                        </p:tgtEl>
                                        <p:attrNameLst>
                                          <p:attrName>style.visibility</p:attrName>
                                        </p:attrNameLst>
                                      </p:cBhvr>
                                      <p:to>
                                        <p:strVal val="visible"/>
                                      </p:to>
                                    </p:set>
                                    <p:anim calcmode="lin" valueType="num">
                                      <p:cBhvr additive="base">
                                        <p:cTn id="162" dur="80"/>
                                        <p:tgtEl>
                                          <p:spTgt spid="143"/>
                                        </p:tgtEl>
                                        <p:attrNameLst>
                                          <p:attrName>ppt_y</p:attrName>
                                        </p:attrNameLst>
                                      </p:cBhvr>
                                      <p:tavLst>
                                        <p:tav tm="0">
                                          <p:val>
                                            <p:strVal val="#ppt_y+#ppt_h*1.125000"/>
                                          </p:val>
                                        </p:tav>
                                        <p:tav tm="100000">
                                          <p:val>
                                            <p:strVal val="#ppt_y"/>
                                          </p:val>
                                        </p:tav>
                                      </p:tavLst>
                                    </p:anim>
                                    <p:animEffect transition="in" filter="wipe(up)">
                                      <p:cBhvr>
                                        <p:cTn id="163" dur="80"/>
                                        <p:tgtEl>
                                          <p:spTgt spid="143"/>
                                        </p:tgtEl>
                                      </p:cBhvr>
                                    </p:animEffect>
                                  </p:childTnLst>
                                </p:cTn>
                              </p:par>
                              <p:par>
                                <p:cTn id="164" presetID="10" presetClass="exit" presetSubtype="0" fill="hold" grpId="4" nodeType="withEffect">
                                  <p:stCondLst>
                                    <p:cond delay="1000"/>
                                  </p:stCondLst>
                                  <p:childTnLst>
                                    <p:animEffect transition="out" filter="fade">
                                      <p:cBhvr>
                                        <p:cTn id="165" dur="150"/>
                                        <p:tgtEl>
                                          <p:spTgt spid="147"/>
                                        </p:tgtEl>
                                      </p:cBhvr>
                                    </p:animEffect>
                                    <p:set>
                                      <p:cBhvr>
                                        <p:cTn id="166" dur="1" fill="hold">
                                          <p:stCondLst>
                                            <p:cond delay="149"/>
                                          </p:stCondLst>
                                        </p:cTn>
                                        <p:tgtEl>
                                          <p:spTgt spid="147"/>
                                        </p:tgtEl>
                                        <p:attrNameLst>
                                          <p:attrName>style.visibility</p:attrName>
                                        </p:attrNameLst>
                                      </p:cBhvr>
                                      <p:to>
                                        <p:strVal val="hidden"/>
                                      </p:to>
                                    </p:set>
                                  </p:childTnLst>
                                </p:cTn>
                              </p:par>
                              <p:par>
                                <p:cTn id="167" presetID="10" presetClass="entr" presetSubtype="0" fill="hold" grpId="2" nodeType="withEffect">
                                  <p:stCondLst>
                                    <p:cond delay="1000"/>
                                  </p:stCondLst>
                                  <p:childTnLst>
                                    <p:set>
                                      <p:cBhvr>
                                        <p:cTn id="168" dur="1" fill="hold">
                                          <p:stCondLst>
                                            <p:cond delay="0"/>
                                          </p:stCondLst>
                                        </p:cTn>
                                        <p:tgtEl>
                                          <p:spTgt spid="148"/>
                                        </p:tgtEl>
                                        <p:attrNameLst>
                                          <p:attrName>style.visibility</p:attrName>
                                        </p:attrNameLst>
                                      </p:cBhvr>
                                      <p:to>
                                        <p:strVal val="visible"/>
                                      </p:to>
                                    </p:set>
                                    <p:animEffect transition="in" filter="fade">
                                      <p:cBhvr>
                                        <p:cTn id="169" dur="150"/>
                                        <p:tgtEl>
                                          <p:spTgt spid="148"/>
                                        </p:tgtEl>
                                      </p:cBhvr>
                                    </p:animEffect>
                                  </p:childTnLst>
                                </p:cTn>
                              </p:par>
                              <p:par>
                                <p:cTn id="170" presetID="42" presetClass="path" presetSubtype="0" accel="50000" decel="50000" fill="hold" grpId="0" nodeType="withEffect">
                                  <p:stCondLst>
                                    <p:cond delay="1000"/>
                                  </p:stCondLst>
                                  <p:childTnLst>
                                    <p:animMotion origin="layout" path="M 1.04167E-6 -2.59259E-6 L 1.04167E-6 -0.10208 " pathEditMode="relative" rAng="0" ptsTypes="AA">
                                      <p:cBhvr>
                                        <p:cTn id="171" dur="150" fill="hold"/>
                                        <p:tgtEl>
                                          <p:spTgt spid="143"/>
                                        </p:tgtEl>
                                        <p:attrNameLst>
                                          <p:attrName>ppt_x</p:attrName>
                                          <p:attrName>ppt_y</p:attrName>
                                        </p:attrNameLst>
                                      </p:cBhvr>
                                      <p:rCtr x="0" y="-5116"/>
                                    </p:animMotion>
                                  </p:childTnLst>
                                </p:cTn>
                              </p:par>
                              <p:par>
                                <p:cTn id="172" presetID="22" presetClass="entr" presetSubtype="1" fill="hold" grpId="4" nodeType="withEffect">
                                  <p:stCondLst>
                                    <p:cond delay="1000"/>
                                  </p:stCondLst>
                                  <p:childTnLst>
                                    <p:set>
                                      <p:cBhvr>
                                        <p:cTn id="173" dur="1" fill="hold">
                                          <p:stCondLst>
                                            <p:cond delay="0"/>
                                          </p:stCondLst>
                                        </p:cTn>
                                        <p:tgtEl>
                                          <p:spTgt spid="164"/>
                                        </p:tgtEl>
                                        <p:attrNameLst>
                                          <p:attrName>style.visibility</p:attrName>
                                        </p:attrNameLst>
                                      </p:cBhvr>
                                      <p:to>
                                        <p:strVal val="visible"/>
                                      </p:to>
                                    </p:set>
                                    <p:animEffect transition="in" filter="wipe(up)">
                                      <p:cBhvr>
                                        <p:cTn id="174" dur="150"/>
                                        <p:tgtEl>
                                          <p:spTgt spid="164"/>
                                        </p:tgtEl>
                                      </p:cBhvr>
                                    </p:animEffect>
                                  </p:childTnLst>
                                </p:cTn>
                              </p:par>
                              <p:par>
                                <p:cTn id="175" presetID="12" presetClass="entr" presetSubtype="1" fill="hold" grpId="1" nodeType="withEffect">
                                  <p:stCondLst>
                                    <p:cond delay="1100"/>
                                  </p:stCondLst>
                                  <p:childTnLst>
                                    <p:set>
                                      <p:cBhvr>
                                        <p:cTn id="176" dur="1" fill="hold">
                                          <p:stCondLst>
                                            <p:cond delay="0"/>
                                          </p:stCondLst>
                                        </p:cTn>
                                        <p:tgtEl>
                                          <p:spTgt spid="145"/>
                                        </p:tgtEl>
                                        <p:attrNameLst>
                                          <p:attrName>style.visibility</p:attrName>
                                        </p:attrNameLst>
                                      </p:cBhvr>
                                      <p:to>
                                        <p:strVal val="visible"/>
                                      </p:to>
                                    </p:set>
                                    <p:anim calcmode="lin" valueType="num">
                                      <p:cBhvr additive="base">
                                        <p:cTn id="177" dur="80"/>
                                        <p:tgtEl>
                                          <p:spTgt spid="145"/>
                                        </p:tgtEl>
                                        <p:attrNameLst>
                                          <p:attrName>ppt_y</p:attrName>
                                        </p:attrNameLst>
                                      </p:cBhvr>
                                      <p:tavLst>
                                        <p:tav tm="0">
                                          <p:val>
                                            <p:strVal val="#ppt_y-#ppt_h*1.125000"/>
                                          </p:val>
                                        </p:tav>
                                        <p:tav tm="100000">
                                          <p:val>
                                            <p:strVal val="#ppt_y"/>
                                          </p:val>
                                        </p:tav>
                                      </p:tavLst>
                                    </p:anim>
                                    <p:animEffect transition="in" filter="wipe(down)">
                                      <p:cBhvr>
                                        <p:cTn id="178" dur="80"/>
                                        <p:tgtEl>
                                          <p:spTgt spid="145"/>
                                        </p:tgtEl>
                                      </p:cBhvr>
                                    </p:animEffect>
                                  </p:childTnLst>
                                </p:cTn>
                              </p:par>
                              <p:par>
                                <p:cTn id="179" presetID="10" presetClass="entr" presetSubtype="0" fill="hold" grpId="2" nodeType="withEffect">
                                  <p:stCondLst>
                                    <p:cond delay="1100"/>
                                  </p:stCondLst>
                                  <p:childTnLst>
                                    <p:set>
                                      <p:cBhvr>
                                        <p:cTn id="180" dur="1" fill="hold">
                                          <p:stCondLst>
                                            <p:cond delay="0"/>
                                          </p:stCondLst>
                                        </p:cTn>
                                        <p:tgtEl>
                                          <p:spTgt spid="149"/>
                                        </p:tgtEl>
                                        <p:attrNameLst>
                                          <p:attrName>style.visibility</p:attrName>
                                        </p:attrNameLst>
                                      </p:cBhvr>
                                      <p:to>
                                        <p:strVal val="visible"/>
                                      </p:to>
                                    </p:set>
                                    <p:animEffect transition="in" filter="fade">
                                      <p:cBhvr>
                                        <p:cTn id="181" dur="150"/>
                                        <p:tgtEl>
                                          <p:spTgt spid="149"/>
                                        </p:tgtEl>
                                      </p:cBhvr>
                                    </p:animEffect>
                                  </p:childTnLst>
                                </p:cTn>
                              </p:par>
                              <p:par>
                                <p:cTn id="182" presetID="10" presetClass="exit" presetSubtype="0" fill="hold" grpId="4" nodeType="withEffect">
                                  <p:stCondLst>
                                    <p:cond delay="1100"/>
                                  </p:stCondLst>
                                  <p:childTnLst>
                                    <p:animEffect transition="out" filter="fade">
                                      <p:cBhvr>
                                        <p:cTn id="183" dur="150"/>
                                        <p:tgtEl>
                                          <p:spTgt spid="148"/>
                                        </p:tgtEl>
                                      </p:cBhvr>
                                    </p:animEffect>
                                    <p:set>
                                      <p:cBhvr>
                                        <p:cTn id="184" dur="1" fill="hold">
                                          <p:stCondLst>
                                            <p:cond delay="149"/>
                                          </p:stCondLst>
                                        </p:cTn>
                                        <p:tgtEl>
                                          <p:spTgt spid="148"/>
                                        </p:tgtEl>
                                        <p:attrNameLst>
                                          <p:attrName>style.visibility</p:attrName>
                                        </p:attrNameLst>
                                      </p:cBhvr>
                                      <p:to>
                                        <p:strVal val="hidden"/>
                                      </p:to>
                                    </p:set>
                                  </p:childTnLst>
                                </p:cTn>
                              </p:par>
                              <p:par>
                                <p:cTn id="185" presetID="42" presetClass="path" presetSubtype="0" accel="50000" decel="50000" fill="hold" grpId="0" nodeType="withEffect">
                                  <p:stCondLst>
                                    <p:cond delay="1100"/>
                                  </p:stCondLst>
                                  <p:childTnLst>
                                    <p:animMotion origin="layout" path="M 1.04167E-6 -2.59259E-6 L -0.00026 0.10047 " pathEditMode="relative" rAng="0" ptsTypes="AA">
                                      <p:cBhvr>
                                        <p:cTn id="186" dur="150" fill="hold"/>
                                        <p:tgtEl>
                                          <p:spTgt spid="145"/>
                                        </p:tgtEl>
                                        <p:attrNameLst>
                                          <p:attrName>ppt_x</p:attrName>
                                          <p:attrName>ppt_y</p:attrName>
                                        </p:attrNameLst>
                                      </p:cBhvr>
                                      <p:rCtr x="-13" y="5023"/>
                                    </p:animMotion>
                                  </p:childTnLst>
                                </p:cTn>
                              </p:par>
                              <p:par>
                                <p:cTn id="187" presetID="22" presetClass="exit" presetSubtype="1" fill="hold" grpId="4" nodeType="withEffect">
                                  <p:stCondLst>
                                    <p:cond delay="1100"/>
                                  </p:stCondLst>
                                  <p:childTnLst>
                                    <p:animEffect transition="out" filter="wipe(up)">
                                      <p:cBhvr>
                                        <p:cTn id="188" dur="150"/>
                                        <p:tgtEl>
                                          <p:spTgt spid="173"/>
                                        </p:tgtEl>
                                      </p:cBhvr>
                                    </p:animEffect>
                                    <p:set>
                                      <p:cBhvr>
                                        <p:cTn id="189" dur="1" fill="hold">
                                          <p:stCondLst>
                                            <p:cond delay="149"/>
                                          </p:stCondLst>
                                        </p:cTn>
                                        <p:tgtEl>
                                          <p:spTgt spid="173"/>
                                        </p:tgtEl>
                                        <p:attrNameLst>
                                          <p:attrName>style.visibility</p:attrName>
                                        </p:attrNameLst>
                                      </p:cBhvr>
                                      <p:to>
                                        <p:strVal val="hidden"/>
                                      </p:to>
                                    </p:set>
                                  </p:childTnLst>
                                </p:cTn>
                              </p:par>
                              <p:par>
                                <p:cTn id="190" presetID="22" presetClass="exit" presetSubtype="1" fill="hold" grpId="2" nodeType="withEffect">
                                  <p:stCondLst>
                                    <p:cond delay="1100"/>
                                  </p:stCondLst>
                                  <p:childTnLst>
                                    <p:animEffect transition="out" filter="wipe(up)">
                                      <p:cBhvr>
                                        <p:cTn id="191" dur="150"/>
                                        <p:tgtEl>
                                          <p:spTgt spid="171"/>
                                        </p:tgtEl>
                                      </p:cBhvr>
                                    </p:animEffect>
                                    <p:set>
                                      <p:cBhvr>
                                        <p:cTn id="192" dur="1" fill="hold">
                                          <p:stCondLst>
                                            <p:cond delay="149"/>
                                          </p:stCondLst>
                                        </p:cTn>
                                        <p:tgtEl>
                                          <p:spTgt spid="171"/>
                                        </p:tgtEl>
                                        <p:attrNameLst>
                                          <p:attrName>style.visibility</p:attrName>
                                        </p:attrNameLst>
                                      </p:cBhvr>
                                      <p:to>
                                        <p:strVal val="hidden"/>
                                      </p:to>
                                    </p:set>
                                  </p:childTnLst>
                                </p:cTn>
                              </p:par>
                              <p:par>
                                <p:cTn id="193" presetID="22" presetClass="exit" presetSubtype="1" fill="hold" grpId="2" nodeType="withEffect">
                                  <p:stCondLst>
                                    <p:cond delay="1100"/>
                                  </p:stCondLst>
                                  <p:childTnLst>
                                    <p:animEffect transition="out" filter="wipe(up)">
                                      <p:cBhvr>
                                        <p:cTn id="194" dur="150"/>
                                        <p:tgtEl>
                                          <p:spTgt spid="174"/>
                                        </p:tgtEl>
                                      </p:cBhvr>
                                    </p:animEffect>
                                    <p:set>
                                      <p:cBhvr>
                                        <p:cTn id="195" dur="1" fill="hold">
                                          <p:stCondLst>
                                            <p:cond delay="149"/>
                                          </p:stCondLst>
                                        </p:cTn>
                                        <p:tgtEl>
                                          <p:spTgt spid="174"/>
                                        </p:tgtEl>
                                        <p:attrNameLst>
                                          <p:attrName>style.visibility</p:attrName>
                                        </p:attrNameLst>
                                      </p:cBhvr>
                                      <p:to>
                                        <p:strVal val="hidden"/>
                                      </p:to>
                                    </p:set>
                                  </p:childTnLst>
                                </p:cTn>
                              </p:par>
                              <p:par>
                                <p:cTn id="196" presetID="12" presetClass="entr" presetSubtype="1" fill="hold" grpId="1" nodeType="withEffect">
                                  <p:stCondLst>
                                    <p:cond delay="1200"/>
                                  </p:stCondLst>
                                  <p:childTnLst>
                                    <p:set>
                                      <p:cBhvr>
                                        <p:cTn id="197" dur="1" fill="hold">
                                          <p:stCondLst>
                                            <p:cond delay="0"/>
                                          </p:stCondLst>
                                        </p:cTn>
                                        <p:tgtEl>
                                          <p:spTgt spid="146"/>
                                        </p:tgtEl>
                                        <p:attrNameLst>
                                          <p:attrName>style.visibility</p:attrName>
                                        </p:attrNameLst>
                                      </p:cBhvr>
                                      <p:to>
                                        <p:strVal val="visible"/>
                                      </p:to>
                                    </p:set>
                                    <p:anim calcmode="lin" valueType="num">
                                      <p:cBhvr additive="base">
                                        <p:cTn id="198" dur="80"/>
                                        <p:tgtEl>
                                          <p:spTgt spid="146"/>
                                        </p:tgtEl>
                                        <p:attrNameLst>
                                          <p:attrName>ppt_y</p:attrName>
                                        </p:attrNameLst>
                                      </p:cBhvr>
                                      <p:tavLst>
                                        <p:tav tm="0">
                                          <p:val>
                                            <p:strVal val="#ppt_y-#ppt_h*1.125000"/>
                                          </p:val>
                                        </p:tav>
                                        <p:tav tm="100000">
                                          <p:val>
                                            <p:strVal val="#ppt_y"/>
                                          </p:val>
                                        </p:tav>
                                      </p:tavLst>
                                    </p:anim>
                                    <p:animEffect transition="in" filter="wipe(down)">
                                      <p:cBhvr>
                                        <p:cTn id="199" dur="80"/>
                                        <p:tgtEl>
                                          <p:spTgt spid="146"/>
                                        </p:tgtEl>
                                      </p:cBhvr>
                                    </p:animEffect>
                                  </p:childTnLst>
                                </p:cTn>
                              </p:par>
                              <p:par>
                                <p:cTn id="200" presetID="10" presetClass="exit" presetSubtype="0" fill="hold" grpId="5" nodeType="withEffect">
                                  <p:stCondLst>
                                    <p:cond delay="1200"/>
                                  </p:stCondLst>
                                  <p:childTnLst>
                                    <p:animEffect transition="out" filter="fade">
                                      <p:cBhvr>
                                        <p:cTn id="201" dur="150"/>
                                        <p:tgtEl>
                                          <p:spTgt spid="149"/>
                                        </p:tgtEl>
                                      </p:cBhvr>
                                    </p:animEffect>
                                    <p:set>
                                      <p:cBhvr>
                                        <p:cTn id="202" dur="1" fill="hold">
                                          <p:stCondLst>
                                            <p:cond delay="149"/>
                                          </p:stCondLst>
                                        </p:cTn>
                                        <p:tgtEl>
                                          <p:spTgt spid="149"/>
                                        </p:tgtEl>
                                        <p:attrNameLst>
                                          <p:attrName>style.visibility</p:attrName>
                                        </p:attrNameLst>
                                      </p:cBhvr>
                                      <p:to>
                                        <p:strVal val="hidden"/>
                                      </p:to>
                                    </p:set>
                                  </p:childTnLst>
                                </p:cTn>
                              </p:par>
                              <p:par>
                                <p:cTn id="203" presetID="10" presetClass="entr" presetSubtype="0" fill="hold" grpId="2" nodeType="withEffect">
                                  <p:stCondLst>
                                    <p:cond delay="1200"/>
                                  </p:stCondLst>
                                  <p:childTnLst>
                                    <p:set>
                                      <p:cBhvr>
                                        <p:cTn id="204" dur="1" fill="hold">
                                          <p:stCondLst>
                                            <p:cond delay="0"/>
                                          </p:stCondLst>
                                        </p:cTn>
                                        <p:tgtEl>
                                          <p:spTgt spid="150"/>
                                        </p:tgtEl>
                                        <p:attrNameLst>
                                          <p:attrName>style.visibility</p:attrName>
                                        </p:attrNameLst>
                                      </p:cBhvr>
                                      <p:to>
                                        <p:strVal val="visible"/>
                                      </p:to>
                                    </p:set>
                                    <p:animEffect transition="in" filter="fade">
                                      <p:cBhvr>
                                        <p:cTn id="205" dur="150"/>
                                        <p:tgtEl>
                                          <p:spTgt spid="150"/>
                                        </p:tgtEl>
                                      </p:cBhvr>
                                    </p:animEffect>
                                  </p:childTnLst>
                                </p:cTn>
                              </p:par>
                              <p:par>
                                <p:cTn id="206" presetID="42" presetClass="path" presetSubtype="0" accel="50000" decel="50000" fill="hold" grpId="0" nodeType="withEffect">
                                  <p:stCondLst>
                                    <p:cond delay="1200"/>
                                  </p:stCondLst>
                                  <p:childTnLst>
                                    <p:animMotion origin="layout" path="M 1.04167E-6 -2.59259E-6 L -0.00013 0.20139 " pathEditMode="relative" rAng="0" ptsTypes="AA">
                                      <p:cBhvr>
                                        <p:cTn id="207" dur="150" fill="hold"/>
                                        <p:tgtEl>
                                          <p:spTgt spid="146"/>
                                        </p:tgtEl>
                                        <p:attrNameLst>
                                          <p:attrName>ppt_x</p:attrName>
                                          <p:attrName>ppt_y</p:attrName>
                                        </p:attrNameLst>
                                      </p:cBhvr>
                                      <p:rCtr x="-13" y="10069"/>
                                    </p:animMotion>
                                  </p:childTnLst>
                                </p:cTn>
                              </p:par>
                              <p:par>
                                <p:cTn id="208" presetID="22" presetClass="entr" presetSubtype="4" fill="hold" grpId="3" nodeType="withEffect">
                                  <p:stCondLst>
                                    <p:cond delay="1250"/>
                                  </p:stCondLst>
                                  <p:childTnLst>
                                    <p:set>
                                      <p:cBhvr>
                                        <p:cTn id="209" dur="1" fill="hold">
                                          <p:stCondLst>
                                            <p:cond delay="0"/>
                                          </p:stCondLst>
                                        </p:cTn>
                                        <p:tgtEl>
                                          <p:spTgt spid="174"/>
                                        </p:tgtEl>
                                        <p:attrNameLst>
                                          <p:attrName>style.visibility</p:attrName>
                                        </p:attrNameLst>
                                      </p:cBhvr>
                                      <p:to>
                                        <p:strVal val="visible"/>
                                      </p:to>
                                    </p:set>
                                    <p:animEffect transition="in" filter="wipe(down)">
                                      <p:cBhvr>
                                        <p:cTn id="210" dur="150"/>
                                        <p:tgtEl>
                                          <p:spTgt spid="174"/>
                                        </p:tgtEl>
                                      </p:cBhvr>
                                    </p:animEffect>
                                  </p:childTnLst>
                                </p:cTn>
                              </p:par>
                              <p:par>
                                <p:cTn id="211" presetID="12" presetClass="entr" presetSubtype="8" fill="hold" grpId="0" nodeType="withEffect">
                                  <p:stCondLst>
                                    <p:cond delay="1300"/>
                                  </p:stCondLst>
                                  <p:childTnLst>
                                    <p:set>
                                      <p:cBhvr>
                                        <p:cTn id="212" dur="1" fill="hold">
                                          <p:stCondLst>
                                            <p:cond delay="0"/>
                                          </p:stCondLst>
                                        </p:cTn>
                                        <p:tgtEl>
                                          <p:spTgt spid="144"/>
                                        </p:tgtEl>
                                        <p:attrNameLst>
                                          <p:attrName>style.visibility</p:attrName>
                                        </p:attrNameLst>
                                      </p:cBhvr>
                                      <p:to>
                                        <p:strVal val="visible"/>
                                      </p:to>
                                    </p:set>
                                    <p:anim calcmode="lin" valueType="num">
                                      <p:cBhvr additive="base">
                                        <p:cTn id="213" dur="80"/>
                                        <p:tgtEl>
                                          <p:spTgt spid="144"/>
                                        </p:tgtEl>
                                        <p:attrNameLst>
                                          <p:attrName>ppt_x</p:attrName>
                                        </p:attrNameLst>
                                      </p:cBhvr>
                                      <p:tavLst>
                                        <p:tav tm="0">
                                          <p:val>
                                            <p:strVal val="#ppt_x-#ppt_w*1.125000"/>
                                          </p:val>
                                        </p:tav>
                                        <p:tav tm="100000">
                                          <p:val>
                                            <p:strVal val="#ppt_x"/>
                                          </p:val>
                                        </p:tav>
                                      </p:tavLst>
                                    </p:anim>
                                    <p:animEffect transition="in" filter="wipe(right)">
                                      <p:cBhvr>
                                        <p:cTn id="214" dur="80"/>
                                        <p:tgtEl>
                                          <p:spTgt spid="144"/>
                                        </p:tgtEl>
                                      </p:cBhvr>
                                    </p:animEffect>
                                  </p:childTnLst>
                                </p:cTn>
                              </p:par>
                              <p:par>
                                <p:cTn id="215" presetID="10" presetClass="exit" presetSubtype="0" fill="hold" grpId="4" nodeType="withEffect">
                                  <p:stCondLst>
                                    <p:cond delay="1300"/>
                                  </p:stCondLst>
                                  <p:childTnLst>
                                    <p:animEffect transition="out" filter="fade">
                                      <p:cBhvr>
                                        <p:cTn id="216" dur="150"/>
                                        <p:tgtEl>
                                          <p:spTgt spid="150"/>
                                        </p:tgtEl>
                                      </p:cBhvr>
                                    </p:animEffect>
                                    <p:set>
                                      <p:cBhvr>
                                        <p:cTn id="217" dur="1" fill="hold">
                                          <p:stCondLst>
                                            <p:cond delay="149"/>
                                          </p:stCondLst>
                                        </p:cTn>
                                        <p:tgtEl>
                                          <p:spTgt spid="150"/>
                                        </p:tgtEl>
                                        <p:attrNameLst>
                                          <p:attrName>style.visibility</p:attrName>
                                        </p:attrNameLst>
                                      </p:cBhvr>
                                      <p:to>
                                        <p:strVal val="hidden"/>
                                      </p:to>
                                    </p:set>
                                  </p:childTnLst>
                                </p:cTn>
                              </p:par>
                              <p:par>
                                <p:cTn id="218" presetID="10" presetClass="entr" presetSubtype="0" fill="hold" grpId="1" nodeType="withEffect">
                                  <p:stCondLst>
                                    <p:cond delay="1400"/>
                                  </p:stCondLst>
                                  <p:childTnLst>
                                    <p:set>
                                      <p:cBhvr>
                                        <p:cTn id="219" dur="1" fill="hold">
                                          <p:stCondLst>
                                            <p:cond delay="0"/>
                                          </p:stCondLst>
                                        </p:cTn>
                                        <p:tgtEl>
                                          <p:spTgt spid="148"/>
                                        </p:tgtEl>
                                        <p:attrNameLst>
                                          <p:attrName>style.visibility</p:attrName>
                                        </p:attrNameLst>
                                      </p:cBhvr>
                                      <p:to>
                                        <p:strVal val="visible"/>
                                      </p:to>
                                    </p:set>
                                    <p:animEffect transition="in" filter="fade">
                                      <p:cBhvr>
                                        <p:cTn id="220" dur="150"/>
                                        <p:tgtEl>
                                          <p:spTgt spid="148"/>
                                        </p:tgtEl>
                                      </p:cBhvr>
                                    </p:animEffect>
                                  </p:childTnLst>
                                </p:cTn>
                              </p:par>
                              <p:par>
                                <p:cTn id="221" presetID="0" presetClass="path" presetSubtype="0" accel="3226" decel="3226" fill="hold" grpId="0" nodeType="withEffect">
                                  <p:stCondLst>
                                    <p:cond delay="0"/>
                                  </p:stCondLst>
                                  <p:childTnLst>
                                    <p:animMotion origin="layout" path="M -0.00013 0.00046 L -0.05299 0.00046 L -0.02656 0.00046 L -0.07904 0.00046 L 0.01328 0.00046 " pathEditMode="relative" ptsTypes="AAAAA">
                                      <p:cBhvr>
                                        <p:cTn id="222" dur="1550" fill="hold"/>
                                        <p:tgtEl>
                                          <p:spTgt spid="124"/>
                                        </p:tgtEl>
                                        <p:attrNameLst>
                                          <p:attrName>ppt_x</p:attrName>
                                          <p:attrName>ppt_y</p:attrName>
                                        </p:attrNameLst>
                                      </p:cBhvr>
                                    </p:animMotion>
                                  </p:childTnLst>
                                </p:cTn>
                              </p:par>
                              <p:par>
                                <p:cTn id="223" presetID="0" presetClass="path" presetSubtype="0" accel="3226" decel="3226" fill="hold" grpId="0" nodeType="withEffect">
                                  <p:stCondLst>
                                    <p:cond delay="0"/>
                                  </p:stCondLst>
                                  <p:childTnLst>
                                    <p:animMotion origin="layout" path="M -1.25E-6 0.00047 L -0.06601 0.00047 L -0.0263 0.00047 L -0.10573 0.00047 L -0.03945 0.00047 L -0.06601 0.00047 " pathEditMode="relative" ptsTypes="AAAAAA">
                                      <p:cBhvr>
                                        <p:cTn id="224" dur="1550" fill="hold"/>
                                        <p:tgtEl>
                                          <p:spTgt spid="125"/>
                                        </p:tgtEl>
                                        <p:attrNameLst>
                                          <p:attrName>ppt_x</p:attrName>
                                          <p:attrName>ppt_y</p:attrName>
                                        </p:attrNameLst>
                                      </p:cBhvr>
                                    </p:animMotion>
                                  </p:childTnLst>
                                </p:cTn>
                              </p:par>
                              <p:par>
                                <p:cTn id="225" presetID="0" presetClass="path" presetSubtype="0" accel="3226" decel="3226" fill="hold" grpId="0" nodeType="withEffect">
                                  <p:stCondLst>
                                    <p:cond delay="0"/>
                                  </p:stCondLst>
                                  <p:childTnLst>
                                    <p:animMotion origin="layout" path="M 3.125E-6 0.00046 L -0.02657 0.00046 L 0.0401 0.00046 L 0.01341 0.00046 L 0.05299 0.00046 L -0.01328 0.00046 " pathEditMode="relative" ptsTypes="AAAAAA">
                                      <p:cBhvr>
                                        <p:cTn id="226" dur="1550" fill="hold"/>
                                        <p:tgtEl>
                                          <p:spTgt spid="111"/>
                                        </p:tgtEl>
                                        <p:attrNameLst>
                                          <p:attrName>ppt_x</p:attrName>
                                          <p:attrName>ppt_y</p:attrName>
                                        </p:attrNameLst>
                                      </p:cBhvr>
                                    </p:animMotion>
                                  </p:childTnLst>
                                </p:cTn>
                              </p:par>
                              <p:par>
                                <p:cTn id="227" presetID="0" presetClass="path" presetSubtype="0" accel="3226" decel="3226" fill="hold" grpId="0" nodeType="withEffect">
                                  <p:stCondLst>
                                    <p:cond delay="0"/>
                                  </p:stCondLst>
                                  <p:childTnLst>
                                    <p:animMotion origin="layout" path="M 5E-6 0.00092 L 0.01355 0.00092 L -0.02578 0.00092 L 0.03985 0.00092 L 0.0668 0.00092 L 0.05313 0.00092 " pathEditMode="relative" ptsTypes="AAAAAA">
                                      <p:cBhvr>
                                        <p:cTn id="228" dur="1550" fill="hold"/>
                                        <p:tgtEl>
                                          <p:spTgt spid="98"/>
                                        </p:tgtEl>
                                        <p:attrNameLst>
                                          <p:attrName>ppt_x</p:attrName>
                                          <p:attrName>ppt_y</p:attrName>
                                        </p:attrNameLst>
                                      </p:cBhvr>
                                    </p:animMotion>
                                  </p:childTnLst>
                                </p:cTn>
                              </p:par>
                              <p:par>
                                <p:cTn id="229" presetID="0" presetClass="path" presetSubtype="0" accel="3226" decel="3226" fill="hold" grpId="0" nodeType="withEffect">
                                  <p:stCondLst>
                                    <p:cond delay="0"/>
                                  </p:stCondLst>
                                  <p:childTnLst>
                                    <p:animMotion origin="layout" path="M -0.00013 0.00047 L 0.0263 0.00047 L -0.01289 0.00047 L 0.03997 0.00047 L -0.05274 0.00047 L -0.02682 0.00047 " pathEditMode="relative" ptsTypes="AAAAAA">
                                      <p:cBhvr>
                                        <p:cTn id="230" dur="1550" fill="hold"/>
                                        <p:tgtEl>
                                          <p:spTgt spid="120"/>
                                        </p:tgtEl>
                                        <p:attrNameLst>
                                          <p:attrName>ppt_x</p:attrName>
                                          <p:attrName>ppt_y</p:attrName>
                                        </p:attrNameLst>
                                      </p:cBhvr>
                                    </p:animMotion>
                                  </p:childTnLst>
                                </p:cTn>
                              </p:par>
                            </p:childTnLst>
                          </p:cTn>
                        </p:par>
                        <p:par>
                          <p:cTn id="231" fill="hold">
                            <p:stCondLst>
                              <p:cond delay="1550"/>
                            </p:stCondLst>
                            <p:childTnLst>
                              <p:par>
                                <p:cTn id="232" presetID="1" presetClass="emph" presetSubtype="2" fill="hold" nodeType="afterEffect">
                                  <p:stCondLst>
                                    <p:cond delay="500"/>
                                  </p:stCondLst>
                                  <p:childTnLst>
                                    <p:animClr clrSpc="rgb" dir="cw">
                                      <p:cBhvr>
                                        <p:cTn id="233" dur="500" fill="hold"/>
                                        <p:tgtEl>
                                          <p:spTgt spid="139"/>
                                        </p:tgtEl>
                                        <p:attrNameLst>
                                          <p:attrName>fillcolor</p:attrName>
                                        </p:attrNameLst>
                                      </p:cBhvr>
                                      <p:to>
                                        <a:srgbClr val="50E6FF"/>
                                      </p:to>
                                    </p:animClr>
                                    <p:set>
                                      <p:cBhvr>
                                        <p:cTn id="234" dur="500" fill="hold"/>
                                        <p:tgtEl>
                                          <p:spTgt spid="139"/>
                                        </p:tgtEl>
                                        <p:attrNameLst>
                                          <p:attrName>fill.type</p:attrName>
                                        </p:attrNameLst>
                                      </p:cBhvr>
                                      <p:to>
                                        <p:strVal val="solid"/>
                                      </p:to>
                                    </p:set>
                                    <p:set>
                                      <p:cBhvr>
                                        <p:cTn id="235" dur="500" fill="hold"/>
                                        <p:tgtEl>
                                          <p:spTgt spid="139"/>
                                        </p:tgtEl>
                                        <p:attrNameLst>
                                          <p:attrName>fill.on</p:attrName>
                                        </p:attrNameLst>
                                      </p:cBhvr>
                                      <p:to>
                                        <p:strVal val="true"/>
                                      </p:to>
                                    </p:set>
                                  </p:childTnLst>
                                </p:cTn>
                              </p:par>
                              <p:par>
                                <p:cTn id="236" presetID="3" presetClass="emph" presetSubtype="2" fill="hold" grpId="2" nodeType="withEffect">
                                  <p:stCondLst>
                                    <p:cond delay="500"/>
                                  </p:stCondLst>
                                  <p:childTnLst>
                                    <p:animClr clrSpc="rgb" dir="cw">
                                      <p:cBhvr override="childStyle">
                                        <p:cTn id="237" dur="500" fill="hold"/>
                                        <p:tgtEl>
                                          <p:spTgt spid="139"/>
                                        </p:tgtEl>
                                        <p:attrNameLst>
                                          <p:attrName>style.color</p:attrName>
                                        </p:attrNameLst>
                                      </p:cBhvr>
                                      <p:to>
                                        <a:srgbClr val="0000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6" grpId="1" animBg="1"/>
      <p:bldP spid="136" grpId="2" animBg="1"/>
      <p:bldP spid="147" grpId="0" animBg="1"/>
      <p:bldP spid="147" grpId="1" animBg="1"/>
      <p:bldP spid="147" grpId="2" animBg="1"/>
      <p:bldP spid="147" grpId="3" animBg="1"/>
      <p:bldP spid="147" grpId="4" animBg="1"/>
      <p:bldP spid="147" grpId="5" animBg="1"/>
      <p:bldP spid="148" grpId="0" animBg="1"/>
      <p:bldP spid="148" grpId="1" animBg="1"/>
      <p:bldP spid="148" grpId="2" animBg="1"/>
      <p:bldP spid="148" grpId="3" animBg="1"/>
      <p:bldP spid="148" grpId="4" animBg="1"/>
      <p:bldP spid="149" grpId="0" animBg="1"/>
      <p:bldP spid="149" grpId="1" animBg="1"/>
      <p:bldP spid="149" grpId="2" animBg="1"/>
      <p:bldP spid="149" grpId="3" animBg="1"/>
      <p:bldP spid="149" grpId="4" animBg="1"/>
      <p:bldP spid="149" grpId="5" animBg="1"/>
      <p:bldP spid="150" grpId="0" animBg="1"/>
      <p:bldP spid="150" grpId="1" animBg="1"/>
      <p:bldP spid="150" grpId="2" animBg="1"/>
      <p:bldP spid="150" grpId="3" animBg="1"/>
      <p:bldP spid="150" grpId="4" animBg="1"/>
      <p:bldP spid="150" grpId="5" animBg="1"/>
      <p:bldP spid="80" grpId="0" animBg="1"/>
      <p:bldP spid="90" grpId="0" animBg="1"/>
      <p:bldP spid="90" grpId="1" animBg="1"/>
      <p:bldP spid="91" grpId="0" animBg="1"/>
      <p:bldP spid="91" grpId="1" animBg="1"/>
      <p:bldP spid="123" grpId="0" animBg="1"/>
      <p:bldP spid="123" grpId="1" animBg="1"/>
      <p:bldP spid="137" grpId="0" animBg="1"/>
      <p:bldP spid="137" grpId="1" animBg="1"/>
      <p:bldP spid="138" grpId="0" animBg="1"/>
      <p:bldP spid="138" grpId="1" animBg="1"/>
      <p:bldP spid="139" grpId="0" animBg="1"/>
      <p:bldP spid="139" grpId="1" animBg="1"/>
      <p:bldP spid="139" grpId="2" animBg="1"/>
      <p:bldP spid="140" grpId="0" animBg="1"/>
      <p:bldP spid="140" grpId="1" animBg="1"/>
      <p:bldP spid="141" grpId="0" animBg="1"/>
      <p:bldP spid="141" grpId="1" animBg="1"/>
      <p:bldP spid="142" grpId="0" animBg="1"/>
      <p:bldP spid="142" grpId="1" animBg="1"/>
      <p:bldP spid="143" grpId="0" animBg="1"/>
      <p:bldP spid="143" grpId="1" animBg="1"/>
      <p:bldP spid="144" grpId="0" animBg="1"/>
      <p:bldP spid="145" grpId="0" animBg="1"/>
      <p:bldP spid="145" grpId="1" animBg="1"/>
      <p:bldP spid="146" grpId="0" animBg="1"/>
      <p:bldP spid="146" grpId="1" animBg="1"/>
      <p:bldP spid="98" grpId="0" animBg="1"/>
      <p:bldP spid="111" grpId="0" animBg="1"/>
      <p:bldP spid="124" grpId="0" animBg="1"/>
      <p:bldP spid="125" grpId="0" animBg="1"/>
      <p:bldP spid="164" grpId="0" animBg="1"/>
      <p:bldP spid="164" grpId="1" animBg="1"/>
      <p:bldP spid="164" grpId="2" animBg="1"/>
      <p:bldP spid="164" grpId="3" animBg="1"/>
      <p:bldP spid="164" grpId="4" animBg="1"/>
      <p:bldP spid="171" grpId="0" animBg="1"/>
      <p:bldP spid="171" grpId="1" animBg="1"/>
      <p:bldP spid="171" grpId="2" animBg="1"/>
      <p:bldP spid="173" grpId="0" animBg="1"/>
      <p:bldP spid="173" grpId="1" animBg="1"/>
      <p:bldP spid="173" grpId="2" animBg="1"/>
      <p:bldP spid="173" grpId="3" animBg="1"/>
      <p:bldP spid="173" grpId="4" animBg="1"/>
      <p:bldP spid="174" grpId="0" animBg="1"/>
      <p:bldP spid="174" grpId="1" animBg="1"/>
      <p:bldP spid="174" grpId="2" animBg="1"/>
      <p:bldP spid="174" grpId="3" animBg="1"/>
      <p:bldP spid="175" grpId="0" animBg="1"/>
      <p:bldP spid="175" grpId="1" animBg="1"/>
      <p:bldP spid="175" grpId="2" animBg="1"/>
      <p:bldP spid="12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C4C1EBAD-99B4-4706-8B9B-A388FD36E136}"/>
              </a:ext>
            </a:extLst>
          </p:cNvPr>
          <p:cNvSpPr/>
          <p:nvPr/>
        </p:nvSpPr>
        <p:spPr bwMode="auto">
          <a:xfrm>
            <a:off x="10260315" y="3545902"/>
            <a:ext cx="627990" cy="2398098"/>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6850986F-25EF-462E-AFE9-B47AC9F7A7CB}"/>
              </a:ext>
            </a:extLst>
          </p:cNvPr>
          <p:cNvGrpSpPr/>
          <p:nvPr/>
        </p:nvGrpSpPr>
        <p:grpSpPr>
          <a:xfrm>
            <a:off x="3768656" y="2736507"/>
            <a:ext cx="4654688" cy="3207835"/>
            <a:chOff x="3768656" y="2736507"/>
            <a:chExt cx="4654688" cy="3207835"/>
          </a:xfrm>
        </p:grpSpPr>
        <p:sp>
          <p:nvSpPr>
            <p:cNvPr id="54" name="Rectangle 53">
              <a:extLst>
                <a:ext uri="{FF2B5EF4-FFF2-40B4-BE49-F238E27FC236}">
                  <a16:creationId xmlns:a16="http://schemas.microsoft.com/office/drawing/2014/main" id="{2F280D36-48C5-447B-B202-4C95CFA079B5}"/>
                </a:ext>
              </a:extLst>
            </p:cNvPr>
            <p:cNvSpPr/>
            <p:nvPr/>
          </p:nvSpPr>
          <p:spPr bwMode="auto">
            <a:xfrm>
              <a:off x="7638318"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911B5D77-C0C2-4145-BD1A-23C098262C5A}"/>
                </a:ext>
              </a:extLst>
            </p:cNvPr>
            <p:cNvSpPr/>
            <p:nvPr/>
          </p:nvSpPr>
          <p:spPr bwMode="auto">
            <a:xfrm>
              <a:off x="3768656"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46F07090-D3E6-4F22-840A-A1A7876F0CB0}"/>
                </a:ext>
              </a:extLst>
            </p:cNvPr>
            <p:cNvSpPr/>
            <p:nvPr/>
          </p:nvSpPr>
          <p:spPr bwMode="auto">
            <a:xfrm>
              <a:off x="3768656"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151BDBBC-CBDB-454C-86CB-D40DD7A8FCAE}"/>
                </a:ext>
              </a:extLst>
            </p:cNvPr>
            <p:cNvSpPr/>
            <p:nvPr/>
          </p:nvSpPr>
          <p:spPr bwMode="auto">
            <a:xfrm>
              <a:off x="3768656"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729D55AD-1FD2-44DE-A533-2064B590377F}"/>
                </a:ext>
              </a:extLst>
            </p:cNvPr>
            <p:cNvSpPr/>
            <p:nvPr/>
          </p:nvSpPr>
          <p:spPr bwMode="auto">
            <a:xfrm>
              <a:off x="3768656"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46646093-E38D-416A-A6FB-7A79E33EF466}"/>
                </a:ext>
              </a:extLst>
            </p:cNvPr>
            <p:cNvSpPr/>
            <p:nvPr/>
          </p:nvSpPr>
          <p:spPr bwMode="auto">
            <a:xfrm>
              <a:off x="3768656"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2AD37EB6-3E23-4256-AC82-87CD99253BA7}"/>
                </a:ext>
              </a:extLst>
            </p:cNvPr>
            <p:cNvSpPr/>
            <p:nvPr/>
          </p:nvSpPr>
          <p:spPr bwMode="auto">
            <a:xfrm>
              <a:off x="4736071"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51E1F55E-0711-4784-B8DB-762D99B7512C}"/>
                </a:ext>
              </a:extLst>
            </p:cNvPr>
            <p:cNvSpPr/>
            <p:nvPr/>
          </p:nvSpPr>
          <p:spPr bwMode="auto">
            <a:xfrm>
              <a:off x="4736071"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216754CB-9E46-4C69-9476-B1D1F92DEC53}"/>
                </a:ext>
              </a:extLst>
            </p:cNvPr>
            <p:cNvSpPr/>
            <p:nvPr/>
          </p:nvSpPr>
          <p:spPr bwMode="auto">
            <a:xfrm>
              <a:off x="4736071"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83BE506A-5DAA-4185-95F5-34E93169B513}"/>
                </a:ext>
              </a:extLst>
            </p:cNvPr>
            <p:cNvSpPr/>
            <p:nvPr/>
          </p:nvSpPr>
          <p:spPr bwMode="auto">
            <a:xfrm>
              <a:off x="4736071"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FB0E5C7B-D9FC-46F4-9BC4-F675B3D147F1}"/>
                </a:ext>
              </a:extLst>
            </p:cNvPr>
            <p:cNvSpPr/>
            <p:nvPr/>
          </p:nvSpPr>
          <p:spPr bwMode="auto">
            <a:xfrm>
              <a:off x="4736071"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122F9112-C498-41E6-B942-83CE8CDB695B}"/>
                </a:ext>
              </a:extLst>
            </p:cNvPr>
            <p:cNvSpPr/>
            <p:nvPr/>
          </p:nvSpPr>
          <p:spPr bwMode="auto">
            <a:xfrm>
              <a:off x="5703486"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9284BF3E-7D38-4F0E-8CE7-187DB72A64A6}"/>
                </a:ext>
              </a:extLst>
            </p:cNvPr>
            <p:cNvSpPr/>
            <p:nvPr/>
          </p:nvSpPr>
          <p:spPr bwMode="auto">
            <a:xfrm>
              <a:off x="5703486"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33CA47B7-CC0F-4BC6-B542-2B5E008C7CDD}"/>
                </a:ext>
              </a:extLst>
            </p:cNvPr>
            <p:cNvSpPr/>
            <p:nvPr/>
          </p:nvSpPr>
          <p:spPr bwMode="auto">
            <a:xfrm>
              <a:off x="5703486"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9D39ECB3-6E34-4CC1-BA3B-3381CCD0D7B2}"/>
                </a:ext>
              </a:extLst>
            </p:cNvPr>
            <p:cNvSpPr/>
            <p:nvPr/>
          </p:nvSpPr>
          <p:spPr bwMode="auto">
            <a:xfrm>
              <a:off x="5703486"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577A7A81-C685-4E8A-ACC7-BB0CCB1B8BC8}"/>
                </a:ext>
              </a:extLst>
            </p:cNvPr>
            <p:cNvSpPr/>
            <p:nvPr/>
          </p:nvSpPr>
          <p:spPr bwMode="auto">
            <a:xfrm>
              <a:off x="5703486"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85AB8895-B7EE-4D06-85DD-C090D731E57B}"/>
                </a:ext>
              </a:extLst>
            </p:cNvPr>
            <p:cNvSpPr/>
            <p:nvPr/>
          </p:nvSpPr>
          <p:spPr bwMode="auto">
            <a:xfrm>
              <a:off x="6670901"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F8C7BCEA-2BBE-4C8C-AB56-2ED6CAE5D49D}"/>
                </a:ext>
              </a:extLst>
            </p:cNvPr>
            <p:cNvSpPr/>
            <p:nvPr/>
          </p:nvSpPr>
          <p:spPr bwMode="auto">
            <a:xfrm>
              <a:off x="6670901"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3F7D14D3-6831-4949-9821-E1AECEEFC079}"/>
                </a:ext>
              </a:extLst>
            </p:cNvPr>
            <p:cNvSpPr/>
            <p:nvPr/>
          </p:nvSpPr>
          <p:spPr bwMode="auto">
            <a:xfrm>
              <a:off x="6670901" y="4085734"/>
              <a:ext cx="785026" cy="508572"/>
            </a:xfrm>
            <a:prstGeom prst="rect">
              <a:avLst/>
            </a:prstGeom>
            <a:solidFill>
              <a:schemeClr val="bg2"/>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652576AB-3056-454D-9838-42C062584668}"/>
                </a:ext>
              </a:extLst>
            </p:cNvPr>
            <p:cNvSpPr/>
            <p:nvPr/>
          </p:nvSpPr>
          <p:spPr bwMode="auto">
            <a:xfrm>
              <a:off x="6670901"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AFD01C8B-464C-45EE-88E6-3BE6CDBFE865}"/>
                </a:ext>
              </a:extLst>
            </p:cNvPr>
            <p:cNvSpPr/>
            <p:nvPr/>
          </p:nvSpPr>
          <p:spPr bwMode="auto">
            <a:xfrm>
              <a:off x="6670901"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A04224F8-EF3B-4190-9FA6-1AD26DC0CB6C}"/>
                </a:ext>
              </a:extLst>
            </p:cNvPr>
            <p:cNvSpPr/>
            <p:nvPr/>
          </p:nvSpPr>
          <p:spPr bwMode="auto">
            <a:xfrm>
              <a:off x="7638318"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69DD1ED9-5170-4CD2-A03F-FFE54E0B6EB4}"/>
                </a:ext>
              </a:extLst>
            </p:cNvPr>
            <p:cNvSpPr/>
            <p:nvPr/>
          </p:nvSpPr>
          <p:spPr bwMode="auto">
            <a:xfrm>
              <a:off x="7638318"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958144E3-5EE1-4ACA-857B-25FAB64D3CE8}"/>
                </a:ext>
              </a:extLst>
            </p:cNvPr>
            <p:cNvSpPr/>
            <p:nvPr/>
          </p:nvSpPr>
          <p:spPr bwMode="auto">
            <a:xfrm>
              <a:off x="7638318"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68435E11-A669-4147-9B5B-702060863759}"/>
                </a:ext>
              </a:extLst>
            </p:cNvPr>
            <p:cNvSpPr/>
            <p:nvPr/>
          </p:nvSpPr>
          <p:spPr bwMode="auto">
            <a:xfrm>
              <a:off x="7638318"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2" name="Rectangle 91">
            <a:extLst>
              <a:ext uri="{FF2B5EF4-FFF2-40B4-BE49-F238E27FC236}">
                <a16:creationId xmlns:a16="http://schemas.microsoft.com/office/drawing/2014/main" id="{76F03795-B707-4403-8A51-C424E70CB4DB}"/>
              </a:ext>
            </a:extLst>
          </p:cNvPr>
          <p:cNvSpPr/>
          <p:nvPr/>
        </p:nvSpPr>
        <p:spPr bwMode="auto">
          <a:xfrm>
            <a:off x="7638318" y="5435770"/>
            <a:ext cx="785026" cy="508572"/>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Rectangle 205">
            <a:extLst>
              <a:ext uri="{FF2B5EF4-FFF2-40B4-BE49-F238E27FC236}">
                <a16:creationId xmlns:a16="http://schemas.microsoft.com/office/drawing/2014/main" id="{8D4B9434-C667-4D5C-9D51-409FE8A78B2D}"/>
              </a:ext>
            </a:extLst>
          </p:cNvPr>
          <p:cNvSpPr/>
          <p:nvPr/>
        </p:nvSpPr>
        <p:spPr bwMode="auto">
          <a:xfrm>
            <a:off x="3768656" y="5435770"/>
            <a:ext cx="785026" cy="508572"/>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Rectangle 206">
            <a:extLst>
              <a:ext uri="{FF2B5EF4-FFF2-40B4-BE49-F238E27FC236}">
                <a16:creationId xmlns:a16="http://schemas.microsoft.com/office/drawing/2014/main" id="{87158868-88E1-4F87-9176-674B6F20E510}"/>
              </a:ext>
            </a:extLst>
          </p:cNvPr>
          <p:cNvSpPr/>
          <p:nvPr/>
        </p:nvSpPr>
        <p:spPr bwMode="auto">
          <a:xfrm>
            <a:off x="4736071" y="2736507"/>
            <a:ext cx="785026" cy="508572"/>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Rectangle 207">
            <a:extLst>
              <a:ext uri="{FF2B5EF4-FFF2-40B4-BE49-F238E27FC236}">
                <a16:creationId xmlns:a16="http://schemas.microsoft.com/office/drawing/2014/main" id="{E7D7F2FF-0BE7-4CDA-B98A-490AD764A8AB}"/>
              </a:ext>
            </a:extLst>
          </p:cNvPr>
          <p:cNvSpPr/>
          <p:nvPr/>
        </p:nvSpPr>
        <p:spPr bwMode="auto">
          <a:xfrm>
            <a:off x="4736071" y="4761390"/>
            <a:ext cx="785026" cy="508572"/>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Rectangle 208">
            <a:extLst>
              <a:ext uri="{FF2B5EF4-FFF2-40B4-BE49-F238E27FC236}">
                <a16:creationId xmlns:a16="http://schemas.microsoft.com/office/drawing/2014/main" id="{A01BB4A5-07ED-4097-8C35-52BD90A6CE81}"/>
              </a:ext>
            </a:extLst>
          </p:cNvPr>
          <p:cNvSpPr/>
          <p:nvPr/>
        </p:nvSpPr>
        <p:spPr bwMode="auto">
          <a:xfrm>
            <a:off x="6670901" y="4085734"/>
            <a:ext cx="785026" cy="508572"/>
          </a:xfrm>
          <a:prstGeom prst="rect">
            <a:avLst/>
          </a:prstGeom>
          <a:solidFill>
            <a:srgbClr val="B8D0E2"/>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Rectangle 209">
            <a:extLst>
              <a:ext uri="{FF2B5EF4-FFF2-40B4-BE49-F238E27FC236}">
                <a16:creationId xmlns:a16="http://schemas.microsoft.com/office/drawing/2014/main" id="{170AB3A0-9CA8-4E81-B798-5DA14A42FEDC}"/>
              </a:ext>
            </a:extLst>
          </p:cNvPr>
          <p:cNvSpPr/>
          <p:nvPr/>
        </p:nvSpPr>
        <p:spPr bwMode="auto">
          <a:xfrm>
            <a:off x="7638318" y="3411121"/>
            <a:ext cx="785026" cy="508572"/>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Rectangle 146">
            <a:extLst>
              <a:ext uri="{FF2B5EF4-FFF2-40B4-BE49-F238E27FC236}">
                <a16:creationId xmlns:a16="http://schemas.microsoft.com/office/drawing/2014/main" id="{8802926F-928E-4C99-BCA6-C50A340B4827}"/>
              </a:ext>
            </a:extLst>
          </p:cNvPr>
          <p:cNvSpPr/>
          <p:nvPr/>
        </p:nvSpPr>
        <p:spPr>
          <a:xfrm>
            <a:off x="826327" y="3495309"/>
            <a:ext cx="159563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Enter data</a:t>
            </a:r>
          </a:p>
        </p:txBody>
      </p:sp>
      <p:sp>
        <p:nvSpPr>
          <p:cNvPr id="148" name="Rectangle 147">
            <a:extLst>
              <a:ext uri="{FF2B5EF4-FFF2-40B4-BE49-F238E27FC236}">
                <a16:creationId xmlns:a16="http://schemas.microsoft.com/office/drawing/2014/main" id="{C8B504DD-81B2-4C36-98A7-1A6BE77AB9CC}"/>
              </a:ext>
            </a:extLst>
          </p:cNvPr>
          <p:cNvSpPr/>
          <p:nvPr/>
        </p:nvSpPr>
        <p:spPr>
          <a:xfrm>
            <a:off x="818596" y="4504823"/>
            <a:ext cx="161109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Define goals</a:t>
            </a:r>
          </a:p>
        </p:txBody>
      </p:sp>
      <p:sp>
        <p:nvSpPr>
          <p:cNvPr id="149" name="Rectangle 148">
            <a:extLst>
              <a:ext uri="{FF2B5EF4-FFF2-40B4-BE49-F238E27FC236}">
                <a16:creationId xmlns:a16="http://schemas.microsoft.com/office/drawing/2014/main" id="{C858710D-2E37-4079-A01B-AC799219DA2A}"/>
              </a:ext>
            </a:extLst>
          </p:cNvPr>
          <p:cNvSpPr/>
          <p:nvPr/>
        </p:nvSpPr>
        <p:spPr>
          <a:xfrm>
            <a:off x="818596" y="5514337"/>
            <a:ext cx="161109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Apply constraints</a:t>
            </a:r>
          </a:p>
        </p:txBody>
      </p:sp>
      <p:sp>
        <p:nvSpPr>
          <p:cNvPr id="18" name="Rectangle 17">
            <a:extLst>
              <a:ext uri="{FF2B5EF4-FFF2-40B4-BE49-F238E27FC236}">
                <a16:creationId xmlns:a16="http://schemas.microsoft.com/office/drawing/2014/main" id="{E3CB927C-248B-41A1-AFD0-3C4D3735AD94}"/>
              </a:ext>
            </a:extLst>
          </p:cNvPr>
          <p:cNvSpPr/>
          <p:nvPr/>
        </p:nvSpPr>
        <p:spPr bwMode="auto">
          <a:xfrm>
            <a:off x="9425284" y="1931874"/>
            <a:ext cx="2298048" cy="4001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Output</a:t>
            </a:r>
          </a:p>
        </p:txBody>
      </p:sp>
      <p:sp>
        <p:nvSpPr>
          <p:cNvPr id="64" name="Title 2"/>
          <p:cNvSpPr>
            <a:spLocks noGrp="1"/>
          </p:cNvSpPr>
          <p:nvPr>
            <p:ph type="title"/>
          </p:nvPr>
        </p:nvSpPr>
        <p:spPr>
          <a:xfrm>
            <a:off x="487219" y="244142"/>
            <a:ext cx="11476219" cy="1107996"/>
          </a:xfrm>
        </p:spPr>
        <p:txBody>
          <a:bodyPr>
            <a:noAutofit/>
          </a:bodyPr>
          <a:lstStyle/>
          <a:p>
            <a:r>
              <a:rPr lang="en-US">
                <a:latin typeface="Segoe UI Light" panose="020B0502040204020203" pitchFamily="34" charset="0"/>
                <a:cs typeface="Segoe UI Light" panose="020B0502040204020203" pitchFamily="34" charset="0"/>
              </a:rPr>
              <a:t>Automated ML Accelerates Model Development </a:t>
            </a:r>
            <a:endParaRPr lang="en-US" spc="0">
              <a:ln>
                <a:noFill/>
              </a:ln>
              <a:solidFill>
                <a:srgbClr val="0078D4"/>
              </a:solidFill>
              <a:latin typeface="Segoe UI Light" panose="020B0502040204020203" pitchFamily="34" charset="0"/>
              <a:cs typeface="Segoe UI Light" panose="020B0502040204020203" pitchFamily="34" charset="0"/>
            </a:endParaRPr>
          </a:p>
        </p:txBody>
      </p:sp>
      <p:sp>
        <p:nvSpPr>
          <p:cNvPr id="150" name="Rectangle 149">
            <a:extLst>
              <a:ext uri="{FF2B5EF4-FFF2-40B4-BE49-F238E27FC236}">
                <a16:creationId xmlns:a16="http://schemas.microsoft.com/office/drawing/2014/main" id="{59D6A392-230C-4B26-9F20-B4A0E248B97E}"/>
              </a:ext>
            </a:extLst>
          </p:cNvPr>
          <p:cNvSpPr/>
          <p:nvPr/>
        </p:nvSpPr>
        <p:spPr>
          <a:xfrm>
            <a:off x="471715" y="1935726"/>
            <a:ext cx="2298048"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Input</a:t>
            </a:r>
          </a:p>
        </p:txBody>
      </p:sp>
      <p:sp>
        <p:nvSpPr>
          <p:cNvPr id="32" name="Isosceles Triangle 31">
            <a:extLst>
              <a:ext uri="{FF2B5EF4-FFF2-40B4-BE49-F238E27FC236}">
                <a16:creationId xmlns:a16="http://schemas.microsoft.com/office/drawing/2014/main" id="{A8E8B731-2F28-4A34-834B-B2F0FBC2414D}"/>
              </a:ext>
            </a:extLst>
          </p:cNvPr>
          <p:cNvSpPr/>
          <p:nvPr/>
        </p:nvSpPr>
        <p:spPr>
          <a:xfrm rot="5400000">
            <a:off x="2130978" y="4293013"/>
            <a:ext cx="2099978" cy="318091"/>
          </a:xfrm>
          <a:custGeom>
            <a:avLst/>
            <a:gdLst>
              <a:gd name="connsiteX0" fmla="*/ 0 w 3934939"/>
              <a:gd name="connsiteY0" fmla="*/ 384890 h 384890"/>
              <a:gd name="connsiteX1" fmla="*/ 1967470 w 3934939"/>
              <a:gd name="connsiteY1" fmla="*/ 0 h 384890"/>
              <a:gd name="connsiteX2" fmla="*/ 3934939 w 3934939"/>
              <a:gd name="connsiteY2" fmla="*/ 384890 h 384890"/>
              <a:gd name="connsiteX3" fmla="*/ 0 w 3934939"/>
              <a:gd name="connsiteY3" fmla="*/ 384890 h 384890"/>
              <a:gd name="connsiteX0" fmla="*/ 0 w 3934939"/>
              <a:gd name="connsiteY0" fmla="*/ 384890 h 469590"/>
              <a:gd name="connsiteX1" fmla="*/ 1967470 w 3934939"/>
              <a:gd name="connsiteY1" fmla="*/ 0 h 469590"/>
              <a:gd name="connsiteX2" fmla="*/ 3934939 w 3934939"/>
              <a:gd name="connsiteY2" fmla="*/ 384890 h 469590"/>
              <a:gd name="connsiteX3" fmla="*/ 2070893 w 3934939"/>
              <a:gd name="connsiteY3" fmla="*/ 469590 h 469590"/>
              <a:gd name="connsiteX4" fmla="*/ 0 w 3934939"/>
              <a:gd name="connsiteY4" fmla="*/ 384890 h 469590"/>
              <a:gd name="connsiteX0" fmla="*/ 2070893 w 3934939"/>
              <a:gd name="connsiteY0" fmla="*/ 469590 h 561030"/>
              <a:gd name="connsiteX1" fmla="*/ 0 w 3934939"/>
              <a:gd name="connsiteY1" fmla="*/ 384890 h 561030"/>
              <a:gd name="connsiteX2" fmla="*/ 1967470 w 3934939"/>
              <a:gd name="connsiteY2" fmla="*/ 0 h 561030"/>
              <a:gd name="connsiteX3" fmla="*/ 3934939 w 3934939"/>
              <a:gd name="connsiteY3" fmla="*/ 384890 h 561030"/>
              <a:gd name="connsiteX4" fmla="*/ 2162333 w 3934939"/>
              <a:gd name="connsiteY4" fmla="*/ 561030 h 561030"/>
              <a:gd name="connsiteX0" fmla="*/ 0 w 3934939"/>
              <a:gd name="connsiteY0" fmla="*/ 384890 h 561030"/>
              <a:gd name="connsiteX1" fmla="*/ 1967470 w 3934939"/>
              <a:gd name="connsiteY1" fmla="*/ 0 h 561030"/>
              <a:gd name="connsiteX2" fmla="*/ 3934939 w 3934939"/>
              <a:gd name="connsiteY2" fmla="*/ 384890 h 561030"/>
              <a:gd name="connsiteX3" fmla="*/ 2162333 w 3934939"/>
              <a:gd name="connsiteY3" fmla="*/ 561030 h 561030"/>
              <a:gd name="connsiteX0" fmla="*/ 0 w 3934939"/>
              <a:gd name="connsiteY0" fmla="*/ 384890 h 384890"/>
              <a:gd name="connsiteX1" fmla="*/ 1967470 w 3934939"/>
              <a:gd name="connsiteY1" fmla="*/ 0 h 384890"/>
              <a:gd name="connsiteX2" fmla="*/ 3934939 w 3934939"/>
              <a:gd name="connsiteY2" fmla="*/ 384890 h 384890"/>
            </a:gdLst>
            <a:ahLst/>
            <a:cxnLst>
              <a:cxn ang="0">
                <a:pos x="connsiteX0" y="connsiteY0"/>
              </a:cxn>
              <a:cxn ang="0">
                <a:pos x="connsiteX1" y="connsiteY1"/>
              </a:cxn>
              <a:cxn ang="0">
                <a:pos x="connsiteX2" y="connsiteY2"/>
              </a:cxn>
            </a:cxnLst>
            <a:rect l="l" t="t" r="r" b="b"/>
            <a:pathLst>
              <a:path w="3934939" h="384890">
                <a:moveTo>
                  <a:pt x="0" y="384890"/>
                </a:moveTo>
                <a:lnTo>
                  <a:pt x="1967470" y="0"/>
                </a:lnTo>
                <a:lnTo>
                  <a:pt x="3934939" y="384890"/>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1" name="Isosceles Triangle 70">
            <a:extLst>
              <a:ext uri="{FF2B5EF4-FFF2-40B4-BE49-F238E27FC236}">
                <a16:creationId xmlns:a16="http://schemas.microsoft.com/office/drawing/2014/main" id="{974664E9-2BCA-4C60-950C-8E23DBE06A88}"/>
              </a:ext>
            </a:extLst>
          </p:cNvPr>
          <p:cNvSpPr/>
          <p:nvPr/>
        </p:nvSpPr>
        <p:spPr>
          <a:xfrm rot="5400000">
            <a:off x="8145468" y="4331141"/>
            <a:ext cx="2099980" cy="266412"/>
          </a:xfrm>
          <a:custGeom>
            <a:avLst/>
            <a:gdLst>
              <a:gd name="connsiteX0" fmla="*/ 0 w 3934939"/>
              <a:gd name="connsiteY0" fmla="*/ 322358 h 322358"/>
              <a:gd name="connsiteX1" fmla="*/ 1967470 w 3934939"/>
              <a:gd name="connsiteY1" fmla="*/ 0 h 322358"/>
              <a:gd name="connsiteX2" fmla="*/ 3934939 w 3934939"/>
              <a:gd name="connsiteY2" fmla="*/ 322358 h 322358"/>
              <a:gd name="connsiteX3" fmla="*/ 0 w 3934939"/>
              <a:gd name="connsiteY3" fmla="*/ 322358 h 322358"/>
              <a:gd name="connsiteX0" fmla="*/ 0 w 3934939"/>
              <a:gd name="connsiteY0" fmla="*/ 322358 h 631863"/>
              <a:gd name="connsiteX1" fmla="*/ 1967470 w 3934939"/>
              <a:gd name="connsiteY1" fmla="*/ 0 h 631863"/>
              <a:gd name="connsiteX2" fmla="*/ 3934939 w 3934939"/>
              <a:gd name="connsiteY2" fmla="*/ 322358 h 631863"/>
              <a:gd name="connsiteX3" fmla="*/ 2029576 w 3934939"/>
              <a:gd name="connsiteY3" fmla="*/ 631863 h 631863"/>
              <a:gd name="connsiteX4" fmla="*/ 0 w 3934939"/>
              <a:gd name="connsiteY4" fmla="*/ 322358 h 631863"/>
              <a:gd name="connsiteX0" fmla="*/ 2029576 w 3934939"/>
              <a:gd name="connsiteY0" fmla="*/ 631863 h 723303"/>
              <a:gd name="connsiteX1" fmla="*/ 0 w 3934939"/>
              <a:gd name="connsiteY1" fmla="*/ 322358 h 723303"/>
              <a:gd name="connsiteX2" fmla="*/ 1967470 w 3934939"/>
              <a:gd name="connsiteY2" fmla="*/ 0 h 723303"/>
              <a:gd name="connsiteX3" fmla="*/ 3934939 w 3934939"/>
              <a:gd name="connsiteY3" fmla="*/ 322358 h 723303"/>
              <a:gd name="connsiteX4" fmla="*/ 2121016 w 3934939"/>
              <a:gd name="connsiteY4" fmla="*/ 723303 h 723303"/>
              <a:gd name="connsiteX0" fmla="*/ 0 w 3934939"/>
              <a:gd name="connsiteY0" fmla="*/ 322358 h 723303"/>
              <a:gd name="connsiteX1" fmla="*/ 1967470 w 3934939"/>
              <a:gd name="connsiteY1" fmla="*/ 0 h 723303"/>
              <a:gd name="connsiteX2" fmla="*/ 3934939 w 3934939"/>
              <a:gd name="connsiteY2" fmla="*/ 322358 h 723303"/>
              <a:gd name="connsiteX3" fmla="*/ 2121016 w 3934939"/>
              <a:gd name="connsiteY3" fmla="*/ 723303 h 723303"/>
              <a:gd name="connsiteX0" fmla="*/ 0 w 3934939"/>
              <a:gd name="connsiteY0" fmla="*/ 322358 h 322358"/>
              <a:gd name="connsiteX1" fmla="*/ 1967470 w 3934939"/>
              <a:gd name="connsiteY1" fmla="*/ 0 h 322358"/>
              <a:gd name="connsiteX2" fmla="*/ 3934939 w 3934939"/>
              <a:gd name="connsiteY2" fmla="*/ 322358 h 322358"/>
            </a:gdLst>
            <a:ahLst/>
            <a:cxnLst>
              <a:cxn ang="0">
                <a:pos x="connsiteX0" y="connsiteY0"/>
              </a:cxn>
              <a:cxn ang="0">
                <a:pos x="connsiteX1" y="connsiteY1"/>
              </a:cxn>
              <a:cxn ang="0">
                <a:pos x="connsiteX2" y="connsiteY2"/>
              </a:cxn>
            </a:cxnLst>
            <a:rect l="l" t="t" r="r" b="b"/>
            <a:pathLst>
              <a:path w="3934939" h="322358">
                <a:moveTo>
                  <a:pt x="0" y="322358"/>
                </a:moveTo>
                <a:lnTo>
                  <a:pt x="1967470" y="0"/>
                </a:lnTo>
                <a:lnTo>
                  <a:pt x="3934939" y="322358"/>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3F453347-C82D-4EA0-B4DF-408A2100FEBE}"/>
              </a:ext>
            </a:extLst>
          </p:cNvPr>
          <p:cNvSpPr/>
          <p:nvPr/>
        </p:nvSpPr>
        <p:spPr>
          <a:xfrm>
            <a:off x="3470969" y="1931874"/>
            <a:ext cx="5250060" cy="4001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Intelligently test multiple models in parallel</a:t>
            </a:r>
          </a:p>
        </p:txBody>
      </p:sp>
      <p:sp>
        <p:nvSpPr>
          <p:cNvPr id="56" name="Rectangle 55">
            <a:extLst>
              <a:ext uri="{FF2B5EF4-FFF2-40B4-BE49-F238E27FC236}">
                <a16:creationId xmlns:a16="http://schemas.microsoft.com/office/drawing/2014/main" id="{346B9977-B3BB-4F82-B05A-89F2C5823D34}"/>
              </a:ext>
            </a:extLst>
          </p:cNvPr>
          <p:cNvSpPr/>
          <p:nvPr/>
        </p:nvSpPr>
        <p:spPr bwMode="auto">
          <a:xfrm>
            <a:off x="3768658" y="5437389"/>
            <a:ext cx="785022" cy="50533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57" name="Rectangle 56">
            <a:extLst>
              <a:ext uri="{FF2B5EF4-FFF2-40B4-BE49-F238E27FC236}">
                <a16:creationId xmlns:a16="http://schemas.microsoft.com/office/drawing/2014/main" id="{9521235A-368A-4639-A773-C6E2F81D58B3}"/>
              </a:ext>
            </a:extLst>
          </p:cNvPr>
          <p:cNvSpPr/>
          <p:nvPr/>
        </p:nvSpPr>
        <p:spPr bwMode="auto">
          <a:xfrm>
            <a:off x="4736073" y="2738126"/>
            <a:ext cx="785022" cy="50533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58" name="Rectangle 57">
            <a:extLst>
              <a:ext uri="{FF2B5EF4-FFF2-40B4-BE49-F238E27FC236}">
                <a16:creationId xmlns:a16="http://schemas.microsoft.com/office/drawing/2014/main" id="{675C0FA6-2D64-4834-A491-6EF039ACEEC8}"/>
              </a:ext>
            </a:extLst>
          </p:cNvPr>
          <p:cNvSpPr/>
          <p:nvPr/>
        </p:nvSpPr>
        <p:spPr bwMode="auto">
          <a:xfrm>
            <a:off x="4736073" y="4763009"/>
            <a:ext cx="785022" cy="50533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2" name="Rectangle 61">
            <a:extLst>
              <a:ext uri="{FF2B5EF4-FFF2-40B4-BE49-F238E27FC236}">
                <a16:creationId xmlns:a16="http://schemas.microsoft.com/office/drawing/2014/main" id="{5EF08468-D16A-4ED4-8701-7980A78BDED0}"/>
              </a:ext>
            </a:extLst>
          </p:cNvPr>
          <p:cNvSpPr/>
          <p:nvPr/>
        </p:nvSpPr>
        <p:spPr bwMode="auto">
          <a:xfrm>
            <a:off x="6670903" y="4087353"/>
            <a:ext cx="785022" cy="505334"/>
          </a:xfrm>
          <a:prstGeom prst="rect">
            <a:avLst/>
          </a:prstGeom>
          <a:solidFill>
            <a:srgbClr val="8ABADF"/>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3" name="Rectangle 62">
            <a:extLst>
              <a:ext uri="{FF2B5EF4-FFF2-40B4-BE49-F238E27FC236}">
                <a16:creationId xmlns:a16="http://schemas.microsoft.com/office/drawing/2014/main" id="{B432A898-81C5-4603-BFAF-4B2E5F642B1A}"/>
              </a:ext>
            </a:extLst>
          </p:cNvPr>
          <p:cNvSpPr/>
          <p:nvPr/>
        </p:nvSpPr>
        <p:spPr bwMode="auto">
          <a:xfrm>
            <a:off x="7638320" y="3412740"/>
            <a:ext cx="785022" cy="50533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5" name="Rectangle 64">
            <a:extLst>
              <a:ext uri="{FF2B5EF4-FFF2-40B4-BE49-F238E27FC236}">
                <a16:creationId xmlns:a16="http://schemas.microsoft.com/office/drawing/2014/main" id="{59CC870D-04DB-4F1E-9745-CCDD2D891D77}"/>
              </a:ext>
            </a:extLst>
          </p:cNvPr>
          <p:cNvSpPr/>
          <p:nvPr/>
        </p:nvSpPr>
        <p:spPr bwMode="auto">
          <a:xfrm>
            <a:off x="7638318" y="5435770"/>
            <a:ext cx="785022" cy="50533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9" name="Rectangle 68">
            <a:extLst>
              <a:ext uri="{FF2B5EF4-FFF2-40B4-BE49-F238E27FC236}">
                <a16:creationId xmlns:a16="http://schemas.microsoft.com/office/drawing/2014/main" id="{B56BE929-4E78-4328-9FCD-06D03936F734}"/>
              </a:ext>
            </a:extLst>
          </p:cNvPr>
          <p:cNvSpPr/>
          <p:nvPr/>
        </p:nvSpPr>
        <p:spPr bwMode="auto">
          <a:xfrm>
            <a:off x="10258070" y="3419687"/>
            <a:ext cx="632480" cy="2524313"/>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9" name="Group 20">
            <a:extLst>
              <a:ext uri="{FF2B5EF4-FFF2-40B4-BE49-F238E27FC236}">
                <a16:creationId xmlns:a16="http://schemas.microsoft.com/office/drawing/2014/main" id="{4EB75E30-B3D2-4C3B-A35B-9B27FF1C15BB}"/>
              </a:ext>
            </a:extLst>
          </p:cNvPr>
          <p:cNvGrpSpPr>
            <a:grpSpLocks noChangeAspect="1"/>
          </p:cNvGrpSpPr>
          <p:nvPr/>
        </p:nvGrpSpPr>
        <p:grpSpPr bwMode="auto">
          <a:xfrm>
            <a:off x="1374919" y="3033175"/>
            <a:ext cx="498446" cy="436316"/>
            <a:chOff x="3764" y="3313"/>
            <a:chExt cx="353" cy="309"/>
          </a:xfrm>
          <a:noFill/>
        </p:grpSpPr>
        <p:sp>
          <p:nvSpPr>
            <p:cNvPr id="110" name="Freeform 21">
              <a:extLst>
                <a:ext uri="{FF2B5EF4-FFF2-40B4-BE49-F238E27FC236}">
                  <a16:creationId xmlns:a16="http://schemas.microsoft.com/office/drawing/2014/main" id="{BD1FEC2F-B3EF-4D54-A4F0-54A076AB7B40}"/>
                </a:ext>
              </a:extLst>
            </p:cNvPr>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Freeform 22">
              <a:extLst>
                <a:ext uri="{FF2B5EF4-FFF2-40B4-BE49-F238E27FC236}">
                  <a16:creationId xmlns:a16="http://schemas.microsoft.com/office/drawing/2014/main" id="{7F63B60E-7DB5-488E-866F-93EFD0A370F2}"/>
                </a:ext>
              </a:extLst>
            </p:cNvPr>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Freeform 23">
              <a:extLst>
                <a:ext uri="{FF2B5EF4-FFF2-40B4-BE49-F238E27FC236}">
                  <a16:creationId xmlns:a16="http://schemas.microsoft.com/office/drawing/2014/main" id="{57635241-C845-49E4-AB91-802F219852CB}"/>
                </a:ext>
              </a:extLst>
            </p:cNvPr>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Freeform 24">
              <a:extLst>
                <a:ext uri="{FF2B5EF4-FFF2-40B4-BE49-F238E27FC236}">
                  <a16:creationId xmlns:a16="http://schemas.microsoft.com/office/drawing/2014/main" id="{7AC8221E-05C5-44FD-AE36-2F8BEAD0849B}"/>
                </a:ext>
              </a:extLst>
            </p:cNvPr>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4" name="Freeform 25">
              <a:extLst>
                <a:ext uri="{FF2B5EF4-FFF2-40B4-BE49-F238E27FC236}">
                  <a16:creationId xmlns:a16="http://schemas.microsoft.com/office/drawing/2014/main" id="{9949F84B-2E66-4817-B219-AD61CE8ED48F}"/>
                </a:ext>
              </a:extLst>
            </p:cNvPr>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5" name="Freeform 26">
              <a:extLst>
                <a:ext uri="{FF2B5EF4-FFF2-40B4-BE49-F238E27FC236}">
                  <a16:creationId xmlns:a16="http://schemas.microsoft.com/office/drawing/2014/main" id="{0742F126-3B94-4368-A3B6-4552957A4C9E}"/>
                </a:ext>
              </a:extLst>
            </p:cNvPr>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6" name="Freeform 27">
              <a:extLst>
                <a:ext uri="{FF2B5EF4-FFF2-40B4-BE49-F238E27FC236}">
                  <a16:creationId xmlns:a16="http://schemas.microsoft.com/office/drawing/2014/main" id="{1BCE99C9-C0BF-4E7C-AC5C-B51B77D3081F}"/>
                </a:ext>
              </a:extLst>
            </p:cNvPr>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7" name="Freeform 28">
              <a:extLst>
                <a:ext uri="{FF2B5EF4-FFF2-40B4-BE49-F238E27FC236}">
                  <a16:creationId xmlns:a16="http://schemas.microsoft.com/office/drawing/2014/main" id="{398C6C3A-DB5A-4EBA-85EC-2D420F4549E2}"/>
                </a:ext>
              </a:extLst>
            </p:cNvPr>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8" name="Freeform 29">
              <a:extLst>
                <a:ext uri="{FF2B5EF4-FFF2-40B4-BE49-F238E27FC236}">
                  <a16:creationId xmlns:a16="http://schemas.microsoft.com/office/drawing/2014/main" id="{B1B01E7D-6DF1-4886-9B59-7BD5243E3D42}"/>
                </a:ext>
              </a:extLst>
            </p:cNvPr>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9" name="Freeform 30">
              <a:extLst>
                <a:ext uri="{FF2B5EF4-FFF2-40B4-BE49-F238E27FC236}">
                  <a16:creationId xmlns:a16="http://schemas.microsoft.com/office/drawing/2014/main" id="{A56F16CC-423F-4F28-9CC4-6A2300AC7993}"/>
                </a:ext>
              </a:extLst>
            </p:cNvPr>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0" name="Freeform 31">
              <a:extLst>
                <a:ext uri="{FF2B5EF4-FFF2-40B4-BE49-F238E27FC236}">
                  <a16:creationId xmlns:a16="http://schemas.microsoft.com/office/drawing/2014/main" id="{BFDE09ED-D17C-4D80-8907-DDC02A4B1980}"/>
                </a:ext>
              </a:extLst>
            </p:cNvPr>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1" name="Freeform 32">
              <a:extLst>
                <a:ext uri="{FF2B5EF4-FFF2-40B4-BE49-F238E27FC236}">
                  <a16:creationId xmlns:a16="http://schemas.microsoft.com/office/drawing/2014/main" id="{609C7B92-A8DD-4959-8248-CA063018AFC6}"/>
                </a:ext>
              </a:extLst>
            </p:cNvPr>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2" name="Freeform 33">
              <a:extLst>
                <a:ext uri="{FF2B5EF4-FFF2-40B4-BE49-F238E27FC236}">
                  <a16:creationId xmlns:a16="http://schemas.microsoft.com/office/drawing/2014/main" id="{C9DF86B1-D780-4B1F-B717-254F3C2F0BB5}"/>
                </a:ext>
              </a:extLst>
            </p:cNvPr>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 name="Freeform 34">
              <a:extLst>
                <a:ext uri="{FF2B5EF4-FFF2-40B4-BE49-F238E27FC236}">
                  <a16:creationId xmlns:a16="http://schemas.microsoft.com/office/drawing/2014/main" id="{807DD4F0-A770-4045-927B-A19790AA5830}"/>
                </a:ext>
              </a:extLst>
            </p:cNvPr>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 name="Freeform 35">
              <a:extLst>
                <a:ext uri="{FF2B5EF4-FFF2-40B4-BE49-F238E27FC236}">
                  <a16:creationId xmlns:a16="http://schemas.microsoft.com/office/drawing/2014/main" id="{F2EB3B8B-3349-4C49-9DA2-BE2CB6CA5FEF}"/>
                </a:ext>
              </a:extLst>
            </p:cNvPr>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 name="Freeform 36">
              <a:extLst>
                <a:ext uri="{FF2B5EF4-FFF2-40B4-BE49-F238E27FC236}">
                  <a16:creationId xmlns:a16="http://schemas.microsoft.com/office/drawing/2014/main" id="{C3210E19-2877-4D2D-8799-5C996EDB3163}"/>
                </a:ext>
              </a:extLst>
            </p:cNvPr>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6" name="Freeform 37">
              <a:extLst>
                <a:ext uri="{FF2B5EF4-FFF2-40B4-BE49-F238E27FC236}">
                  <a16:creationId xmlns:a16="http://schemas.microsoft.com/office/drawing/2014/main" id="{F44E29D8-3D29-4BAF-8E02-EC2BC5774ED8}"/>
                </a:ext>
              </a:extLst>
            </p:cNvPr>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7" name="Freeform 38">
              <a:extLst>
                <a:ext uri="{FF2B5EF4-FFF2-40B4-BE49-F238E27FC236}">
                  <a16:creationId xmlns:a16="http://schemas.microsoft.com/office/drawing/2014/main" id="{863F6220-B897-446E-91E3-C0B7172FC292}"/>
                </a:ext>
              </a:extLst>
            </p:cNvPr>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54" name="Rectangle 153">
            <a:extLst>
              <a:ext uri="{FF2B5EF4-FFF2-40B4-BE49-F238E27FC236}">
                <a16:creationId xmlns:a16="http://schemas.microsoft.com/office/drawing/2014/main" id="{56F8C412-B3B9-4D8E-96A2-650D8AA38881}"/>
              </a:ext>
            </a:extLst>
          </p:cNvPr>
          <p:cNvSpPr/>
          <p:nvPr/>
        </p:nvSpPr>
        <p:spPr bwMode="auto">
          <a:xfrm>
            <a:off x="3768658" y="5437389"/>
            <a:ext cx="785022" cy="505334"/>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56" name="Rectangle 155">
            <a:extLst>
              <a:ext uri="{FF2B5EF4-FFF2-40B4-BE49-F238E27FC236}">
                <a16:creationId xmlns:a16="http://schemas.microsoft.com/office/drawing/2014/main" id="{B1BD5EB7-7D25-4A2E-9890-4D22892EA68F}"/>
              </a:ext>
            </a:extLst>
          </p:cNvPr>
          <p:cNvSpPr/>
          <p:nvPr/>
        </p:nvSpPr>
        <p:spPr bwMode="auto">
          <a:xfrm>
            <a:off x="4736073" y="4763009"/>
            <a:ext cx="785022" cy="505334"/>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60" name="Rectangle 159">
            <a:extLst>
              <a:ext uri="{FF2B5EF4-FFF2-40B4-BE49-F238E27FC236}">
                <a16:creationId xmlns:a16="http://schemas.microsoft.com/office/drawing/2014/main" id="{52810F27-F6D4-44ED-A959-4307288B0F0F}"/>
              </a:ext>
            </a:extLst>
          </p:cNvPr>
          <p:cNvSpPr/>
          <p:nvPr/>
        </p:nvSpPr>
        <p:spPr bwMode="auto">
          <a:xfrm>
            <a:off x="6670903" y="4087353"/>
            <a:ext cx="785022" cy="505334"/>
          </a:xfrm>
          <a:prstGeom prst="rect">
            <a:avLst/>
          </a:prstGeom>
          <a:solidFill>
            <a:srgbClr val="5CA4DB"/>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61" name="Rectangle 160">
            <a:extLst>
              <a:ext uri="{FF2B5EF4-FFF2-40B4-BE49-F238E27FC236}">
                <a16:creationId xmlns:a16="http://schemas.microsoft.com/office/drawing/2014/main" id="{3DFD0CFB-7493-447A-9739-F92717140711}"/>
              </a:ext>
            </a:extLst>
          </p:cNvPr>
          <p:cNvSpPr/>
          <p:nvPr/>
        </p:nvSpPr>
        <p:spPr bwMode="auto">
          <a:xfrm>
            <a:off x="7638320" y="3412740"/>
            <a:ext cx="785022" cy="505334"/>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62" name="Rectangle 161">
            <a:extLst>
              <a:ext uri="{FF2B5EF4-FFF2-40B4-BE49-F238E27FC236}">
                <a16:creationId xmlns:a16="http://schemas.microsoft.com/office/drawing/2014/main" id="{0B7E7B3B-A7D6-4B9E-9B43-CAA1A8D42874}"/>
              </a:ext>
            </a:extLst>
          </p:cNvPr>
          <p:cNvSpPr/>
          <p:nvPr/>
        </p:nvSpPr>
        <p:spPr bwMode="auto">
          <a:xfrm>
            <a:off x="7638318" y="5435770"/>
            <a:ext cx="785022" cy="505334"/>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78" name="Rectangle 177">
            <a:extLst>
              <a:ext uri="{FF2B5EF4-FFF2-40B4-BE49-F238E27FC236}">
                <a16:creationId xmlns:a16="http://schemas.microsoft.com/office/drawing/2014/main" id="{69F286C7-A72E-4B19-BECC-2AD322B91A55}"/>
              </a:ext>
            </a:extLst>
          </p:cNvPr>
          <p:cNvSpPr/>
          <p:nvPr/>
        </p:nvSpPr>
        <p:spPr bwMode="auto">
          <a:xfrm>
            <a:off x="4736073" y="4763009"/>
            <a:ext cx="785022" cy="505334"/>
          </a:xfrm>
          <a:prstGeom prst="rect">
            <a:avLst/>
          </a:prstGeom>
          <a:solidFill>
            <a:srgbClr val="2E8E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82" name="Rectangle 181">
            <a:extLst>
              <a:ext uri="{FF2B5EF4-FFF2-40B4-BE49-F238E27FC236}">
                <a16:creationId xmlns:a16="http://schemas.microsoft.com/office/drawing/2014/main" id="{F6960B95-9AED-453D-8147-4BE64D2AA752}"/>
              </a:ext>
            </a:extLst>
          </p:cNvPr>
          <p:cNvSpPr/>
          <p:nvPr/>
        </p:nvSpPr>
        <p:spPr bwMode="auto">
          <a:xfrm>
            <a:off x="6670903" y="4087353"/>
            <a:ext cx="785022" cy="505334"/>
          </a:xfrm>
          <a:prstGeom prst="rect">
            <a:avLst/>
          </a:prstGeom>
          <a:solidFill>
            <a:srgbClr val="2E8ED8"/>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83" name="Rectangle 182">
            <a:extLst>
              <a:ext uri="{FF2B5EF4-FFF2-40B4-BE49-F238E27FC236}">
                <a16:creationId xmlns:a16="http://schemas.microsoft.com/office/drawing/2014/main" id="{5E1D3D7E-AE78-461B-8984-8550F13D2CAC}"/>
              </a:ext>
            </a:extLst>
          </p:cNvPr>
          <p:cNvSpPr/>
          <p:nvPr/>
        </p:nvSpPr>
        <p:spPr bwMode="auto">
          <a:xfrm>
            <a:off x="7638320" y="3412740"/>
            <a:ext cx="785022" cy="505334"/>
          </a:xfrm>
          <a:prstGeom prst="rect">
            <a:avLst/>
          </a:prstGeom>
          <a:solidFill>
            <a:srgbClr val="2E8E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84" name="Rectangle 183">
            <a:extLst>
              <a:ext uri="{FF2B5EF4-FFF2-40B4-BE49-F238E27FC236}">
                <a16:creationId xmlns:a16="http://schemas.microsoft.com/office/drawing/2014/main" id="{7AB63D05-2235-48E1-AC5A-5332C75C07D7}"/>
              </a:ext>
            </a:extLst>
          </p:cNvPr>
          <p:cNvSpPr/>
          <p:nvPr/>
        </p:nvSpPr>
        <p:spPr bwMode="auto">
          <a:xfrm>
            <a:off x="7638318" y="5435770"/>
            <a:ext cx="785022" cy="505334"/>
          </a:xfrm>
          <a:prstGeom prst="rect">
            <a:avLst/>
          </a:prstGeom>
          <a:solidFill>
            <a:srgbClr val="2E8E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95" name="Rectangle 194">
            <a:extLst>
              <a:ext uri="{FF2B5EF4-FFF2-40B4-BE49-F238E27FC236}">
                <a16:creationId xmlns:a16="http://schemas.microsoft.com/office/drawing/2014/main" id="{195437A0-E144-4350-B464-A76A69AAF11F}"/>
              </a:ext>
            </a:extLst>
          </p:cNvPr>
          <p:cNvSpPr/>
          <p:nvPr/>
        </p:nvSpPr>
        <p:spPr bwMode="auto">
          <a:xfrm>
            <a:off x="6670903" y="4087353"/>
            <a:ext cx="785022" cy="505334"/>
          </a:xfrm>
          <a:prstGeom prst="rect">
            <a:avLst/>
          </a:prstGeom>
          <a:solidFill>
            <a:schemeClr val="tx2"/>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95%</a:t>
            </a:r>
          </a:p>
        </p:txBody>
      </p:sp>
      <p:sp>
        <p:nvSpPr>
          <p:cNvPr id="196" name="Freeform 5">
            <a:extLst>
              <a:ext uri="{FF2B5EF4-FFF2-40B4-BE49-F238E27FC236}">
                <a16:creationId xmlns:a16="http://schemas.microsoft.com/office/drawing/2014/main" id="{DF9FDED0-2500-4374-B5B2-ED86C9D5D9D3}"/>
              </a:ext>
            </a:extLst>
          </p:cNvPr>
          <p:cNvSpPr>
            <a:spLocks noEditPoints="1"/>
          </p:cNvSpPr>
          <p:nvPr/>
        </p:nvSpPr>
        <p:spPr bwMode="auto">
          <a:xfrm>
            <a:off x="10350753" y="2706366"/>
            <a:ext cx="440168" cy="264815"/>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9" name="Rectangle 198">
            <a:extLst>
              <a:ext uri="{FF2B5EF4-FFF2-40B4-BE49-F238E27FC236}">
                <a16:creationId xmlns:a16="http://schemas.microsoft.com/office/drawing/2014/main" id="{22602F01-A6AD-4809-AE58-134198AE5A95}"/>
              </a:ext>
            </a:extLst>
          </p:cNvPr>
          <p:cNvSpPr/>
          <p:nvPr/>
        </p:nvSpPr>
        <p:spPr bwMode="auto">
          <a:xfrm>
            <a:off x="10135070" y="5955216"/>
            <a:ext cx="878476" cy="90278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E9A9F4A2-34D2-4122-B219-A325533A8008}"/>
              </a:ext>
            </a:extLst>
          </p:cNvPr>
          <p:cNvSpPr txBox="1"/>
          <p:nvPr/>
        </p:nvSpPr>
        <p:spPr>
          <a:xfrm>
            <a:off x="9615066" y="3017758"/>
            <a:ext cx="1918484"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en-US"/>
            </a:defPPr>
            <a:lvl1pPr algn="ctr">
              <a:defRPr sz="1400">
                <a:solidFill>
                  <a:schemeClr val="accent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Optimized model</a:t>
            </a:r>
          </a:p>
        </p:txBody>
      </p:sp>
      <p:sp>
        <p:nvSpPr>
          <p:cNvPr id="197" name="Rectangle 196">
            <a:extLst>
              <a:ext uri="{FF2B5EF4-FFF2-40B4-BE49-F238E27FC236}">
                <a16:creationId xmlns:a16="http://schemas.microsoft.com/office/drawing/2014/main" id="{A85EB74B-FDD2-45CB-A236-74C66623A549}"/>
              </a:ext>
            </a:extLst>
          </p:cNvPr>
          <p:cNvSpPr/>
          <p:nvPr/>
        </p:nvSpPr>
        <p:spPr bwMode="auto">
          <a:xfrm>
            <a:off x="6814512" y="4188987"/>
            <a:ext cx="497804" cy="302066"/>
          </a:xfrm>
          <a:prstGeom prst="rect">
            <a:avLst/>
          </a:prstGeom>
          <a:no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95%</a:t>
            </a:r>
          </a:p>
        </p:txBody>
      </p:sp>
      <p:grpSp>
        <p:nvGrpSpPr>
          <p:cNvPr id="212" name="Group 211">
            <a:extLst>
              <a:ext uri="{FF2B5EF4-FFF2-40B4-BE49-F238E27FC236}">
                <a16:creationId xmlns:a16="http://schemas.microsoft.com/office/drawing/2014/main" id="{49DE720E-16FD-4BAD-BC4A-AB88F4C6E793}"/>
              </a:ext>
            </a:extLst>
          </p:cNvPr>
          <p:cNvGrpSpPr/>
          <p:nvPr/>
        </p:nvGrpSpPr>
        <p:grpSpPr>
          <a:xfrm>
            <a:off x="1436341" y="4057481"/>
            <a:ext cx="375602" cy="424726"/>
            <a:chOff x="9005455" y="6149108"/>
            <a:chExt cx="1115925" cy="1261885"/>
          </a:xfrm>
          <a:noFill/>
        </p:grpSpPr>
        <p:sp>
          <p:nvSpPr>
            <p:cNvPr id="213" name="Freeform 938">
              <a:extLst>
                <a:ext uri="{FF2B5EF4-FFF2-40B4-BE49-F238E27FC236}">
                  <a16:creationId xmlns:a16="http://schemas.microsoft.com/office/drawing/2014/main" id="{E6153D3D-A39E-4FF3-9DD7-BF527CAF6B4A}"/>
                </a:ext>
              </a:extLst>
            </p:cNvPr>
            <p:cNvSpPr/>
            <p:nvPr/>
          </p:nvSpPr>
          <p:spPr>
            <a:xfrm>
              <a:off x="9005455" y="6282459"/>
              <a:ext cx="555625" cy="1123950"/>
            </a:xfrm>
            <a:custGeom>
              <a:avLst/>
              <a:gdLst>
                <a:gd name="connsiteX0" fmla="*/ 555625 w 555625"/>
                <a:gd name="connsiteY0" fmla="*/ 1123950 h 1123950"/>
                <a:gd name="connsiteX1" fmla="*/ 0 w 555625"/>
                <a:gd name="connsiteY1" fmla="*/ 1123950 h 1123950"/>
                <a:gd name="connsiteX2" fmla="*/ 0 w 555625"/>
                <a:gd name="connsiteY2" fmla="*/ 0 h 1123950"/>
                <a:gd name="connsiteX3" fmla="*/ 219075 w 555625"/>
                <a:gd name="connsiteY3" fmla="*/ 0 h 1123950"/>
              </a:gdLst>
              <a:ahLst/>
              <a:cxnLst>
                <a:cxn ang="0">
                  <a:pos x="connsiteX0" y="connsiteY0"/>
                </a:cxn>
                <a:cxn ang="0">
                  <a:pos x="connsiteX1" y="connsiteY1"/>
                </a:cxn>
                <a:cxn ang="0">
                  <a:pos x="connsiteX2" y="connsiteY2"/>
                </a:cxn>
                <a:cxn ang="0">
                  <a:pos x="connsiteX3" y="connsiteY3"/>
                </a:cxn>
              </a:cxnLst>
              <a:rect l="l" t="t" r="r" b="b"/>
              <a:pathLst>
                <a:path w="555625" h="1123950">
                  <a:moveTo>
                    <a:pt x="555625" y="1123950"/>
                  </a:moveTo>
                  <a:lnTo>
                    <a:pt x="0" y="1123950"/>
                  </a:lnTo>
                  <a:lnTo>
                    <a:pt x="0" y="0"/>
                  </a:lnTo>
                  <a:lnTo>
                    <a:pt x="219075" y="0"/>
                  </a:lnTo>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4" name="Freeform 939">
              <a:extLst>
                <a:ext uri="{FF2B5EF4-FFF2-40B4-BE49-F238E27FC236}">
                  <a16:creationId xmlns:a16="http://schemas.microsoft.com/office/drawing/2014/main" id="{F26CC79B-EF9A-47A6-80E3-4A5AE6DBC57A}"/>
                </a:ext>
              </a:extLst>
            </p:cNvPr>
            <p:cNvSpPr/>
            <p:nvPr/>
          </p:nvSpPr>
          <p:spPr>
            <a:xfrm>
              <a:off x="9707130" y="6282459"/>
              <a:ext cx="215900" cy="485775"/>
            </a:xfrm>
            <a:custGeom>
              <a:avLst/>
              <a:gdLst>
                <a:gd name="connsiteX0" fmla="*/ 0 w 215900"/>
                <a:gd name="connsiteY0" fmla="*/ 0 h 485775"/>
                <a:gd name="connsiteX1" fmla="*/ 215900 w 215900"/>
                <a:gd name="connsiteY1" fmla="*/ 0 h 485775"/>
                <a:gd name="connsiteX2" fmla="*/ 215900 w 215900"/>
                <a:gd name="connsiteY2" fmla="*/ 485775 h 485775"/>
              </a:gdLst>
              <a:ahLst/>
              <a:cxnLst>
                <a:cxn ang="0">
                  <a:pos x="connsiteX0" y="connsiteY0"/>
                </a:cxn>
                <a:cxn ang="0">
                  <a:pos x="connsiteX1" y="connsiteY1"/>
                </a:cxn>
                <a:cxn ang="0">
                  <a:pos x="connsiteX2" y="connsiteY2"/>
                </a:cxn>
              </a:cxnLst>
              <a:rect l="l" t="t" r="r" b="b"/>
              <a:pathLst>
                <a:path w="215900" h="485775">
                  <a:moveTo>
                    <a:pt x="0" y="0"/>
                  </a:moveTo>
                  <a:lnTo>
                    <a:pt x="215900" y="0"/>
                  </a:lnTo>
                  <a:lnTo>
                    <a:pt x="215900" y="485775"/>
                  </a:lnTo>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5" name="Freeform 940">
              <a:extLst>
                <a:ext uri="{FF2B5EF4-FFF2-40B4-BE49-F238E27FC236}">
                  <a16:creationId xmlns:a16="http://schemas.microsoft.com/office/drawing/2014/main" id="{B00F6E1D-6062-4D94-B78A-CD286D3C86D9}"/>
                </a:ext>
              </a:extLst>
            </p:cNvPr>
            <p:cNvSpPr/>
            <p:nvPr/>
          </p:nvSpPr>
          <p:spPr>
            <a:xfrm>
              <a:off x="9221355" y="6149108"/>
              <a:ext cx="482600" cy="190500"/>
            </a:xfrm>
            <a:custGeom>
              <a:avLst/>
              <a:gdLst>
                <a:gd name="connsiteX0" fmla="*/ 142875 w 482600"/>
                <a:gd name="connsiteY0" fmla="*/ 0 h 190500"/>
                <a:gd name="connsiteX1" fmla="*/ 339725 w 482600"/>
                <a:gd name="connsiteY1" fmla="*/ 0 h 190500"/>
                <a:gd name="connsiteX2" fmla="*/ 339725 w 482600"/>
                <a:gd name="connsiteY2" fmla="*/ 47625 h 190500"/>
                <a:gd name="connsiteX3" fmla="*/ 482600 w 482600"/>
                <a:gd name="connsiteY3" fmla="*/ 47625 h 190500"/>
                <a:gd name="connsiteX4" fmla="*/ 482600 w 482600"/>
                <a:gd name="connsiteY4" fmla="*/ 190500 h 190500"/>
                <a:gd name="connsiteX5" fmla="*/ 0 w 482600"/>
                <a:gd name="connsiteY5" fmla="*/ 190500 h 190500"/>
                <a:gd name="connsiteX6" fmla="*/ 0 w 482600"/>
                <a:gd name="connsiteY6" fmla="*/ 47625 h 190500"/>
                <a:gd name="connsiteX7" fmla="*/ 142875 w 482600"/>
                <a:gd name="connsiteY7" fmla="*/ 476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600" h="190500">
                  <a:moveTo>
                    <a:pt x="142875" y="0"/>
                  </a:moveTo>
                  <a:lnTo>
                    <a:pt x="339725" y="0"/>
                  </a:lnTo>
                  <a:lnTo>
                    <a:pt x="339725" y="47625"/>
                  </a:lnTo>
                  <a:lnTo>
                    <a:pt x="482600" y="47625"/>
                  </a:lnTo>
                  <a:lnTo>
                    <a:pt x="482600" y="190500"/>
                  </a:lnTo>
                  <a:lnTo>
                    <a:pt x="0" y="190500"/>
                  </a:lnTo>
                  <a:lnTo>
                    <a:pt x="0" y="47625"/>
                  </a:lnTo>
                  <a:lnTo>
                    <a:pt x="142875" y="47625"/>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6" name="Freeform 941">
              <a:extLst>
                <a:ext uri="{FF2B5EF4-FFF2-40B4-BE49-F238E27FC236}">
                  <a16:creationId xmlns:a16="http://schemas.microsoft.com/office/drawing/2014/main" id="{17392C07-5E2D-4739-A4F2-D9DF08D5495D}"/>
                </a:ext>
              </a:extLst>
            </p:cNvPr>
            <p:cNvSpPr/>
            <p:nvPr/>
          </p:nvSpPr>
          <p:spPr bwMode="auto">
            <a:xfrm>
              <a:off x="9671568" y="7021832"/>
              <a:ext cx="333569" cy="212271"/>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7" name="Oval 216">
              <a:extLst>
                <a:ext uri="{FF2B5EF4-FFF2-40B4-BE49-F238E27FC236}">
                  <a16:creationId xmlns:a16="http://schemas.microsoft.com/office/drawing/2014/main" id="{25A47A8E-8060-42E3-A4D3-7A039E09BDC7}"/>
                </a:ext>
              </a:extLst>
            </p:cNvPr>
            <p:cNvSpPr/>
            <p:nvPr/>
          </p:nvSpPr>
          <p:spPr bwMode="auto">
            <a:xfrm>
              <a:off x="9555323" y="6844938"/>
              <a:ext cx="566057" cy="566055"/>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18" name="Group 10">
            <a:extLst>
              <a:ext uri="{FF2B5EF4-FFF2-40B4-BE49-F238E27FC236}">
                <a16:creationId xmlns:a16="http://schemas.microsoft.com/office/drawing/2014/main" id="{830091A3-D67E-42AD-A0B0-88B8CF8365E6}"/>
              </a:ext>
            </a:extLst>
          </p:cNvPr>
          <p:cNvGrpSpPr>
            <a:grpSpLocks noChangeAspect="1"/>
          </p:cNvGrpSpPr>
          <p:nvPr/>
        </p:nvGrpSpPr>
        <p:grpSpPr bwMode="auto">
          <a:xfrm>
            <a:off x="1438087" y="5122842"/>
            <a:ext cx="372111" cy="368879"/>
            <a:chOff x="2536" y="833"/>
            <a:chExt cx="2764" cy="2740"/>
          </a:xfrm>
          <a:noFill/>
        </p:grpSpPr>
        <p:sp>
          <p:nvSpPr>
            <p:cNvPr id="219" name="Freeform 11">
              <a:extLst>
                <a:ext uri="{FF2B5EF4-FFF2-40B4-BE49-F238E27FC236}">
                  <a16:creationId xmlns:a16="http://schemas.microsoft.com/office/drawing/2014/main" id="{E4CB3829-6B57-4320-B2A5-02C096E3EBF1}"/>
                </a:ext>
              </a:extLst>
            </p:cNvPr>
            <p:cNvSpPr>
              <a:spLocks noEditPoints="1"/>
            </p:cNvSpPr>
            <p:nvPr/>
          </p:nvSpPr>
          <p:spPr bwMode="auto">
            <a:xfrm>
              <a:off x="2536" y="833"/>
              <a:ext cx="2739" cy="2740"/>
            </a:xfrm>
            <a:custGeom>
              <a:avLst/>
              <a:gdLst>
                <a:gd name="T0" fmla="*/ 292 w 2739"/>
                <a:gd name="T1" fmla="*/ 1639 h 2740"/>
                <a:gd name="T2" fmla="*/ 1100 w 2739"/>
                <a:gd name="T3" fmla="*/ 1639 h 2740"/>
                <a:gd name="T4" fmla="*/ 1100 w 2739"/>
                <a:gd name="T5" fmla="*/ 2448 h 2740"/>
                <a:gd name="T6" fmla="*/ 1100 w 2739"/>
                <a:gd name="T7" fmla="*/ 1639 h 2740"/>
                <a:gd name="T8" fmla="*/ 0 w 2739"/>
                <a:gd name="T9" fmla="*/ 2740 h 2740"/>
                <a:gd name="T10" fmla="*/ 1639 w 2739"/>
                <a:gd name="T11" fmla="*/ 291 h 2740"/>
                <a:gd name="T12" fmla="*/ 1639 w 2739"/>
                <a:gd name="T13" fmla="*/ 1100 h 2740"/>
                <a:gd name="T14" fmla="*/ 2447 w 2739"/>
                <a:gd name="T15" fmla="*/ 1100 h 2740"/>
                <a:gd name="T16" fmla="*/ 2739 w 2739"/>
                <a:gd name="T17" fmla="*/ 0 h 2740"/>
                <a:gd name="T18" fmla="*/ 1639 w 2739"/>
                <a:gd name="T19" fmla="*/ 110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9" h="2740">
                  <a:moveTo>
                    <a:pt x="292" y="1639"/>
                  </a:moveTo>
                  <a:lnTo>
                    <a:pt x="1100" y="1639"/>
                  </a:lnTo>
                  <a:lnTo>
                    <a:pt x="1100" y="2448"/>
                  </a:lnTo>
                  <a:moveTo>
                    <a:pt x="1100" y="1639"/>
                  </a:moveTo>
                  <a:lnTo>
                    <a:pt x="0" y="2740"/>
                  </a:lnTo>
                  <a:moveTo>
                    <a:pt x="1639" y="291"/>
                  </a:moveTo>
                  <a:lnTo>
                    <a:pt x="1639" y="1100"/>
                  </a:lnTo>
                  <a:lnTo>
                    <a:pt x="2447" y="1100"/>
                  </a:lnTo>
                  <a:moveTo>
                    <a:pt x="2739" y="0"/>
                  </a:moveTo>
                  <a:lnTo>
                    <a:pt x="1639" y="1100"/>
                  </a:lnTo>
                </a:path>
              </a:pathLst>
            </a:custGeom>
            <a:grpFill/>
            <a:ln w="1270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0" name="Freeform 12">
              <a:extLst>
                <a:ext uri="{FF2B5EF4-FFF2-40B4-BE49-F238E27FC236}">
                  <a16:creationId xmlns:a16="http://schemas.microsoft.com/office/drawing/2014/main" id="{72B9D2CD-B1E1-4394-A96E-E2E15CE45E8D}"/>
                </a:ext>
              </a:extLst>
            </p:cNvPr>
            <p:cNvSpPr>
              <a:spLocks noEditPoints="1"/>
            </p:cNvSpPr>
            <p:nvPr/>
          </p:nvSpPr>
          <p:spPr bwMode="auto">
            <a:xfrm>
              <a:off x="2561" y="833"/>
              <a:ext cx="2739" cy="2740"/>
            </a:xfrm>
            <a:custGeom>
              <a:avLst/>
              <a:gdLst>
                <a:gd name="T0" fmla="*/ 1638 w 2739"/>
                <a:gd name="T1" fmla="*/ 2448 h 2740"/>
                <a:gd name="T2" fmla="*/ 1638 w 2739"/>
                <a:gd name="T3" fmla="*/ 1639 h 2740"/>
                <a:gd name="T4" fmla="*/ 2446 w 2739"/>
                <a:gd name="T5" fmla="*/ 1639 h 2740"/>
                <a:gd name="T6" fmla="*/ 2739 w 2739"/>
                <a:gd name="T7" fmla="*/ 2740 h 2740"/>
                <a:gd name="T8" fmla="*/ 1638 w 2739"/>
                <a:gd name="T9" fmla="*/ 1639 h 2740"/>
                <a:gd name="T10" fmla="*/ 291 w 2739"/>
                <a:gd name="T11" fmla="*/ 1100 h 2740"/>
                <a:gd name="T12" fmla="*/ 1099 w 2739"/>
                <a:gd name="T13" fmla="*/ 1100 h 2740"/>
                <a:gd name="T14" fmla="*/ 1099 w 2739"/>
                <a:gd name="T15" fmla="*/ 291 h 2740"/>
                <a:gd name="T16" fmla="*/ 1099 w 2739"/>
                <a:gd name="T17" fmla="*/ 1100 h 2740"/>
                <a:gd name="T18" fmla="*/ 0 w 2739"/>
                <a:gd name="T19" fmla="*/ 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9" h="2740">
                  <a:moveTo>
                    <a:pt x="1638" y="2448"/>
                  </a:moveTo>
                  <a:lnTo>
                    <a:pt x="1638" y="1639"/>
                  </a:lnTo>
                  <a:lnTo>
                    <a:pt x="2446" y="1639"/>
                  </a:lnTo>
                  <a:moveTo>
                    <a:pt x="2739" y="2740"/>
                  </a:moveTo>
                  <a:lnTo>
                    <a:pt x="1638" y="1639"/>
                  </a:lnTo>
                  <a:moveTo>
                    <a:pt x="291" y="1100"/>
                  </a:moveTo>
                  <a:lnTo>
                    <a:pt x="1099" y="1100"/>
                  </a:lnTo>
                  <a:lnTo>
                    <a:pt x="1099" y="291"/>
                  </a:lnTo>
                  <a:moveTo>
                    <a:pt x="1099" y="1100"/>
                  </a:moveTo>
                  <a:lnTo>
                    <a:pt x="0" y="0"/>
                  </a:lnTo>
                </a:path>
              </a:pathLst>
            </a:custGeom>
            <a:grpFill/>
            <a:ln w="1270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93" name="Group 92">
            <a:extLst>
              <a:ext uri="{FF2B5EF4-FFF2-40B4-BE49-F238E27FC236}">
                <a16:creationId xmlns:a16="http://schemas.microsoft.com/office/drawing/2014/main" id="{FD316AA3-19A9-42FA-8AAB-F3758407BD09}"/>
              </a:ext>
            </a:extLst>
          </p:cNvPr>
          <p:cNvGrpSpPr/>
          <p:nvPr/>
        </p:nvGrpSpPr>
        <p:grpSpPr>
          <a:xfrm>
            <a:off x="9571687" y="2353818"/>
            <a:ext cx="2391751" cy="3241740"/>
            <a:chOff x="9571688" y="2353818"/>
            <a:chExt cx="2391751" cy="3241740"/>
          </a:xfrm>
          <a:solidFill>
            <a:schemeClr val="tx2"/>
          </a:solidFill>
        </p:grpSpPr>
        <p:grpSp>
          <p:nvGrpSpPr>
            <p:cNvPr id="94" name="Group 93">
              <a:extLst>
                <a:ext uri="{FF2B5EF4-FFF2-40B4-BE49-F238E27FC236}">
                  <a16:creationId xmlns:a16="http://schemas.microsoft.com/office/drawing/2014/main" id="{977C835F-68EE-4491-9370-AD6B93543529}"/>
                </a:ext>
              </a:extLst>
            </p:cNvPr>
            <p:cNvGrpSpPr/>
            <p:nvPr/>
          </p:nvGrpSpPr>
          <p:grpSpPr>
            <a:xfrm>
              <a:off x="11310201" y="2353818"/>
              <a:ext cx="653238" cy="3241740"/>
              <a:chOff x="12076928" y="2353818"/>
              <a:chExt cx="653238" cy="3241740"/>
            </a:xfrm>
            <a:grpFill/>
          </p:grpSpPr>
          <p:sp>
            <p:nvSpPr>
              <p:cNvPr id="107" name="Rectangle 106">
                <a:extLst>
                  <a:ext uri="{FF2B5EF4-FFF2-40B4-BE49-F238E27FC236}">
                    <a16:creationId xmlns:a16="http://schemas.microsoft.com/office/drawing/2014/main" id="{019D642A-52B1-41AF-B289-568D576B1625}"/>
                  </a:ext>
                </a:extLst>
              </p:cNvPr>
              <p:cNvSpPr/>
              <p:nvPr/>
            </p:nvSpPr>
            <p:spPr bwMode="auto">
              <a:xfrm>
                <a:off x="12076928" y="235381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8" name="Rectangle 107">
                <a:extLst>
                  <a:ext uri="{FF2B5EF4-FFF2-40B4-BE49-F238E27FC236}">
                    <a16:creationId xmlns:a16="http://schemas.microsoft.com/office/drawing/2014/main" id="{C22FF296-1C13-424A-877D-765717B945FD}"/>
                  </a:ext>
                </a:extLst>
              </p:cNvPr>
              <p:cNvSpPr/>
              <p:nvPr/>
            </p:nvSpPr>
            <p:spPr bwMode="auto">
              <a:xfrm>
                <a:off x="12076928" y="3049506"/>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28" name="Rectangle 127">
                <a:extLst>
                  <a:ext uri="{FF2B5EF4-FFF2-40B4-BE49-F238E27FC236}">
                    <a16:creationId xmlns:a16="http://schemas.microsoft.com/office/drawing/2014/main" id="{24498DD1-3C59-4026-90A6-E26C2E5BFD1C}"/>
                  </a:ext>
                </a:extLst>
              </p:cNvPr>
              <p:cNvSpPr/>
              <p:nvPr/>
            </p:nvSpPr>
            <p:spPr bwMode="auto">
              <a:xfrm>
                <a:off x="12076928" y="3745193"/>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29" name="Rectangle 128">
                <a:extLst>
                  <a:ext uri="{FF2B5EF4-FFF2-40B4-BE49-F238E27FC236}">
                    <a16:creationId xmlns:a16="http://schemas.microsoft.com/office/drawing/2014/main" id="{DFA15762-E962-4C98-A7F3-FCA2BC38D0D0}"/>
                  </a:ext>
                </a:extLst>
              </p:cNvPr>
              <p:cNvSpPr/>
              <p:nvPr/>
            </p:nvSpPr>
            <p:spPr bwMode="auto">
              <a:xfrm>
                <a:off x="12076928" y="4440881"/>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30" name="Rectangle 129">
                <a:extLst>
                  <a:ext uri="{FF2B5EF4-FFF2-40B4-BE49-F238E27FC236}">
                    <a16:creationId xmlns:a16="http://schemas.microsoft.com/office/drawing/2014/main" id="{340D374C-A398-48E7-9830-A0FCC1E94E77}"/>
                  </a:ext>
                </a:extLst>
              </p:cNvPr>
              <p:cNvSpPr/>
              <p:nvPr/>
            </p:nvSpPr>
            <p:spPr bwMode="auto">
              <a:xfrm>
                <a:off x="12076928" y="513656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nvGrpSpPr>
            <p:cNvPr id="95" name="Group 94">
              <a:extLst>
                <a:ext uri="{FF2B5EF4-FFF2-40B4-BE49-F238E27FC236}">
                  <a16:creationId xmlns:a16="http://schemas.microsoft.com/office/drawing/2014/main" id="{07B89E3D-C38A-4B20-B033-852F0FD39555}"/>
                </a:ext>
              </a:extLst>
            </p:cNvPr>
            <p:cNvGrpSpPr/>
            <p:nvPr/>
          </p:nvGrpSpPr>
          <p:grpSpPr>
            <a:xfrm>
              <a:off x="10440944" y="2353818"/>
              <a:ext cx="653238" cy="3241740"/>
              <a:chOff x="12076928" y="2353818"/>
              <a:chExt cx="653238" cy="3241740"/>
            </a:xfrm>
            <a:grpFill/>
          </p:grpSpPr>
          <p:sp>
            <p:nvSpPr>
              <p:cNvPr id="102" name="Rectangle 101">
                <a:extLst>
                  <a:ext uri="{FF2B5EF4-FFF2-40B4-BE49-F238E27FC236}">
                    <a16:creationId xmlns:a16="http://schemas.microsoft.com/office/drawing/2014/main" id="{C1D3738B-9C16-41D8-A676-3993C5351106}"/>
                  </a:ext>
                </a:extLst>
              </p:cNvPr>
              <p:cNvSpPr/>
              <p:nvPr/>
            </p:nvSpPr>
            <p:spPr bwMode="auto">
              <a:xfrm>
                <a:off x="12076928" y="235381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3" name="Rectangle 102">
                <a:extLst>
                  <a:ext uri="{FF2B5EF4-FFF2-40B4-BE49-F238E27FC236}">
                    <a16:creationId xmlns:a16="http://schemas.microsoft.com/office/drawing/2014/main" id="{B1A7BF7F-84E6-40B6-A7EC-29EA87D247DC}"/>
                  </a:ext>
                </a:extLst>
              </p:cNvPr>
              <p:cNvSpPr/>
              <p:nvPr/>
            </p:nvSpPr>
            <p:spPr bwMode="auto">
              <a:xfrm>
                <a:off x="12076928" y="3049506"/>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4" name="Rectangle 103">
                <a:extLst>
                  <a:ext uri="{FF2B5EF4-FFF2-40B4-BE49-F238E27FC236}">
                    <a16:creationId xmlns:a16="http://schemas.microsoft.com/office/drawing/2014/main" id="{9273ABB3-4EA8-4BF1-9A20-E110EC58AB5C}"/>
                  </a:ext>
                </a:extLst>
              </p:cNvPr>
              <p:cNvSpPr/>
              <p:nvPr/>
            </p:nvSpPr>
            <p:spPr bwMode="auto">
              <a:xfrm>
                <a:off x="12076928" y="3745193"/>
                <a:ext cx="653238" cy="4589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5" name="Rectangle 104">
                <a:extLst>
                  <a:ext uri="{FF2B5EF4-FFF2-40B4-BE49-F238E27FC236}">
                    <a16:creationId xmlns:a16="http://schemas.microsoft.com/office/drawing/2014/main" id="{CAEC7D98-1785-4AA8-ACBA-2803A5D92604}"/>
                  </a:ext>
                </a:extLst>
              </p:cNvPr>
              <p:cNvSpPr/>
              <p:nvPr/>
            </p:nvSpPr>
            <p:spPr bwMode="auto">
              <a:xfrm>
                <a:off x="12076928" y="4440881"/>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6" name="Rectangle 105">
                <a:extLst>
                  <a:ext uri="{FF2B5EF4-FFF2-40B4-BE49-F238E27FC236}">
                    <a16:creationId xmlns:a16="http://schemas.microsoft.com/office/drawing/2014/main" id="{27582DD6-E929-4B0D-A601-1A9083C5F771}"/>
                  </a:ext>
                </a:extLst>
              </p:cNvPr>
              <p:cNvSpPr/>
              <p:nvPr/>
            </p:nvSpPr>
            <p:spPr bwMode="auto">
              <a:xfrm>
                <a:off x="12076928" y="513656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nvGrpSpPr>
            <p:cNvPr id="96" name="Group 95">
              <a:extLst>
                <a:ext uri="{FF2B5EF4-FFF2-40B4-BE49-F238E27FC236}">
                  <a16:creationId xmlns:a16="http://schemas.microsoft.com/office/drawing/2014/main" id="{F192391C-0131-4AD8-988A-96634C4F150E}"/>
                </a:ext>
              </a:extLst>
            </p:cNvPr>
            <p:cNvGrpSpPr/>
            <p:nvPr/>
          </p:nvGrpSpPr>
          <p:grpSpPr>
            <a:xfrm>
              <a:off x="9571688" y="2353818"/>
              <a:ext cx="653238" cy="3241740"/>
              <a:chOff x="12076928" y="2353818"/>
              <a:chExt cx="653238" cy="3241740"/>
            </a:xfrm>
            <a:grpFill/>
          </p:grpSpPr>
          <p:sp>
            <p:nvSpPr>
              <p:cNvPr id="97" name="Rectangle 96">
                <a:extLst>
                  <a:ext uri="{FF2B5EF4-FFF2-40B4-BE49-F238E27FC236}">
                    <a16:creationId xmlns:a16="http://schemas.microsoft.com/office/drawing/2014/main" id="{6B4F7ED2-6589-4C79-B565-4958E6ECE145}"/>
                  </a:ext>
                </a:extLst>
              </p:cNvPr>
              <p:cNvSpPr/>
              <p:nvPr/>
            </p:nvSpPr>
            <p:spPr bwMode="auto">
              <a:xfrm>
                <a:off x="12076928" y="235381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98" name="Rectangle 97">
                <a:extLst>
                  <a:ext uri="{FF2B5EF4-FFF2-40B4-BE49-F238E27FC236}">
                    <a16:creationId xmlns:a16="http://schemas.microsoft.com/office/drawing/2014/main" id="{527FA763-23A7-49C7-B1ED-B12087F71970}"/>
                  </a:ext>
                </a:extLst>
              </p:cNvPr>
              <p:cNvSpPr/>
              <p:nvPr/>
            </p:nvSpPr>
            <p:spPr bwMode="auto">
              <a:xfrm>
                <a:off x="12076928" y="3049506"/>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99" name="Rectangle 98">
                <a:extLst>
                  <a:ext uri="{FF2B5EF4-FFF2-40B4-BE49-F238E27FC236}">
                    <a16:creationId xmlns:a16="http://schemas.microsoft.com/office/drawing/2014/main" id="{1FA201D8-95C4-4E67-972E-68C9431637B3}"/>
                  </a:ext>
                </a:extLst>
              </p:cNvPr>
              <p:cNvSpPr/>
              <p:nvPr/>
            </p:nvSpPr>
            <p:spPr bwMode="auto">
              <a:xfrm>
                <a:off x="12076928" y="3745193"/>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0" name="Rectangle 99">
                <a:extLst>
                  <a:ext uri="{FF2B5EF4-FFF2-40B4-BE49-F238E27FC236}">
                    <a16:creationId xmlns:a16="http://schemas.microsoft.com/office/drawing/2014/main" id="{813107D5-145B-4F26-90D8-591D95FFBF2C}"/>
                  </a:ext>
                </a:extLst>
              </p:cNvPr>
              <p:cNvSpPr/>
              <p:nvPr/>
            </p:nvSpPr>
            <p:spPr bwMode="auto">
              <a:xfrm>
                <a:off x="12076928" y="4440881"/>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1" name="Rectangle 100">
                <a:extLst>
                  <a:ext uri="{FF2B5EF4-FFF2-40B4-BE49-F238E27FC236}">
                    <a16:creationId xmlns:a16="http://schemas.microsoft.com/office/drawing/2014/main" id="{ED195665-23B6-4D98-A84B-5BF1D2F02772}"/>
                  </a:ext>
                </a:extLst>
              </p:cNvPr>
              <p:cNvSpPr/>
              <p:nvPr/>
            </p:nvSpPr>
            <p:spPr bwMode="auto">
              <a:xfrm>
                <a:off x="12076928" y="513656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sp>
        <p:nvSpPr>
          <p:cNvPr id="155" name="Freeform: Shape 154">
            <a:extLst>
              <a:ext uri="{FF2B5EF4-FFF2-40B4-BE49-F238E27FC236}">
                <a16:creationId xmlns:a16="http://schemas.microsoft.com/office/drawing/2014/main" id="{EF783045-44B2-41D9-B7F6-6239D9773C13}"/>
              </a:ext>
            </a:extLst>
          </p:cNvPr>
          <p:cNvSpPr/>
          <p:nvPr/>
        </p:nvSpPr>
        <p:spPr bwMode="auto">
          <a:xfrm>
            <a:off x="9571687" y="2353818"/>
            <a:ext cx="2391751" cy="3241740"/>
          </a:xfrm>
          <a:custGeom>
            <a:avLst/>
            <a:gdLst>
              <a:gd name="connsiteX0" fmla="*/ 1738513 w 2391751"/>
              <a:gd name="connsiteY0" fmla="*/ 2782750 h 3241740"/>
              <a:gd name="connsiteX1" fmla="*/ 2391751 w 2391751"/>
              <a:gd name="connsiteY1" fmla="*/ 2782750 h 3241740"/>
              <a:gd name="connsiteX2" fmla="*/ 2391751 w 2391751"/>
              <a:gd name="connsiteY2" fmla="*/ 3241740 h 3241740"/>
              <a:gd name="connsiteX3" fmla="*/ 1738513 w 2391751"/>
              <a:gd name="connsiteY3" fmla="*/ 3241740 h 3241740"/>
              <a:gd name="connsiteX4" fmla="*/ 869256 w 2391751"/>
              <a:gd name="connsiteY4" fmla="*/ 2782750 h 3241740"/>
              <a:gd name="connsiteX5" fmla="*/ 1522494 w 2391751"/>
              <a:gd name="connsiteY5" fmla="*/ 2782750 h 3241740"/>
              <a:gd name="connsiteX6" fmla="*/ 1522494 w 2391751"/>
              <a:gd name="connsiteY6" fmla="*/ 3241740 h 3241740"/>
              <a:gd name="connsiteX7" fmla="*/ 869256 w 2391751"/>
              <a:gd name="connsiteY7" fmla="*/ 3241740 h 3241740"/>
              <a:gd name="connsiteX8" fmla="*/ 0 w 2391751"/>
              <a:gd name="connsiteY8" fmla="*/ 2782750 h 3241740"/>
              <a:gd name="connsiteX9" fmla="*/ 653238 w 2391751"/>
              <a:gd name="connsiteY9" fmla="*/ 2782750 h 3241740"/>
              <a:gd name="connsiteX10" fmla="*/ 653238 w 2391751"/>
              <a:gd name="connsiteY10" fmla="*/ 3241740 h 3241740"/>
              <a:gd name="connsiteX11" fmla="*/ 0 w 2391751"/>
              <a:gd name="connsiteY11" fmla="*/ 3241740 h 3241740"/>
              <a:gd name="connsiteX12" fmla="*/ 1738513 w 2391751"/>
              <a:gd name="connsiteY12" fmla="*/ 2087063 h 3241740"/>
              <a:gd name="connsiteX13" fmla="*/ 2391751 w 2391751"/>
              <a:gd name="connsiteY13" fmla="*/ 2087063 h 3241740"/>
              <a:gd name="connsiteX14" fmla="*/ 2391751 w 2391751"/>
              <a:gd name="connsiteY14" fmla="*/ 2546053 h 3241740"/>
              <a:gd name="connsiteX15" fmla="*/ 1738513 w 2391751"/>
              <a:gd name="connsiteY15" fmla="*/ 2546053 h 3241740"/>
              <a:gd name="connsiteX16" fmla="*/ 869256 w 2391751"/>
              <a:gd name="connsiteY16" fmla="*/ 2087063 h 3241740"/>
              <a:gd name="connsiteX17" fmla="*/ 1522494 w 2391751"/>
              <a:gd name="connsiteY17" fmla="*/ 2087063 h 3241740"/>
              <a:gd name="connsiteX18" fmla="*/ 1522494 w 2391751"/>
              <a:gd name="connsiteY18" fmla="*/ 2546053 h 3241740"/>
              <a:gd name="connsiteX19" fmla="*/ 869256 w 2391751"/>
              <a:gd name="connsiteY19" fmla="*/ 2546053 h 3241740"/>
              <a:gd name="connsiteX20" fmla="*/ 0 w 2391751"/>
              <a:gd name="connsiteY20" fmla="*/ 2087063 h 3241740"/>
              <a:gd name="connsiteX21" fmla="*/ 653238 w 2391751"/>
              <a:gd name="connsiteY21" fmla="*/ 2087063 h 3241740"/>
              <a:gd name="connsiteX22" fmla="*/ 653238 w 2391751"/>
              <a:gd name="connsiteY22" fmla="*/ 2546053 h 3241740"/>
              <a:gd name="connsiteX23" fmla="*/ 0 w 2391751"/>
              <a:gd name="connsiteY23" fmla="*/ 2546053 h 3241740"/>
              <a:gd name="connsiteX24" fmla="*/ 1738513 w 2391751"/>
              <a:gd name="connsiteY24" fmla="*/ 1391375 h 3241740"/>
              <a:gd name="connsiteX25" fmla="*/ 2391751 w 2391751"/>
              <a:gd name="connsiteY25" fmla="*/ 1391375 h 3241740"/>
              <a:gd name="connsiteX26" fmla="*/ 2391751 w 2391751"/>
              <a:gd name="connsiteY26" fmla="*/ 1850365 h 3241740"/>
              <a:gd name="connsiteX27" fmla="*/ 1738513 w 2391751"/>
              <a:gd name="connsiteY27" fmla="*/ 1850365 h 3241740"/>
              <a:gd name="connsiteX28" fmla="*/ 869256 w 2391751"/>
              <a:gd name="connsiteY28" fmla="*/ 1391375 h 3241740"/>
              <a:gd name="connsiteX29" fmla="*/ 1522494 w 2391751"/>
              <a:gd name="connsiteY29" fmla="*/ 1391375 h 3241740"/>
              <a:gd name="connsiteX30" fmla="*/ 1522494 w 2391751"/>
              <a:gd name="connsiteY30" fmla="*/ 1850365 h 3241740"/>
              <a:gd name="connsiteX31" fmla="*/ 869256 w 2391751"/>
              <a:gd name="connsiteY31" fmla="*/ 1850365 h 3241740"/>
              <a:gd name="connsiteX32" fmla="*/ 0 w 2391751"/>
              <a:gd name="connsiteY32" fmla="*/ 1391375 h 3241740"/>
              <a:gd name="connsiteX33" fmla="*/ 653238 w 2391751"/>
              <a:gd name="connsiteY33" fmla="*/ 1391375 h 3241740"/>
              <a:gd name="connsiteX34" fmla="*/ 653238 w 2391751"/>
              <a:gd name="connsiteY34" fmla="*/ 1850365 h 3241740"/>
              <a:gd name="connsiteX35" fmla="*/ 0 w 2391751"/>
              <a:gd name="connsiteY35" fmla="*/ 1850365 h 3241740"/>
              <a:gd name="connsiteX36" fmla="*/ 1738513 w 2391751"/>
              <a:gd name="connsiteY36" fmla="*/ 695688 h 3241740"/>
              <a:gd name="connsiteX37" fmla="*/ 2391751 w 2391751"/>
              <a:gd name="connsiteY37" fmla="*/ 695688 h 3241740"/>
              <a:gd name="connsiteX38" fmla="*/ 2391751 w 2391751"/>
              <a:gd name="connsiteY38" fmla="*/ 1154678 h 3241740"/>
              <a:gd name="connsiteX39" fmla="*/ 1738513 w 2391751"/>
              <a:gd name="connsiteY39" fmla="*/ 1154678 h 3241740"/>
              <a:gd name="connsiteX40" fmla="*/ 869256 w 2391751"/>
              <a:gd name="connsiteY40" fmla="*/ 695688 h 3241740"/>
              <a:gd name="connsiteX41" fmla="*/ 1522494 w 2391751"/>
              <a:gd name="connsiteY41" fmla="*/ 695688 h 3241740"/>
              <a:gd name="connsiteX42" fmla="*/ 1522494 w 2391751"/>
              <a:gd name="connsiteY42" fmla="*/ 1154678 h 3241740"/>
              <a:gd name="connsiteX43" fmla="*/ 869256 w 2391751"/>
              <a:gd name="connsiteY43" fmla="*/ 1154678 h 3241740"/>
              <a:gd name="connsiteX44" fmla="*/ 0 w 2391751"/>
              <a:gd name="connsiteY44" fmla="*/ 695688 h 3241740"/>
              <a:gd name="connsiteX45" fmla="*/ 653238 w 2391751"/>
              <a:gd name="connsiteY45" fmla="*/ 695688 h 3241740"/>
              <a:gd name="connsiteX46" fmla="*/ 653238 w 2391751"/>
              <a:gd name="connsiteY46" fmla="*/ 1154678 h 3241740"/>
              <a:gd name="connsiteX47" fmla="*/ 0 w 2391751"/>
              <a:gd name="connsiteY47" fmla="*/ 1154678 h 3241740"/>
              <a:gd name="connsiteX48" fmla="*/ 1738513 w 2391751"/>
              <a:gd name="connsiteY48" fmla="*/ 0 h 3241740"/>
              <a:gd name="connsiteX49" fmla="*/ 2391751 w 2391751"/>
              <a:gd name="connsiteY49" fmla="*/ 0 h 3241740"/>
              <a:gd name="connsiteX50" fmla="*/ 2391751 w 2391751"/>
              <a:gd name="connsiteY50" fmla="*/ 458990 h 3241740"/>
              <a:gd name="connsiteX51" fmla="*/ 1738513 w 2391751"/>
              <a:gd name="connsiteY51" fmla="*/ 458990 h 3241740"/>
              <a:gd name="connsiteX52" fmla="*/ 869256 w 2391751"/>
              <a:gd name="connsiteY52" fmla="*/ 0 h 3241740"/>
              <a:gd name="connsiteX53" fmla="*/ 1522494 w 2391751"/>
              <a:gd name="connsiteY53" fmla="*/ 0 h 3241740"/>
              <a:gd name="connsiteX54" fmla="*/ 1522494 w 2391751"/>
              <a:gd name="connsiteY54" fmla="*/ 458990 h 3241740"/>
              <a:gd name="connsiteX55" fmla="*/ 869256 w 2391751"/>
              <a:gd name="connsiteY55" fmla="*/ 458990 h 3241740"/>
              <a:gd name="connsiteX56" fmla="*/ 0 w 2391751"/>
              <a:gd name="connsiteY56" fmla="*/ 0 h 3241740"/>
              <a:gd name="connsiteX57" fmla="*/ 653238 w 2391751"/>
              <a:gd name="connsiteY57" fmla="*/ 0 h 3241740"/>
              <a:gd name="connsiteX58" fmla="*/ 653238 w 2391751"/>
              <a:gd name="connsiteY58" fmla="*/ 458990 h 3241740"/>
              <a:gd name="connsiteX59" fmla="*/ 0 w 2391751"/>
              <a:gd name="connsiteY59" fmla="*/ 458990 h 324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391751" h="3241740">
                <a:moveTo>
                  <a:pt x="1738513" y="2782750"/>
                </a:moveTo>
                <a:lnTo>
                  <a:pt x="2391751" y="2782750"/>
                </a:lnTo>
                <a:lnTo>
                  <a:pt x="2391751" y="3241740"/>
                </a:lnTo>
                <a:lnTo>
                  <a:pt x="1738513" y="3241740"/>
                </a:lnTo>
                <a:close/>
                <a:moveTo>
                  <a:pt x="869256" y="2782750"/>
                </a:moveTo>
                <a:lnTo>
                  <a:pt x="1522494" y="2782750"/>
                </a:lnTo>
                <a:lnTo>
                  <a:pt x="1522494" y="3241740"/>
                </a:lnTo>
                <a:lnTo>
                  <a:pt x="869256" y="3241740"/>
                </a:lnTo>
                <a:close/>
                <a:moveTo>
                  <a:pt x="0" y="2782750"/>
                </a:moveTo>
                <a:lnTo>
                  <a:pt x="653238" y="2782750"/>
                </a:lnTo>
                <a:lnTo>
                  <a:pt x="653238" y="3241740"/>
                </a:lnTo>
                <a:lnTo>
                  <a:pt x="0" y="3241740"/>
                </a:lnTo>
                <a:close/>
                <a:moveTo>
                  <a:pt x="1738513" y="2087063"/>
                </a:moveTo>
                <a:lnTo>
                  <a:pt x="2391751" y="2087063"/>
                </a:lnTo>
                <a:lnTo>
                  <a:pt x="2391751" y="2546053"/>
                </a:lnTo>
                <a:lnTo>
                  <a:pt x="1738513" y="2546053"/>
                </a:lnTo>
                <a:close/>
                <a:moveTo>
                  <a:pt x="869256" y="2087063"/>
                </a:moveTo>
                <a:lnTo>
                  <a:pt x="1522494" y="2087063"/>
                </a:lnTo>
                <a:lnTo>
                  <a:pt x="1522494" y="2546053"/>
                </a:lnTo>
                <a:lnTo>
                  <a:pt x="869256" y="2546053"/>
                </a:lnTo>
                <a:close/>
                <a:moveTo>
                  <a:pt x="0" y="2087063"/>
                </a:moveTo>
                <a:lnTo>
                  <a:pt x="653238" y="2087063"/>
                </a:lnTo>
                <a:lnTo>
                  <a:pt x="653238" y="2546053"/>
                </a:lnTo>
                <a:lnTo>
                  <a:pt x="0" y="2546053"/>
                </a:lnTo>
                <a:close/>
                <a:moveTo>
                  <a:pt x="1738513" y="1391375"/>
                </a:moveTo>
                <a:lnTo>
                  <a:pt x="2391751" y="1391375"/>
                </a:lnTo>
                <a:lnTo>
                  <a:pt x="2391751" y="1850365"/>
                </a:lnTo>
                <a:lnTo>
                  <a:pt x="1738513" y="1850365"/>
                </a:lnTo>
                <a:close/>
                <a:moveTo>
                  <a:pt x="869256" y="1391375"/>
                </a:moveTo>
                <a:lnTo>
                  <a:pt x="1522494" y="1391375"/>
                </a:lnTo>
                <a:lnTo>
                  <a:pt x="1522494" y="1850365"/>
                </a:lnTo>
                <a:lnTo>
                  <a:pt x="869256" y="1850365"/>
                </a:lnTo>
                <a:close/>
                <a:moveTo>
                  <a:pt x="0" y="1391375"/>
                </a:moveTo>
                <a:lnTo>
                  <a:pt x="653238" y="1391375"/>
                </a:lnTo>
                <a:lnTo>
                  <a:pt x="653238" y="1850365"/>
                </a:lnTo>
                <a:lnTo>
                  <a:pt x="0" y="1850365"/>
                </a:lnTo>
                <a:close/>
                <a:moveTo>
                  <a:pt x="1738513" y="695688"/>
                </a:moveTo>
                <a:lnTo>
                  <a:pt x="2391751" y="695688"/>
                </a:lnTo>
                <a:lnTo>
                  <a:pt x="2391751" y="1154678"/>
                </a:lnTo>
                <a:lnTo>
                  <a:pt x="1738513" y="1154678"/>
                </a:lnTo>
                <a:close/>
                <a:moveTo>
                  <a:pt x="869256" y="695688"/>
                </a:moveTo>
                <a:lnTo>
                  <a:pt x="1522494" y="695688"/>
                </a:lnTo>
                <a:lnTo>
                  <a:pt x="1522494" y="1154678"/>
                </a:lnTo>
                <a:lnTo>
                  <a:pt x="869256" y="1154678"/>
                </a:lnTo>
                <a:close/>
                <a:moveTo>
                  <a:pt x="0" y="695688"/>
                </a:moveTo>
                <a:lnTo>
                  <a:pt x="653238" y="695688"/>
                </a:lnTo>
                <a:lnTo>
                  <a:pt x="653238" y="1154678"/>
                </a:lnTo>
                <a:lnTo>
                  <a:pt x="0" y="1154678"/>
                </a:lnTo>
                <a:close/>
                <a:moveTo>
                  <a:pt x="1738513" y="0"/>
                </a:moveTo>
                <a:lnTo>
                  <a:pt x="2391751" y="0"/>
                </a:lnTo>
                <a:lnTo>
                  <a:pt x="2391751" y="458990"/>
                </a:lnTo>
                <a:lnTo>
                  <a:pt x="1738513" y="458990"/>
                </a:lnTo>
                <a:close/>
                <a:moveTo>
                  <a:pt x="869256" y="0"/>
                </a:moveTo>
                <a:lnTo>
                  <a:pt x="1522494" y="0"/>
                </a:lnTo>
                <a:lnTo>
                  <a:pt x="1522494" y="458990"/>
                </a:lnTo>
                <a:lnTo>
                  <a:pt x="869256" y="458990"/>
                </a:lnTo>
                <a:close/>
                <a:moveTo>
                  <a:pt x="0" y="0"/>
                </a:moveTo>
                <a:lnTo>
                  <a:pt x="653238" y="0"/>
                </a:lnTo>
                <a:lnTo>
                  <a:pt x="653238" y="458990"/>
                </a:lnTo>
                <a:lnTo>
                  <a:pt x="0" y="45899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Tree>
    <p:extLst>
      <p:ext uri="{BB962C8B-B14F-4D97-AF65-F5344CB8AC3E}">
        <p14:creationId xmlns:p14="http://schemas.microsoft.com/office/powerpoint/2010/main" val="1464545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500"/>
                                  </p:stCondLst>
                                  <p:childTnLst>
                                    <p:animEffect transition="out" filter="fade">
                                      <p:cBhvr>
                                        <p:cTn id="6" dur="500"/>
                                        <p:tgtEl>
                                          <p:spTgt spid="93"/>
                                        </p:tgtEl>
                                      </p:cBhvr>
                                    </p:animEffect>
                                    <p:set>
                                      <p:cBhvr>
                                        <p:cTn id="7" dur="1" fill="hold">
                                          <p:stCondLst>
                                            <p:cond delay="499"/>
                                          </p:stCondLst>
                                        </p:cTn>
                                        <p:tgtEl>
                                          <p:spTgt spid="93"/>
                                        </p:tgtEl>
                                        <p:attrNameLst>
                                          <p:attrName>style.visibility</p:attrName>
                                        </p:attrNameLst>
                                      </p:cBhvr>
                                      <p:to>
                                        <p:strVal val="hidden"/>
                                      </p:to>
                                    </p:set>
                                  </p:childTnLst>
                                </p:cTn>
                              </p:par>
                              <p:par>
                                <p:cTn id="8" presetID="10" presetClass="entr" presetSubtype="0" fill="hold" grpId="2" nodeType="withEffect">
                                  <p:stCondLst>
                                    <p:cond delay="500"/>
                                  </p:stCondLst>
                                  <p:childTnLst>
                                    <p:set>
                                      <p:cBhvr>
                                        <p:cTn id="9" dur="1" fill="hold">
                                          <p:stCondLst>
                                            <p:cond delay="0"/>
                                          </p:stCondLst>
                                        </p:cTn>
                                        <p:tgtEl>
                                          <p:spTgt spid="155"/>
                                        </p:tgtEl>
                                        <p:attrNameLst>
                                          <p:attrName>style.visibility</p:attrName>
                                        </p:attrNameLst>
                                      </p:cBhvr>
                                      <p:to>
                                        <p:strVal val="visible"/>
                                      </p:to>
                                    </p:set>
                                    <p:animEffect transition="in" filter="fade">
                                      <p:cBhvr>
                                        <p:cTn id="10" dur="500"/>
                                        <p:tgtEl>
                                          <p:spTgt spid="155"/>
                                        </p:tgtEl>
                                      </p:cBhvr>
                                    </p:animEffect>
                                  </p:childTnLst>
                                </p:cTn>
                              </p:par>
                            </p:childTnLst>
                          </p:cTn>
                        </p:par>
                        <p:par>
                          <p:cTn id="11" fill="hold">
                            <p:stCondLst>
                              <p:cond delay="1000"/>
                            </p:stCondLst>
                            <p:childTnLst>
                              <p:par>
                                <p:cTn id="12" presetID="42" presetClass="path" presetSubtype="0" accel="50000" decel="50000" fill="hold" grpId="0" nodeType="afterEffect">
                                  <p:stCondLst>
                                    <p:cond delay="0"/>
                                  </p:stCondLst>
                                  <p:childTnLst>
                                    <p:animMotion origin="layout" path="M -2.91667E-6 3.7037E-7 L -0.38307 0.05301 " pathEditMode="relative" rAng="0" ptsTypes="AA">
                                      <p:cBhvr>
                                        <p:cTn id="13" dur="1500" fill="hold"/>
                                        <p:tgtEl>
                                          <p:spTgt spid="155"/>
                                        </p:tgtEl>
                                        <p:attrNameLst>
                                          <p:attrName>ppt_x</p:attrName>
                                          <p:attrName>ppt_y</p:attrName>
                                        </p:attrNameLst>
                                      </p:cBhvr>
                                      <p:rCtr x="-19154" y="2639"/>
                                    </p:animMotion>
                                  </p:childTnLst>
                                </p:cTn>
                              </p:par>
                              <p:par>
                                <p:cTn id="14" presetID="10" presetClass="exit" presetSubtype="0" fill="hold" grpId="1" nodeType="withEffect">
                                  <p:stCondLst>
                                    <p:cond delay="1000"/>
                                  </p:stCondLst>
                                  <p:childTnLst>
                                    <p:animEffect transition="out" filter="fade">
                                      <p:cBhvr>
                                        <p:cTn id="15" dur="500"/>
                                        <p:tgtEl>
                                          <p:spTgt spid="155"/>
                                        </p:tgtEl>
                                      </p:cBhvr>
                                    </p:animEffect>
                                    <p:set>
                                      <p:cBhvr>
                                        <p:cTn id="16" dur="1" fill="hold">
                                          <p:stCondLst>
                                            <p:cond delay="499"/>
                                          </p:stCondLst>
                                        </p:cTn>
                                        <p:tgtEl>
                                          <p:spTgt spid="155"/>
                                        </p:tgtEl>
                                        <p:attrNameLst>
                                          <p:attrName>style.visibility</p:attrName>
                                        </p:attrNameLst>
                                      </p:cBhvr>
                                      <p:to>
                                        <p:strVal val="hidden"/>
                                      </p:to>
                                    </p:set>
                                  </p:childTnLst>
                                </p:cTn>
                              </p:par>
                              <p:par>
                                <p:cTn id="17" presetID="6" presetClass="emph" presetSubtype="0" fill="hold" grpId="3" nodeType="withEffect">
                                  <p:stCondLst>
                                    <p:cond delay="250"/>
                                  </p:stCondLst>
                                  <p:childTnLst>
                                    <p:animScale>
                                      <p:cBhvr>
                                        <p:cTn id="18" dur="1250" fill="hold"/>
                                        <p:tgtEl>
                                          <p:spTgt spid="155"/>
                                        </p:tgtEl>
                                      </p:cBhvr>
                                      <p:by x="115000" y="100000"/>
                                    </p:animScale>
                                  </p:childTnLst>
                                </p:cTn>
                              </p:par>
                              <p:par>
                                <p:cTn id="19" presetID="10" presetClass="entr" presetSubtype="0" fill="hold" grpId="0" nodeType="withEffect">
                                  <p:stCondLst>
                                    <p:cond delay="75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750"/>
                                        <p:tgtEl>
                                          <p:spTgt spid="18"/>
                                        </p:tgtEl>
                                      </p:cBhvr>
                                    </p:animEffect>
                                  </p:childTnLst>
                                </p:cTn>
                              </p:par>
                              <p:par>
                                <p:cTn id="22" presetID="10" presetClass="entr" presetSubtype="0" fill="hold" grpId="0" nodeType="withEffect">
                                  <p:stCondLst>
                                    <p:cond delay="750"/>
                                  </p:stCondLst>
                                  <p:childTnLst>
                                    <p:set>
                                      <p:cBhvr>
                                        <p:cTn id="23" dur="1" fill="hold">
                                          <p:stCondLst>
                                            <p:cond delay="0"/>
                                          </p:stCondLst>
                                        </p:cTn>
                                        <p:tgtEl>
                                          <p:spTgt spid="196"/>
                                        </p:tgtEl>
                                        <p:attrNameLst>
                                          <p:attrName>style.visibility</p:attrName>
                                        </p:attrNameLst>
                                      </p:cBhvr>
                                      <p:to>
                                        <p:strVal val="visible"/>
                                      </p:to>
                                    </p:set>
                                    <p:animEffect transition="in" filter="fade">
                                      <p:cBhvr>
                                        <p:cTn id="24" dur="750"/>
                                        <p:tgtEl>
                                          <p:spTgt spid="196"/>
                                        </p:tgtEl>
                                      </p:cBhvr>
                                    </p:animEffect>
                                  </p:childTnLst>
                                </p:cTn>
                              </p:par>
                              <p:par>
                                <p:cTn id="25" presetID="10" presetClass="entr" presetSubtype="0" fill="hold" grpId="0" nodeType="withEffect">
                                  <p:stCondLst>
                                    <p:cond delay="75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750"/>
                                        <p:tgtEl>
                                          <p:spTgt spid="5"/>
                                        </p:tgtEl>
                                      </p:cBhvr>
                                    </p:animEffect>
                                  </p:childTnLst>
                                </p:cTn>
                              </p:par>
                              <p:par>
                                <p:cTn id="28" presetID="10" presetClass="entr" presetSubtype="0" fill="hold" grpId="0" nodeType="withEffect">
                                  <p:stCondLst>
                                    <p:cond delay="750"/>
                                  </p:stCondLst>
                                  <p:childTnLst>
                                    <p:set>
                                      <p:cBhvr>
                                        <p:cTn id="29" dur="1" fill="hold">
                                          <p:stCondLst>
                                            <p:cond delay="0"/>
                                          </p:stCondLst>
                                        </p:cTn>
                                        <p:tgtEl>
                                          <p:spTgt spid="69"/>
                                        </p:tgtEl>
                                        <p:attrNameLst>
                                          <p:attrName>style.visibility</p:attrName>
                                        </p:attrNameLst>
                                      </p:cBhvr>
                                      <p:to>
                                        <p:strVal val="visible"/>
                                      </p:to>
                                    </p:set>
                                    <p:animEffect transition="in" filter="fade">
                                      <p:cBhvr>
                                        <p:cTn id="30" dur="750"/>
                                        <p:tgtEl>
                                          <p:spTgt spid="69"/>
                                        </p:tgtEl>
                                      </p:cBhvr>
                                    </p:animEffect>
                                  </p:childTnLst>
                                </p:cTn>
                              </p:par>
                              <p:par>
                                <p:cTn id="31" presetID="10" presetClass="entr" presetSubtype="0" fill="hold" nodeType="withEffect">
                                  <p:stCondLst>
                                    <p:cond delay="750"/>
                                  </p:stCondLst>
                                  <p:childTnLst>
                                    <p:set>
                                      <p:cBhvr>
                                        <p:cTn id="32" dur="1" fill="hold">
                                          <p:stCondLst>
                                            <p:cond delay="0"/>
                                          </p:stCondLst>
                                        </p:cTn>
                                        <p:tgtEl>
                                          <p:spTgt spid="2"/>
                                        </p:tgtEl>
                                        <p:attrNameLst>
                                          <p:attrName>style.visibility</p:attrName>
                                        </p:attrNameLst>
                                      </p:cBhvr>
                                      <p:to>
                                        <p:strVal val="visible"/>
                                      </p:to>
                                    </p:set>
                                    <p:animEffect transition="in" filter="fade">
                                      <p:cBhvr>
                                        <p:cTn id="33" dur="750"/>
                                        <p:tgtEl>
                                          <p:spTgt spid="2"/>
                                        </p:tgtEl>
                                      </p:cBhvr>
                                    </p:animEffect>
                                  </p:childTnLst>
                                </p:cTn>
                              </p:par>
                              <p:par>
                                <p:cTn id="34" presetID="10" presetClass="entr" presetSubtype="0" fill="hold" grpId="0" nodeType="withEffect">
                                  <p:stCondLst>
                                    <p:cond delay="750"/>
                                  </p:stCondLst>
                                  <p:childTnLst>
                                    <p:set>
                                      <p:cBhvr>
                                        <p:cTn id="35" dur="1" fill="hold">
                                          <p:stCondLst>
                                            <p:cond delay="0"/>
                                          </p:stCondLst>
                                        </p:cTn>
                                        <p:tgtEl>
                                          <p:spTgt spid="147"/>
                                        </p:tgtEl>
                                        <p:attrNameLst>
                                          <p:attrName>style.visibility</p:attrName>
                                        </p:attrNameLst>
                                      </p:cBhvr>
                                      <p:to>
                                        <p:strVal val="visible"/>
                                      </p:to>
                                    </p:set>
                                    <p:animEffect transition="in" filter="fade">
                                      <p:cBhvr>
                                        <p:cTn id="36" dur="750"/>
                                        <p:tgtEl>
                                          <p:spTgt spid="147"/>
                                        </p:tgtEl>
                                      </p:cBhvr>
                                    </p:animEffect>
                                  </p:childTnLst>
                                </p:cTn>
                              </p:par>
                              <p:par>
                                <p:cTn id="37" presetID="10" presetClass="entr" presetSubtype="0" fill="hold" grpId="0" nodeType="withEffect">
                                  <p:stCondLst>
                                    <p:cond delay="750"/>
                                  </p:stCondLst>
                                  <p:childTnLst>
                                    <p:set>
                                      <p:cBhvr>
                                        <p:cTn id="38" dur="1" fill="hold">
                                          <p:stCondLst>
                                            <p:cond delay="0"/>
                                          </p:stCondLst>
                                        </p:cTn>
                                        <p:tgtEl>
                                          <p:spTgt spid="148"/>
                                        </p:tgtEl>
                                        <p:attrNameLst>
                                          <p:attrName>style.visibility</p:attrName>
                                        </p:attrNameLst>
                                      </p:cBhvr>
                                      <p:to>
                                        <p:strVal val="visible"/>
                                      </p:to>
                                    </p:set>
                                    <p:animEffect transition="in" filter="fade">
                                      <p:cBhvr>
                                        <p:cTn id="39" dur="750"/>
                                        <p:tgtEl>
                                          <p:spTgt spid="148"/>
                                        </p:tgtEl>
                                      </p:cBhvr>
                                    </p:animEffect>
                                  </p:childTnLst>
                                </p:cTn>
                              </p:par>
                              <p:par>
                                <p:cTn id="40" presetID="10" presetClass="entr" presetSubtype="0" fill="hold" grpId="0" nodeType="withEffect">
                                  <p:stCondLst>
                                    <p:cond delay="750"/>
                                  </p:stCondLst>
                                  <p:childTnLst>
                                    <p:set>
                                      <p:cBhvr>
                                        <p:cTn id="41" dur="1" fill="hold">
                                          <p:stCondLst>
                                            <p:cond delay="0"/>
                                          </p:stCondLst>
                                        </p:cTn>
                                        <p:tgtEl>
                                          <p:spTgt spid="149"/>
                                        </p:tgtEl>
                                        <p:attrNameLst>
                                          <p:attrName>style.visibility</p:attrName>
                                        </p:attrNameLst>
                                      </p:cBhvr>
                                      <p:to>
                                        <p:strVal val="visible"/>
                                      </p:to>
                                    </p:set>
                                    <p:animEffect transition="in" filter="fade">
                                      <p:cBhvr>
                                        <p:cTn id="42" dur="750"/>
                                        <p:tgtEl>
                                          <p:spTgt spid="149"/>
                                        </p:tgtEl>
                                      </p:cBhvr>
                                    </p:animEffect>
                                  </p:childTnLst>
                                </p:cTn>
                              </p:par>
                              <p:par>
                                <p:cTn id="43" presetID="10" presetClass="entr" presetSubtype="0" fill="hold" grpId="0" nodeType="withEffect">
                                  <p:stCondLst>
                                    <p:cond delay="750"/>
                                  </p:stCondLst>
                                  <p:childTnLst>
                                    <p:set>
                                      <p:cBhvr>
                                        <p:cTn id="44" dur="1" fill="hold">
                                          <p:stCondLst>
                                            <p:cond delay="0"/>
                                          </p:stCondLst>
                                        </p:cTn>
                                        <p:tgtEl>
                                          <p:spTgt spid="150"/>
                                        </p:tgtEl>
                                        <p:attrNameLst>
                                          <p:attrName>style.visibility</p:attrName>
                                        </p:attrNameLst>
                                      </p:cBhvr>
                                      <p:to>
                                        <p:strVal val="visible"/>
                                      </p:to>
                                    </p:set>
                                    <p:animEffect transition="in" filter="fade">
                                      <p:cBhvr>
                                        <p:cTn id="45" dur="750"/>
                                        <p:tgtEl>
                                          <p:spTgt spid="150"/>
                                        </p:tgtEl>
                                      </p:cBhvr>
                                    </p:animEffect>
                                  </p:childTnLst>
                                </p:cTn>
                              </p:par>
                              <p:par>
                                <p:cTn id="46" presetID="10" presetClass="entr" presetSubtype="0" fill="hold" grpId="0" nodeType="withEffect">
                                  <p:stCondLst>
                                    <p:cond delay="750"/>
                                  </p:stCondLst>
                                  <p:childTnLst>
                                    <p:set>
                                      <p:cBhvr>
                                        <p:cTn id="47" dur="1" fill="hold">
                                          <p:stCondLst>
                                            <p:cond delay="0"/>
                                          </p:stCondLst>
                                        </p:cTn>
                                        <p:tgtEl>
                                          <p:spTgt spid="32"/>
                                        </p:tgtEl>
                                        <p:attrNameLst>
                                          <p:attrName>style.visibility</p:attrName>
                                        </p:attrNameLst>
                                      </p:cBhvr>
                                      <p:to>
                                        <p:strVal val="visible"/>
                                      </p:to>
                                    </p:set>
                                    <p:animEffect transition="in" filter="fade">
                                      <p:cBhvr>
                                        <p:cTn id="48" dur="750"/>
                                        <p:tgtEl>
                                          <p:spTgt spid="32"/>
                                        </p:tgtEl>
                                      </p:cBhvr>
                                    </p:animEffect>
                                  </p:childTnLst>
                                </p:cTn>
                              </p:par>
                              <p:par>
                                <p:cTn id="49" presetID="10" presetClass="entr" presetSubtype="0" fill="hold" nodeType="withEffect">
                                  <p:stCondLst>
                                    <p:cond delay="750"/>
                                  </p:stCondLst>
                                  <p:childTnLst>
                                    <p:set>
                                      <p:cBhvr>
                                        <p:cTn id="50" dur="1" fill="hold">
                                          <p:stCondLst>
                                            <p:cond delay="0"/>
                                          </p:stCondLst>
                                        </p:cTn>
                                        <p:tgtEl>
                                          <p:spTgt spid="109"/>
                                        </p:tgtEl>
                                        <p:attrNameLst>
                                          <p:attrName>style.visibility</p:attrName>
                                        </p:attrNameLst>
                                      </p:cBhvr>
                                      <p:to>
                                        <p:strVal val="visible"/>
                                      </p:to>
                                    </p:set>
                                    <p:animEffect transition="in" filter="fade">
                                      <p:cBhvr>
                                        <p:cTn id="51" dur="750"/>
                                        <p:tgtEl>
                                          <p:spTgt spid="109"/>
                                        </p:tgtEl>
                                      </p:cBhvr>
                                    </p:animEffect>
                                  </p:childTnLst>
                                </p:cTn>
                              </p:par>
                              <p:par>
                                <p:cTn id="52" presetID="10" presetClass="entr" presetSubtype="0" fill="hold" nodeType="withEffect">
                                  <p:stCondLst>
                                    <p:cond delay="750"/>
                                  </p:stCondLst>
                                  <p:childTnLst>
                                    <p:set>
                                      <p:cBhvr>
                                        <p:cTn id="53" dur="1" fill="hold">
                                          <p:stCondLst>
                                            <p:cond delay="0"/>
                                          </p:stCondLst>
                                        </p:cTn>
                                        <p:tgtEl>
                                          <p:spTgt spid="212"/>
                                        </p:tgtEl>
                                        <p:attrNameLst>
                                          <p:attrName>style.visibility</p:attrName>
                                        </p:attrNameLst>
                                      </p:cBhvr>
                                      <p:to>
                                        <p:strVal val="visible"/>
                                      </p:to>
                                    </p:set>
                                    <p:animEffect transition="in" filter="fade">
                                      <p:cBhvr>
                                        <p:cTn id="54" dur="750"/>
                                        <p:tgtEl>
                                          <p:spTgt spid="212"/>
                                        </p:tgtEl>
                                      </p:cBhvr>
                                    </p:animEffect>
                                  </p:childTnLst>
                                </p:cTn>
                              </p:par>
                              <p:par>
                                <p:cTn id="55" presetID="10" presetClass="entr" presetSubtype="0" fill="hold" grpId="0" nodeType="withEffect">
                                  <p:stCondLst>
                                    <p:cond delay="750"/>
                                  </p:stCondLst>
                                  <p:childTnLst>
                                    <p:set>
                                      <p:cBhvr>
                                        <p:cTn id="56" dur="1" fill="hold">
                                          <p:stCondLst>
                                            <p:cond delay="0"/>
                                          </p:stCondLst>
                                        </p:cTn>
                                        <p:tgtEl>
                                          <p:spTgt spid="71"/>
                                        </p:tgtEl>
                                        <p:attrNameLst>
                                          <p:attrName>style.visibility</p:attrName>
                                        </p:attrNameLst>
                                      </p:cBhvr>
                                      <p:to>
                                        <p:strVal val="visible"/>
                                      </p:to>
                                    </p:set>
                                    <p:animEffect transition="in" filter="fade">
                                      <p:cBhvr>
                                        <p:cTn id="57" dur="750"/>
                                        <p:tgtEl>
                                          <p:spTgt spid="71"/>
                                        </p:tgtEl>
                                      </p:cBhvr>
                                    </p:animEffect>
                                  </p:childTnLst>
                                </p:cTn>
                              </p:par>
                              <p:par>
                                <p:cTn id="58" presetID="10" presetClass="entr" presetSubtype="0" fill="hold" nodeType="withEffect">
                                  <p:stCondLst>
                                    <p:cond delay="750"/>
                                  </p:stCondLst>
                                  <p:childTnLst>
                                    <p:set>
                                      <p:cBhvr>
                                        <p:cTn id="59" dur="1" fill="hold">
                                          <p:stCondLst>
                                            <p:cond delay="0"/>
                                          </p:stCondLst>
                                        </p:cTn>
                                        <p:tgtEl>
                                          <p:spTgt spid="218"/>
                                        </p:tgtEl>
                                        <p:attrNameLst>
                                          <p:attrName>style.visibility</p:attrName>
                                        </p:attrNameLst>
                                      </p:cBhvr>
                                      <p:to>
                                        <p:strVal val="visible"/>
                                      </p:to>
                                    </p:set>
                                    <p:animEffect transition="in" filter="fade">
                                      <p:cBhvr>
                                        <p:cTn id="60" dur="750"/>
                                        <p:tgtEl>
                                          <p:spTgt spid="218"/>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250"/>
                                  </p:stCondLst>
                                  <p:childTnLst>
                                    <p:set>
                                      <p:cBhvr>
                                        <p:cTn id="64" dur="1" fill="hold">
                                          <p:stCondLst>
                                            <p:cond delay="0"/>
                                          </p:stCondLst>
                                        </p:cTn>
                                        <p:tgtEl>
                                          <p:spTgt spid="206"/>
                                        </p:tgtEl>
                                        <p:attrNameLst>
                                          <p:attrName>style.visibility</p:attrName>
                                        </p:attrNameLst>
                                      </p:cBhvr>
                                      <p:to>
                                        <p:strVal val="visible"/>
                                      </p:to>
                                    </p:set>
                                    <p:animEffect transition="in" filter="fade">
                                      <p:cBhvr>
                                        <p:cTn id="65" dur="500"/>
                                        <p:tgtEl>
                                          <p:spTgt spid="206"/>
                                        </p:tgtEl>
                                      </p:cBhvr>
                                    </p:animEffect>
                                  </p:childTnLst>
                                </p:cTn>
                              </p:par>
                              <p:par>
                                <p:cTn id="66" presetID="10" presetClass="entr" presetSubtype="0" fill="hold" grpId="0" nodeType="withEffect">
                                  <p:stCondLst>
                                    <p:cond delay="250"/>
                                  </p:stCondLst>
                                  <p:childTnLst>
                                    <p:set>
                                      <p:cBhvr>
                                        <p:cTn id="67" dur="1" fill="hold">
                                          <p:stCondLst>
                                            <p:cond delay="0"/>
                                          </p:stCondLst>
                                        </p:cTn>
                                        <p:tgtEl>
                                          <p:spTgt spid="3"/>
                                        </p:tgtEl>
                                        <p:attrNameLst>
                                          <p:attrName>style.visibility</p:attrName>
                                        </p:attrNameLst>
                                      </p:cBhvr>
                                      <p:to>
                                        <p:strVal val="visible"/>
                                      </p:to>
                                    </p:set>
                                    <p:animEffect transition="in" filter="fade">
                                      <p:cBhvr>
                                        <p:cTn id="68" dur="750"/>
                                        <p:tgtEl>
                                          <p:spTgt spid="3"/>
                                        </p:tgtEl>
                                      </p:cBhvr>
                                    </p:animEffect>
                                  </p:childTnLst>
                                </p:cTn>
                              </p:par>
                              <p:par>
                                <p:cTn id="69" presetID="10" presetClass="entr" presetSubtype="0" fill="hold" grpId="0" nodeType="withEffect">
                                  <p:stCondLst>
                                    <p:cond delay="500"/>
                                  </p:stCondLst>
                                  <p:childTnLst>
                                    <p:set>
                                      <p:cBhvr>
                                        <p:cTn id="70" dur="1" fill="hold">
                                          <p:stCondLst>
                                            <p:cond delay="0"/>
                                          </p:stCondLst>
                                        </p:cTn>
                                        <p:tgtEl>
                                          <p:spTgt spid="207"/>
                                        </p:tgtEl>
                                        <p:attrNameLst>
                                          <p:attrName>style.visibility</p:attrName>
                                        </p:attrNameLst>
                                      </p:cBhvr>
                                      <p:to>
                                        <p:strVal val="visible"/>
                                      </p:to>
                                    </p:set>
                                    <p:animEffect transition="in" filter="fade">
                                      <p:cBhvr>
                                        <p:cTn id="71" dur="750"/>
                                        <p:tgtEl>
                                          <p:spTgt spid="207"/>
                                        </p:tgtEl>
                                      </p:cBhvr>
                                    </p:animEffect>
                                  </p:childTnLst>
                                </p:cTn>
                              </p:par>
                              <p:par>
                                <p:cTn id="72" presetID="10" presetClass="entr" presetSubtype="0" fill="hold" grpId="0" nodeType="withEffect">
                                  <p:stCondLst>
                                    <p:cond delay="250"/>
                                  </p:stCondLst>
                                  <p:childTnLst>
                                    <p:set>
                                      <p:cBhvr>
                                        <p:cTn id="73" dur="1" fill="hold">
                                          <p:stCondLst>
                                            <p:cond delay="0"/>
                                          </p:stCondLst>
                                        </p:cTn>
                                        <p:tgtEl>
                                          <p:spTgt spid="208"/>
                                        </p:tgtEl>
                                        <p:attrNameLst>
                                          <p:attrName>style.visibility</p:attrName>
                                        </p:attrNameLst>
                                      </p:cBhvr>
                                      <p:to>
                                        <p:strVal val="visible"/>
                                      </p:to>
                                    </p:set>
                                    <p:animEffect transition="in" filter="fade">
                                      <p:cBhvr>
                                        <p:cTn id="74" dur="750"/>
                                        <p:tgtEl>
                                          <p:spTgt spid="208"/>
                                        </p:tgtEl>
                                      </p:cBhvr>
                                    </p:animEffect>
                                  </p:childTnLst>
                                </p:cTn>
                              </p:par>
                              <p:par>
                                <p:cTn id="75" presetID="10" presetClass="entr" presetSubtype="0" fill="hold" grpId="0" nodeType="withEffect">
                                  <p:stCondLst>
                                    <p:cond delay="500"/>
                                  </p:stCondLst>
                                  <p:childTnLst>
                                    <p:set>
                                      <p:cBhvr>
                                        <p:cTn id="76" dur="1" fill="hold">
                                          <p:stCondLst>
                                            <p:cond delay="0"/>
                                          </p:stCondLst>
                                        </p:cTn>
                                        <p:tgtEl>
                                          <p:spTgt spid="209"/>
                                        </p:tgtEl>
                                        <p:attrNameLst>
                                          <p:attrName>style.visibility</p:attrName>
                                        </p:attrNameLst>
                                      </p:cBhvr>
                                      <p:to>
                                        <p:strVal val="visible"/>
                                      </p:to>
                                    </p:set>
                                    <p:animEffect transition="in" filter="fade">
                                      <p:cBhvr>
                                        <p:cTn id="77" dur="750"/>
                                        <p:tgtEl>
                                          <p:spTgt spid="209"/>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210"/>
                                        </p:tgtEl>
                                        <p:attrNameLst>
                                          <p:attrName>style.visibility</p:attrName>
                                        </p:attrNameLst>
                                      </p:cBhvr>
                                      <p:to>
                                        <p:strVal val="visible"/>
                                      </p:to>
                                    </p:set>
                                    <p:animEffect transition="in" filter="fade">
                                      <p:cBhvr>
                                        <p:cTn id="80" dur="500"/>
                                        <p:tgtEl>
                                          <p:spTgt spid="210"/>
                                        </p:tgtEl>
                                      </p:cBhvr>
                                    </p:animEffect>
                                  </p:childTnLst>
                                </p:cTn>
                              </p:par>
                              <p:par>
                                <p:cTn id="81" presetID="10" presetClass="entr" presetSubtype="0" fill="hold" grpId="0" nodeType="withEffect">
                                  <p:stCondLst>
                                    <p:cond delay="250"/>
                                  </p:stCondLst>
                                  <p:childTnLst>
                                    <p:set>
                                      <p:cBhvr>
                                        <p:cTn id="82" dur="1" fill="hold">
                                          <p:stCondLst>
                                            <p:cond delay="0"/>
                                          </p:stCondLst>
                                        </p:cTn>
                                        <p:tgtEl>
                                          <p:spTgt spid="92"/>
                                        </p:tgtEl>
                                        <p:attrNameLst>
                                          <p:attrName>style.visibility</p:attrName>
                                        </p:attrNameLst>
                                      </p:cBhvr>
                                      <p:to>
                                        <p:strVal val="visible"/>
                                      </p:to>
                                    </p:set>
                                    <p:animEffect transition="in" filter="fade">
                                      <p:cBhvr>
                                        <p:cTn id="83" dur="650"/>
                                        <p:tgtEl>
                                          <p:spTgt spid="92"/>
                                        </p:tgtEl>
                                      </p:cBhvr>
                                    </p:animEffect>
                                  </p:childTnLst>
                                </p:cTn>
                              </p:par>
                              <p:par>
                                <p:cTn id="84" presetID="10" presetClass="entr" presetSubtype="0" fill="hold" grpId="0" nodeType="withEffect">
                                  <p:stCondLst>
                                    <p:cond delay="750"/>
                                  </p:stCondLst>
                                  <p:childTnLst>
                                    <p:set>
                                      <p:cBhvr>
                                        <p:cTn id="85" dur="1" fill="hold">
                                          <p:stCondLst>
                                            <p:cond delay="0"/>
                                          </p:stCondLst>
                                        </p:cTn>
                                        <p:tgtEl>
                                          <p:spTgt spid="56"/>
                                        </p:tgtEl>
                                        <p:attrNameLst>
                                          <p:attrName>style.visibility</p:attrName>
                                        </p:attrNameLst>
                                      </p:cBhvr>
                                      <p:to>
                                        <p:strVal val="visible"/>
                                      </p:to>
                                    </p:set>
                                    <p:animEffect transition="in" filter="fade">
                                      <p:cBhvr>
                                        <p:cTn id="86" dur="500"/>
                                        <p:tgtEl>
                                          <p:spTgt spid="56"/>
                                        </p:tgtEl>
                                      </p:cBhvr>
                                    </p:animEffect>
                                  </p:childTnLst>
                                </p:cTn>
                              </p:par>
                              <p:par>
                                <p:cTn id="87" presetID="10" presetClass="entr" presetSubtype="0" fill="hold" grpId="0" nodeType="withEffect">
                                  <p:stCondLst>
                                    <p:cond delay="1250"/>
                                  </p:stCondLst>
                                  <p:childTnLst>
                                    <p:set>
                                      <p:cBhvr>
                                        <p:cTn id="88" dur="1" fill="hold">
                                          <p:stCondLst>
                                            <p:cond delay="0"/>
                                          </p:stCondLst>
                                        </p:cTn>
                                        <p:tgtEl>
                                          <p:spTgt spid="57"/>
                                        </p:tgtEl>
                                        <p:attrNameLst>
                                          <p:attrName>style.visibility</p:attrName>
                                        </p:attrNameLst>
                                      </p:cBhvr>
                                      <p:to>
                                        <p:strVal val="visible"/>
                                      </p:to>
                                    </p:set>
                                    <p:animEffect transition="in" filter="fade">
                                      <p:cBhvr>
                                        <p:cTn id="89" dur="750"/>
                                        <p:tgtEl>
                                          <p:spTgt spid="57"/>
                                        </p:tgtEl>
                                      </p:cBhvr>
                                    </p:animEffect>
                                  </p:childTnLst>
                                </p:cTn>
                              </p:par>
                              <p:par>
                                <p:cTn id="90" presetID="10" presetClass="entr" presetSubtype="0" fill="hold" grpId="0" nodeType="withEffect">
                                  <p:stCondLst>
                                    <p:cond delay="1000"/>
                                  </p:stCondLst>
                                  <p:childTnLst>
                                    <p:set>
                                      <p:cBhvr>
                                        <p:cTn id="91" dur="1" fill="hold">
                                          <p:stCondLst>
                                            <p:cond delay="0"/>
                                          </p:stCondLst>
                                        </p:cTn>
                                        <p:tgtEl>
                                          <p:spTgt spid="58"/>
                                        </p:tgtEl>
                                        <p:attrNameLst>
                                          <p:attrName>style.visibility</p:attrName>
                                        </p:attrNameLst>
                                      </p:cBhvr>
                                      <p:to>
                                        <p:strVal val="visible"/>
                                      </p:to>
                                    </p:set>
                                    <p:animEffect transition="in" filter="fade">
                                      <p:cBhvr>
                                        <p:cTn id="92" dur="750"/>
                                        <p:tgtEl>
                                          <p:spTgt spid="58"/>
                                        </p:tgtEl>
                                      </p:cBhvr>
                                    </p:animEffect>
                                  </p:childTnLst>
                                </p:cTn>
                              </p:par>
                              <p:par>
                                <p:cTn id="93" presetID="10" presetClass="entr" presetSubtype="0" fill="hold" grpId="0" nodeType="withEffect">
                                  <p:stCondLst>
                                    <p:cond delay="1250"/>
                                  </p:stCondLst>
                                  <p:childTnLst>
                                    <p:set>
                                      <p:cBhvr>
                                        <p:cTn id="94" dur="1" fill="hold">
                                          <p:stCondLst>
                                            <p:cond delay="0"/>
                                          </p:stCondLst>
                                        </p:cTn>
                                        <p:tgtEl>
                                          <p:spTgt spid="62"/>
                                        </p:tgtEl>
                                        <p:attrNameLst>
                                          <p:attrName>style.visibility</p:attrName>
                                        </p:attrNameLst>
                                      </p:cBhvr>
                                      <p:to>
                                        <p:strVal val="visible"/>
                                      </p:to>
                                    </p:set>
                                    <p:animEffect transition="in" filter="fade">
                                      <p:cBhvr>
                                        <p:cTn id="95" dur="750"/>
                                        <p:tgtEl>
                                          <p:spTgt spid="62"/>
                                        </p:tgtEl>
                                      </p:cBhvr>
                                    </p:animEffect>
                                  </p:childTnLst>
                                </p:cTn>
                              </p:par>
                              <p:par>
                                <p:cTn id="96" presetID="10" presetClass="entr" presetSubtype="0" fill="hold" grpId="0" nodeType="withEffect">
                                  <p:stCondLst>
                                    <p:cond delay="500"/>
                                  </p:stCondLst>
                                  <p:childTnLst>
                                    <p:set>
                                      <p:cBhvr>
                                        <p:cTn id="97" dur="1" fill="hold">
                                          <p:stCondLst>
                                            <p:cond delay="0"/>
                                          </p:stCondLst>
                                        </p:cTn>
                                        <p:tgtEl>
                                          <p:spTgt spid="63"/>
                                        </p:tgtEl>
                                        <p:attrNameLst>
                                          <p:attrName>style.visibility</p:attrName>
                                        </p:attrNameLst>
                                      </p:cBhvr>
                                      <p:to>
                                        <p:strVal val="visible"/>
                                      </p:to>
                                    </p:set>
                                    <p:animEffect transition="in" filter="fade">
                                      <p:cBhvr>
                                        <p:cTn id="98" dur="500"/>
                                        <p:tgtEl>
                                          <p:spTgt spid="63"/>
                                        </p:tgtEl>
                                      </p:cBhvr>
                                    </p:animEffect>
                                  </p:childTnLst>
                                </p:cTn>
                              </p:par>
                              <p:par>
                                <p:cTn id="99" presetID="10" presetClass="entr" presetSubtype="0" fill="hold" grpId="0" nodeType="withEffect">
                                  <p:stCondLst>
                                    <p:cond delay="650"/>
                                  </p:stCondLst>
                                  <p:childTnLst>
                                    <p:set>
                                      <p:cBhvr>
                                        <p:cTn id="100" dur="1" fill="hold">
                                          <p:stCondLst>
                                            <p:cond delay="0"/>
                                          </p:stCondLst>
                                        </p:cTn>
                                        <p:tgtEl>
                                          <p:spTgt spid="65"/>
                                        </p:tgtEl>
                                        <p:attrNameLst>
                                          <p:attrName>style.visibility</p:attrName>
                                        </p:attrNameLst>
                                      </p:cBhvr>
                                      <p:to>
                                        <p:strVal val="visible"/>
                                      </p:to>
                                    </p:set>
                                    <p:animEffect transition="in" filter="fade">
                                      <p:cBhvr>
                                        <p:cTn id="101" dur="650"/>
                                        <p:tgtEl>
                                          <p:spTgt spid="65"/>
                                        </p:tgtEl>
                                      </p:cBhvr>
                                    </p:animEffect>
                                  </p:childTnLst>
                                </p:cTn>
                              </p:par>
                              <p:par>
                                <p:cTn id="102" presetID="10" presetClass="entr" presetSubtype="0" fill="hold" grpId="0" nodeType="withEffect">
                                  <p:stCondLst>
                                    <p:cond delay="1250"/>
                                  </p:stCondLst>
                                  <p:childTnLst>
                                    <p:set>
                                      <p:cBhvr>
                                        <p:cTn id="103" dur="1" fill="hold">
                                          <p:stCondLst>
                                            <p:cond delay="0"/>
                                          </p:stCondLst>
                                        </p:cTn>
                                        <p:tgtEl>
                                          <p:spTgt spid="154"/>
                                        </p:tgtEl>
                                        <p:attrNameLst>
                                          <p:attrName>style.visibility</p:attrName>
                                        </p:attrNameLst>
                                      </p:cBhvr>
                                      <p:to>
                                        <p:strVal val="visible"/>
                                      </p:to>
                                    </p:set>
                                    <p:animEffect transition="in" filter="fade">
                                      <p:cBhvr>
                                        <p:cTn id="104" dur="500"/>
                                        <p:tgtEl>
                                          <p:spTgt spid="154"/>
                                        </p:tgtEl>
                                      </p:cBhvr>
                                    </p:animEffect>
                                  </p:childTnLst>
                                </p:cTn>
                              </p:par>
                              <p:par>
                                <p:cTn id="105" presetID="10" presetClass="entr" presetSubtype="0" fill="hold" grpId="0" nodeType="withEffect">
                                  <p:stCondLst>
                                    <p:cond delay="1750"/>
                                  </p:stCondLst>
                                  <p:childTnLst>
                                    <p:set>
                                      <p:cBhvr>
                                        <p:cTn id="106" dur="1" fill="hold">
                                          <p:stCondLst>
                                            <p:cond delay="0"/>
                                          </p:stCondLst>
                                        </p:cTn>
                                        <p:tgtEl>
                                          <p:spTgt spid="156"/>
                                        </p:tgtEl>
                                        <p:attrNameLst>
                                          <p:attrName>style.visibility</p:attrName>
                                        </p:attrNameLst>
                                      </p:cBhvr>
                                      <p:to>
                                        <p:strVal val="visible"/>
                                      </p:to>
                                    </p:set>
                                    <p:animEffect transition="in" filter="fade">
                                      <p:cBhvr>
                                        <p:cTn id="107" dur="750"/>
                                        <p:tgtEl>
                                          <p:spTgt spid="156"/>
                                        </p:tgtEl>
                                      </p:cBhvr>
                                    </p:animEffect>
                                  </p:childTnLst>
                                </p:cTn>
                              </p:par>
                              <p:par>
                                <p:cTn id="108" presetID="10" presetClass="entr" presetSubtype="0" fill="hold" grpId="0" nodeType="withEffect">
                                  <p:stCondLst>
                                    <p:cond delay="2000"/>
                                  </p:stCondLst>
                                  <p:childTnLst>
                                    <p:set>
                                      <p:cBhvr>
                                        <p:cTn id="109" dur="1" fill="hold">
                                          <p:stCondLst>
                                            <p:cond delay="0"/>
                                          </p:stCondLst>
                                        </p:cTn>
                                        <p:tgtEl>
                                          <p:spTgt spid="160"/>
                                        </p:tgtEl>
                                        <p:attrNameLst>
                                          <p:attrName>style.visibility</p:attrName>
                                        </p:attrNameLst>
                                      </p:cBhvr>
                                      <p:to>
                                        <p:strVal val="visible"/>
                                      </p:to>
                                    </p:set>
                                    <p:animEffect transition="in" filter="fade">
                                      <p:cBhvr>
                                        <p:cTn id="110" dur="750"/>
                                        <p:tgtEl>
                                          <p:spTgt spid="160"/>
                                        </p:tgtEl>
                                      </p:cBhvr>
                                    </p:animEffect>
                                  </p:childTnLst>
                                </p:cTn>
                              </p:par>
                              <p:par>
                                <p:cTn id="111" presetID="10" presetClass="entr" presetSubtype="0" fill="hold" grpId="0" nodeType="withEffect">
                                  <p:stCondLst>
                                    <p:cond delay="1000"/>
                                  </p:stCondLst>
                                  <p:childTnLst>
                                    <p:set>
                                      <p:cBhvr>
                                        <p:cTn id="112" dur="1" fill="hold">
                                          <p:stCondLst>
                                            <p:cond delay="0"/>
                                          </p:stCondLst>
                                        </p:cTn>
                                        <p:tgtEl>
                                          <p:spTgt spid="161"/>
                                        </p:tgtEl>
                                        <p:attrNameLst>
                                          <p:attrName>style.visibility</p:attrName>
                                        </p:attrNameLst>
                                      </p:cBhvr>
                                      <p:to>
                                        <p:strVal val="visible"/>
                                      </p:to>
                                    </p:set>
                                    <p:animEffect transition="in" filter="fade">
                                      <p:cBhvr>
                                        <p:cTn id="113" dur="500"/>
                                        <p:tgtEl>
                                          <p:spTgt spid="161"/>
                                        </p:tgtEl>
                                      </p:cBhvr>
                                    </p:animEffect>
                                  </p:childTnLst>
                                </p:cTn>
                              </p:par>
                              <p:par>
                                <p:cTn id="114" presetID="10" presetClass="entr" presetSubtype="0" fill="hold" grpId="0" nodeType="withEffect">
                                  <p:stCondLst>
                                    <p:cond delay="1300"/>
                                  </p:stCondLst>
                                  <p:childTnLst>
                                    <p:set>
                                      <p:cBhvr>
                                        <p:cTn id="115" dur="1" fill="hold">
                                          <p:stCondLst>
                                            <p:cond delay="0"/>
                                          </p:stCondLst>
                                        </p:cTn>
                                        <p:tgtEl>
                                          <p:spTgt spid="162"/>
                                        </p:tgtEl>
                                        <p:attrNameLst>
                                          <p:attrName>style.visibility</p:attrName>
                                        </p:attrNameLst>
                                      </p:cBhvr>
                                      <p:to>
                                        <p:strVal val="visible"/>
                                      </p:to>
                                    </p:set>
                                    <p:animEffect transition="in" filter="fade">
                                      <p:cBhvr>
                                        <p:cTn id="116" dur="650"/>
                                        <p:tgtEl>
                                          <p:spTgt spid="162"/>
                                        </p:tgtEl>
                                      </p:cBhvr>
                                    </p:animEffect>
                                  </p:childTnLst>
                                </p:cTn>
                              </p:par>
                              <p:par>
                                <p:cTn id="117" presetID="10" presetClass="entr" presetSubtype="0" fill="hold" grpId="0" nodeType="withEffect">
                                  <p:stCondLst>
                                    <p:cond delay="2500"/>
                                  </p:stCondLst>
                                  <p:childTnLst>
                                    <p:set>
                                      <p:cBhvr>
                                        <p:cTn id="118" dur="1" fill="hold">
                                          <p:stCondLst>
                                            <p:cond delay="0"/>
                                          </p:stCondLst>
                                        </p:cTn>
                                        <p:tgtEl>
                                          <p:spTgt spid="178"/>
                                        </p:tgtEl>
                                        <p:attrNameLst>
                                          <p:attrName>style.visibility</p:attrName>
                                        </p:attrNameLst>
                                      </p:cBhvr>
                                      <p:to>
                                        <p:strVal val="visible"/>
                                      </p:to>
                                    </p:set>
                                    <p:animEffect transition="in" filter="fade">
                                      <p:cBhvr>
                                        <p:cTn id="119" dur="750"/>
                                        <p:tgtEl>
                                          <p:spTgt spid="178"/>
                                        </p:tgtEl>
                                      </p:cBhvr>
                                    </p:animEffect>
                                  </p:childTnLst>
                                </p:cTn>
                              </p:par>
                              <p:par>
                                <p:cTn id="120" presetID="10" presetClass="entr" presetSubtype="0" fill="hold" grpId="0" nodeType="withEffect">
                                  <p:stCondLst>
                                    <p:cond delay="2750"/>
                                  </p:stCondLst>
                                  <p:childTnLst>
                                    <p:set>
                                      <p:cBhvr>
                                        <p:cTn id="121" dur="1" fill="hold">
                                          <p:stCondLst>
                                            <p:cond delay="0"/>
                                          </p:stCondLst>
                                        </p:cTn>
                                        <p:tgtEl>
                                          <p:spTgt spid="182"/>
                                        </p:tgtEl>
                                        <p:attrNameLst>
                                          <p:attrName>style.visibility</p:attrName>
                                        </p:attrNameLst>
                                      </p:cBhvr>
                                      <p:to>
                                        <p:strVal val="visible"/>
                                      </p:to>
                                    </p:set>
                                    <p:animEffect transition="in" filter="fade">
                                      <p:cBhvr>
                                        <p:cTn id="122" dur="750"/>
                                        <p:tgtEl>
                                          <p:spTgt spid="182"/>
                                        </p:tgtEl>
                                      </p:cBhvr>
                                    </p:animEffect>
                                  </p:childTnLst>
                                </p:cTn>
                              </p:par>
                              <p:par>
                                <p:cTn id="123" presetID="10" presetClass="entr" presetSubtype="0" fill="hold" grpId="0" nodeType="withEffect">
                                  <p:stCondLst>
                                    <p:cond delay="1500"/>
                                  </p:stCondLst>
                                  <p:childTnLst>
                                    <p:set>
                                      <p:cBhvr>
                                        <p:cTn id="124" dur="1" fill="hold">
                                          <p:stCondLst>
                                            <p:cond delay="0"/>
                                          </p:stCondLst>
                                        </p:cTn>
                                        <p:tgtEl>
                                          <p:spTgt spid="183"/>
                                        </p:tgtEl>
                                        <p:attrNameLst>
                                          <p:attrName>style.visibility</p:attrName>
                                        </p:attrNameLst>
                                      </p:cBhvr>
                                      <p:to>
                                        <p:strVal val="visible"/>
                                      </p:to>
                                    </p:set>
                                    <p:animEffect transition="in" filter="fade">
                                      <p:cBhvr>
                                        <p:cTn id="125" dur="500"/>
                                        <p:tgtEl>
                                          <p:spTgt spid="183"/>
                                        </p:tgtEl>
                                      </p:cBhvr>
                                    </p:animEffect>
                                  </p:childTnLst>
                                </p:cTn>
                              </p:par>
                              <p:par>
                                <p:cTn id="126" presetID="10" presetClass="entr" presetSubtype="0" fill="hold" grpId="0" nodeType="withEffect">
                                  <p:stCondLst>
                                    <p:cond delay="1950"/>
                                  </p:stCondLst>
                                  <p:childTnLst>
                                    <p:set>
                                      <p:cBhvr>
                                        <p:cTn id="127" dur="1" fill="hold">
                                          <p:stCondLst>
                                            <p:cond delay="0"/>
                                          </p:stCondLst>
                                        </p:cTn>
                                        <p:tgtEl>
                                          <p:spTgt spid="184"/>
                                        </p:tgtEl>
                                        <p:attrNameLst>
                                          <p:attrName>style.visibility</p:attrName>
                                        </p:attrNameLst>
                                      </p:cBhvr>
                                      <p:to>
                                        <p:strVal val="visible"/>
                                      </p:to>
                                    </p:set>
                                    <p:animEffect transition="in" filter="fade">
                                      <p:cBhvr>
                                        <p:cTn id="128" dur="650"/>
                                        <p:tgtEl>
                                          <p:spTgt spid="184"/>
                                        </p:tgtEl>
                                      </p:cBhvr>
                                    </p:animEffect>
                                  </p:childTnLst>
                                </p:cTn>
                              </p:par>
                              <p:par>
                                <p:cTn id="129" presetID="10" presetClass="entr" presetSubtype="0" fill="hold" grpId="0" nodeType="withEffect">
                                  <p:stCondLst>
                                    <p:cond delay="3500"/>
                                  </p:stCondLst>
                                  <p:childTnLst>
                                    <p:set>
                                      <p:cBhvr>
                                        <p:cTn id="130" dur="1" fill="hold">
                                          <p:stCondLst>
                                            <p:cond delay="0"/>
                                          </p:stCondLst>
                                        </p:cTn>
                                        <p:tgtEl>
                                          <p:spTgt spid="195"/>
                                        </p:tgtEl>
                                        <p:attrNameLst>
                                          <p:attrName>style.visibility</p:attrName>
                                        </p:attrNameLst>
                                      </p:cBhvr>
                                      <p:to>
                                        <p:strVal val="visible"/>
                                      </p:to>
                                    </p:set>
                                    <p:animEffect transition="in" filter="fade">
                                      <p:cBhvr>
                                        <p:cTn id="131" dur="750"/>
                                        <p:tgtEl>
                                          <p:spTgt spid="195"/>
                                        </p:tgtEl>
                                      </p:cBhvr>
                                    </p:animEffect>
                                  </p:childTnLst>
                                </p:cTn>
                              </p:par>
                            </p:childTnLst>
                          </p:cTn>
                        </p:par>
                        <p:par>
                          <p:cTn id="132" fill="hold">
                            <p:stCondLst>
                              <p:cond delay="4250"/>
                            </p:stCondLst>
                            <p:childTnLst>
                              <p:par>
                                <p:cTn id="133" presetID="10" presetClass="entr" presetSubtype="0" fill="hold" grpId="0" nodeType="afterEffect">
                                  <p:stCondLst>
                                    <p:cond delay="500"/>
                                  </p:stCondLst>
                                  <p:childTnLst>
                                    <p:set>
                                      <p:cBhvr>
                                        <p:cTn id="134" dur="1" fill="hold">
                                          <p:stCondLst>
                                            <p:cond delay="0"/>
                                          </p:stCondLst>
                                        </p:cTn>
                                        <p:tgtEl>
                                          <p:spTgt spid="197"/>
                                        </p:tgtEl>
                                        <p:attrNameLst>
                                          <p:attrName>style.visibility</p:attrName>
                                        </p:attrNameLst>
                                      </p:cBhvr>
                                      <p:to>
                                        <p:strVal val="visible"/>
                                      </p:to>
                                    </p:set>
                                    <p:animEffect transition="in" filter="fade">
                                      <p:cBhvr>
                                        <p:cTn id="135" dur="500"/>
                                        <p:tgtEl>
                                          <p:spTgt spid="197"/>
                                        </p:tgtEl>
                                      </p:cBhvr>
                                    </p:animEffect>
                                  </p:childTnLst>
                                </p:cTn>
                              </p:par>
                              <p:par>
                                <p:cTn id="136" presetID="1" presetClass="emph" presetSubtype="2" fill="hold" nodeType="withEffect">
                                  <p:stCondLst>
                                    <p:cond delay="500"/>
                                  </p:stCondLst>
                                  <p:childTnLst>
                                    <p:animClr clrSpc="rgb" dir="cw">
                                      <p:cBhvr>
                                        <p:cTn id="137" dur="500" fill="hold"/>
                                        <p:tgtEl>
                                          <p:spTgt spid="195"/>
                                        </p:tgtEl>
                                        <p:attrNameLst>
                                          <p:attrName>fillcolor</p:attrName>
                                        </p:attrNameLst>
                                      </p:cBhvr>
                                      <p:to>
                                        <a:srgbClr val="50E6FF"/>
                                      </p:to>
                                    </p:animClr>
                                    <p:set>
                                      <p:cBhvr>
                                        <p:cTn id="138" dur="500" fill="hold"/>
                                        <p:tgtEl>
                                          <p:spTgt spid="195"/>
                                        </p:tgtEl>
                                        <p:attrNameLst>
                                          <p:attrName>fill.type</p:attrName>
                                        </p:attrNameLst>
                                      </p:cBhvr>
                                      <p:to>
                                        <p:strVal val="solid"/>
                                      </p:to>
                                    </p:set>
                                    <p:set>
                                      <p:cBhvr>
                                        <p:cTn id="139" dur="500" fill="hold"/>
                                        <p:tgtEl>
                                          <p:spTgt spid="195"/>
                                        </p:tgtEl>
                                        <p:attrNameLst>
                                          <p:attrName>fill.on</p:attrName>
                                        </p:attrNameLst>
                                      </p:cBhvr>
                                      <p:to>
                                        <p:strVal val="true"/>
                                      </p:to>
                                    </p:set>
                                  </p:childTnLst>
                                </p:cTn>
                              </p:par>
                              <p:par>
                                <p:cTn id="140" presetID="3" presetClass="emph" presetSubtype="2" fill="hold" grpId="1" nodeType="withEffect">
                                  <p:stCondLst>
                                    <p:cond delay="500"/>
                                  </p:stCondLst>
                                  <p:childTnLst>
                                    <p:animClr clrSpc="rgb" dir="cw">
                                      <p:cBhvr override="childStyle">
                                        <p:cTn id="141" dur="500" fill="hold"/>
                                        <p:tgtEl>
                                          <p:spTgt spid="195"/>
                                        </p:tgtEl>
                                        <p:attrNameLst>
                                          <p:attrName>style.color</p:attrName>
                                        </p:attrNameLst>
                                      </p:cBhvr>
                                      <p:to>
                                        <a:srgbClr val="000000"/>
                                      </p:to>
                                    </p:animClr>
                                  </p:childTnLst>
                                </p:cTn>
                              </p:par>
                              <p:par>
                                <p:cTn id="142" presetID="63" presetClass="path" presetSubtype="0" accel="50000" decel="50000" fill="hold" grpId="1" nodeType="withEffect">
                                  <p:stCondLst>
                                    <p:cond delay="500"/>
                                  </p:stCondLst>
                                  <p:childTnLst>
                                    <p:animMotion origin="layout" path="M 3.125E-6 -3.7037E-7 L 0.28776 -3.7037E-7 " pathEditMode="relative" rAng="0" ptsTypes="AA">
                                      <p:cBhvr>
                                        <p:cTn id="143" dur="1750" fill="hold"/>
                                        <p:tgtEl>
                                          <p:spTgt spid="197"/>
                                        </p:tgtEl>
                                        <p:attrNameLst>
                                          <p:attrName>ppt_x</p:attrName>
                                          <p:attrName>ppt_y</p:attrName>
                                        </p:attrNameLst>
                                      </p:cBhvr>
                                      <p:rCtr x="14388" y="0"/>
                                    </p:animMotion>
                                  </p:childTnLst>
                                </p:cTn>
                              </p:par>
                              <p:par>
                                <p:cTn id="144" presetID="2" presetClass="entr" presetSubtype="4" decel="50000" fill="hold" grpId="0" nodeType="withEffect">
                                  <p:stCondLst>
                                    <p:cond delay="500"/>
                                  </p:stCondLst>
                                  <p:childTnLst>
                                    <p:set>
                                      <p:cBhvr>
                                        <p:cTn id="145" dur="1" fill="hold">
                                          <p:stCondLst>
                                            <p:cond delay="0"/>
                                          </p:stCondLst>
                                        </p:cTn>
                                        <p:tgtEl>
                                          <p:spTgt spid="19"/>
                                        </p:tgtEl>
                                        <p:attrNameLst>
                                          <p:attrName>style.visibility</p:attrName>
                                        </p:attrNameLst>
                                      </p:cBhvr>
                                      <p:to>
                                        <p:strVal val="visible"/>
                                      </p:to>
                                    </p:set>
                                    <p:anim calcmode="lin" valueType="num">
                                      <p:cBhvr additive="base">
                                        <p:cTn id="146" dur="1750" fill="hold"/>
                                        <p:tgtEl>
                                          <p:spTgt spid="19"/>
                                        </p:tgtEl>
                                        <p:attrNameLst>
                                          <p:attrName>ppt_x</p:attrName>
                                        </p:attrNameLst>
                                      </p:cBhvr>
                                      <p:tavLst>
                                        <p:tav tm="0">
                                          <p:val>
                                            <p:strVal val="#ppt_x"/>
                                          </p:val>
                                        </p:tav>
                                        <p:tav tm="100000">
                                          <p:val>
                                            <p:strVal val="#ppt_x"/>
                                          </p:val>
                                        </p:tav>
                                      </p:tavLst>
                                    </p:anim>
                                    <p:anim calcmode="lin" valueType="num">
                                      <p:cBhvr additive="base">
                                        <p:cTn id="147" dur="1750" fill="hold"/>
                                        <p:tgtEl>
                                          <p:spTgt spid="19"/>
                                        </p:tgtEl>
                                        <p:attrNameLst>
                                          <p:attrName>ppt_y</p:attrName>
                                        </p:attrNameLst>
                                      </p:cBhvr>
                                      <p:tavLst>
                                        <p:tav tm="0">
                                          <p:val>
                                            <p:strVal val="1+#ppt_h/2"/>
                                          </p:val>
                                        </p:tav>
                                        <p:tav tm="100000">
                                          <p:val>
                                            <p:strVal val="#ppt_y"/>
                                          </p:val>
                                        </p:tav>
                                      </p:tavLst>
                                    </p:anim>
                                  </p:childTnLst>
                                </p:cTn>
                              </p:par>
                              <p:par>
                                <p:cTn id="148" presetID="3" presetClass="emph" presetSubtype="2" fill="hold" grpId="2" nodeType="withEffect">
                                  <p:stCondLst>
                                    <p:cond delay="1750"/>
                                  </p:stCondLst>
                                  <p:childTnLst>
                                    <p:animClr clrSpc="rgb" dir="cw">
                                      <p:cBhvr override="childStyle">
                                        <p:cTn id="149" dur="500" fill="hold"/>
                                        <p:tgtEl>
                                          <p:spTgt spid="197"/>
                                        </p:tgtEl>
                                        <p:attrNameLst>
                                          <p:attrName>style.color</p:attrName>
                                        </p:attrNameLst>
                                      </p:cBhvr>
                                      <p:to>
                                        <a:srgbClr val="0000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92" grpId="0" animBg="1"/>
      <p:bldP spid="206" grpId="0" animBg="1"/>
      <p:bldP spid="207" grpId="0" animBg="1"/>
      <p:bldP spid="208" grpId="0" animBg="1"/>
      <p:bldP spid="209" grpId="0" animBg="1"/>
      <p:bldP spid="210" grpId="0" animBg="1"/>
      <p:bldP spid="147" grpId="0"/>
      <p:bldP spid="148" grpId="0"/>
      <p:bldP spid="149" grpId="0"/>
      <p:bldP spid="18" grpId="0" animBg="1"/>
      <p:bldP spid="150" grpId="0"/>
      <p:bldP spid="32" grpId="0" animBg="1"/>
      <p:bldP spid="71" grpId="0" animBg="1"/>
      <p:bldP spid="3" grpId="0" animBg="1"/>
      <p:bldP spid="56" grpId="0" animBg="1"/>
      <p:bldP spid="57" grpId="0" animBg="1"/>
      <p:bldP spid="58" grpId="0" animBg="1"/>
      <p:bldP spid="62" grpId="0" animBg="1"/>
      <p:bldP spid="63" grpId="0" animBg="1"/>
      <p:bldP spid="65" grpId="0" animBg="1"/>
      <p:bldP spid="69" grpId="0" animBg="1"/>
      <p:bldP spid="154" grpId="0" animBg="1"/>
      <p:bldP spid="156" grpId="0" animBg="1"/>
      <p:bldP spid="160" grpId="0" animBg="1"/>
      <p:bldP spid="161" grpId="0" animBg="1"/>
      <p:bldP spid="162" grpId="0" animBg="1"/>
      <p:bldP spid="178" grpId="0" animBg="1"/>
      <p:bldP spid="182" grpId="0" animBg="1"/>
      <p:bldP spid="183" grpId="0" animBg="1"/>
      <p:bldP spid="184" grpId="0" animBg="1"/>
      <p:bldP spid="195" grpId="0" animBg="1"/>
      <p:bldP spid="195" grpId="1" animBg="1"/>
      <p:bldP spid="196" grpId="0" animBg="1"/>
      <p:bldP spid="5" grpId="0"/>
      <p:bldP spid="197" grpId="0"/>
      <p:bldP spid="197" grpId="1"/>
      <p:bldP spid="197" grpId="2"/>
      <p:bldP spid="155" grpId="0" animBg="1"/>
      <p:bldP spid="155" grpId="1" animBg="1"/>
      <p:bldP spid="155" grpId="2" animBg="1"/>
      <p:bldP spid="155" grpId="3"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2967A4E3-CD8A-4696-A990-3396C832B521}"/>
              </a:ext>
            </a:extLst>
          </p:cNvPr>
          <p:cNvSpPr>
            <a:spLocks noGrp="1"/>
          </p:cNvSpPr>
          <p:nvPr>
            <p:ph type="title"/>
          </p:nvPr>
        </p:nvSpPr>
        <p:spPr/>
        <p:txBody>
          <a:bodyPr/>
          <a:lstStyle/>
          <a:p>
            <a:r>
              <a:rPr lang="en-US" dirty="0"/>
              <a:t>Automated Machine Learning Under the Hood</a:t>
            </a:r>
          </a:p>
        </p:txBody>
      </p:sp>
      <p:sp>
        <p:nvSpPr>
          <p:cNvPr id="21" name="Footer Placeholder 20">
            <a:extLst>
              <a:ext uri="{FF2B5EF4-FFF2-40B4-BE49-F238E27FC236}">
                <a16:creationId xmlns:a16="http://schemas.microsoft.com/office/drawing/2014/main" id="{ED30B0C8-B9A2-48D4-A481-44EA97198F17}"/>
              </a:ext>
            </a:extLst>
          </p:cNvPr>
          <p:cNvSpPr>
            <a:spLocks noGrp="1"/>
          </p:cNvSpPr>
          <p:nvPr>
            <p:ph type="ftr" sz="quarter" idx="4294967295"/>
          </p:nvPr>
        </p:nvSpPr>
        <p:spPr>
          <a:xfrm>
            <a:off x="604838" y="6450013"/>
            <a:ext cx="11587162" cy="1190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mn-cs"/>
              </a:rPr>
              <a:t>© Microsoft Corporation                                                                                  								                                Azure </a:t>
            </a:r>
          </a:p>
        </p:txBody>
      </p:sp>
      <p:grpSp>
        <p:nvGrpSpPr>
          <p:cNvPr id="29" name="Group 28">
            <a:extLst>
              <a:ext uri="{FF2B5EF4-FFF2-40B4-BE49-F238E27FC236}">
                <a16:creationId xmlns:a16="http://schemas.microsoft.com/office/drawing/2014/main" id="{E6957B13-B7DF-435A-B781-83037B90E2C8}"/>
              </a:ext>
            </a:extLst>
          </p:cNvPr>
          <p:cNvGrpSpPr/>
          <p:nvPr/>
        </p:nvGrpSpPr>
        <p:grpSpPr>
          <a:xfrm>
            <a:off x="859032" y="3874059"/>
            <a:ext cx="343394" cy="339766"/>
            <a:chOff x="-886118" y="9001478"/>
            <a:chExt cx="505572" cy="500232"/>
          </a:xfrm>
        </p:grpSpPr>
        <p:sp>
          <p:nvSpPr>
            <p:cNvPr id="30" name="Freeform: Shape 29">
              <a:extLst>
                <a:ext uri="{FF2B5EF4-FFF2-40B4-BE49-F238E27FC236}">
                  <a16:creationId xmlns:a16="http://schemas.microsoft.com/office/drawing/2014/main" id="{34575CD9-08A7-428A-AE61-A8394BC542DE}"/>
                </a:ext>
              </a:extLst>
            </p:cNvPr>
            <p:cNvSpPr/>
            <p:nvPr/>
          </p:nvSpPr>
          <p:spPr>
            <a:xfrm>
              <a:off x="-641361" y="9121177"/>
              <a:ext cx="89327" cy="250116"/>
            </a:xfrm>
            <a:custGeom>
              <a:avLst/>
              <a:gdLst>
                <a:gd name="connsiteX0" fmla="*/ 56197 w 47625"/>
                <a:gd name="connsiteY0" fmla="*/ 137160 h 133350"/>
                <a:gd name="connsiteX1" fmla="*/ 0 w 47625"/>
                <a:gd name="connsiteY1" fmla="*/ 81915 h 133350"/>
                <a:gd name="connsiteX2" fmla="*/ 0 w 47625"/>
                <a:gd name="connsiteY2" fmla="*/ 0 h 133350"/>
              </a:gdLst>
              <a:ahLst/>
              <a:cxnLst>
                <a:cxn ang="0">
                  <a:pos x="connsiteX0" y="connsiteY0"/>
                </a:cxn>
                <a:cxn ang="0">
                  <a:pos x="connsiteX1" y="connsiteY1"/>
                </a:cxn>
                <a:cxn ang="0">
                  <a:pos x="connsiteX2" y="connsiteY2"/>
                </a:cxn>
              </a:cxnLst>
              <a:rect l="l" t="t" r="r" b="b"/>
              <a:pathLst>
                <a:path w="47625" h="133350">
                  <a:moveTo>
                    <a:pt x="56197" y="137160"/>
                  </a:moveTo>
                  <a:cubicBezTo>
                    <a:pt x="0" y="81915"/>
                    <a:pt x="0" y="81915"/>
                    <a:pt x="0" y="81915"/>
                  </a:cubicBezTo>
                  <a:cubicBezTo>
                    <a:pt x="0" y="0"/>
                    <a:pt x="0" y="0"/>
                    <a:pt x="0" y="0"/>
                  </a:cubicBezTo>
                </a:path>
              </a:pathLst>
            </a:custGeom>
            <a:noFill/>
            <a:ln w="254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3894776E-A35F-476F-8EA3-C66504AAEF18}"/>
                </a:ext>
              </a:extLst>
            </p:cNvPr>
            <p:cNvSpPr/>
            <p:nvPr/>
          </p:nvSpPr>
          <p:spPr>
            <a:xfrm>
              <a:off x="-487739" y="9064047"/>
              <a:ext cx="107193" cy="107193"/>
            </a:xfrm>
            <a:custGeom>
              <a:avLst/>
              <a:gdLst>
                <a:gd name="connsiteX0" fmla="*/ 0 w 57150"/>
                <a:gd name="connsiteY0" fmla="*/ 63818 h 57150"/>
                <a:gd name="connsiteX1" fmla="*/ 65723 w 57150"/>
                <a:gd name="connsiteY1" fmla="*/ 63818 h 57150"/>
                <a:gd name="connsiteX2" fmla="*/ 65723 w 57150"/>
                <a:gd name="connsiteY2" fmla="*/ 0 h 57150"/>
              </a:gdLst>
              <a:ahLst/>
              <a:cxnLst>
                <a:cxn ang="0">
                  <a:pos x="connsiteX0" y="connsiteY0"/>
                </a:cxn>
                <a:cxn ang="0">
                  <a:pos x="connsiteX1" y="connsiteY1"/>
                </a:cxn>
                <a:cxn ang="0">
                  <a:pos x="connsiteX2" y="connsiteY2"/>
                </a:cxn>
              </a:cxnLst>
              <a:rect l="l" t="t" r="r" b="b"/>
              <a:pathLst>
                <a:path w="57150" h="57150">
                  <a:moveTo>
                    <a:pt x="0" y="63818"/>
                  </a:moveTo>
                  <a:cubicBezTo>
                    <a:pt x="65723" y="63818"/>
                    <a:pt x="65723" y="63818"/>
                    <a:pt x="65723" y="63818"/>
                  </a:cubicBezTo>
                  <a:cubicBezTo>
                    <a:pt x="65723" y="0"/>
                    <a:pt x="65723" y="0"/>
                    <a:pt x="65723" y="0"/>
                  </a:cubicBezTo>
                </a:path>
              </a:pathLst>
            </a:custGeom>
            <a:noFill/>
            <a:ln w="25400"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5CC4C079-E371-490C-88DE-4C1CAD8CF8B2}"/>
                </a:ext>
              </a:extLst>
            </p:cNvPr>
            <p:cNvSpPr/>
            <p:nvPr/>
          </p:nvSpPr>
          <p:spPr>
            <a:xfrm>
              <a:off x="-886118" y="9001478"/>
              <a:ext cx="500232" cy="500232"/>
            </a:xfrm>
            <a:custGeom>
              <a:avLst/>
              <a:gdLst>
                <a:gd name="connsiteX0" fmla="*/ 272415 w 266700"/>
                <a:gd name="connsiteY0" fmla="*/ 91440 h 266700"/>
                <a:gd name="connsiteX1" fmla="*/ 140018 w 266700"/>
                <a:gd name="connsiteY1" fmla="*/ 0 h 266700"/>
                <a:gd name="connsiteX2" fmla="*/ 0 w 266700"/>
                <a:gd name="connsiteY2" fmla="*/ 137160 h 266700"/>
                <a:gd name="connsiteX3" fmla="*/ 140018 w 266700"/>
                <a:gd name="connsiteY3" fmla="*/ 274320 h 266700"/>
                <a:gd name="connsiteX4" fmla="*/ 275273 w 266700"/>
                <a:gd name="connsiteY4" fmla="*/ 174308 h 266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66700">
                  <a:moveTo>
                    <a:pt x="272415" y="91440"/>
                  </a:moveTo>
                  <a:cubicBezTo>
                    <a:pt x="253365" y="38100"/>
                    <a:pt x="200978" y="0"/>
                    <a:pt x="140018" y="0"/>
                  </a:cubicBezTo>
                  <a:cubicBezTo>
                    <a:pt x="62865" y="0"/>
                    <a:pt x="0" y="60960"/>
                    <a:pt x="0" y="137160"/>
                  </a:cubicBezTo>
                  <a:cubicBezTo>
                    <a:pt x="0" y="213360"/>
                    <a:pt x="62865" y="274320"/>
                    <a:pt x="140018" y="274320"/>
                  </a:cubicBezTo>
                  <a:cubicBezTo>
                    <a:pt x="204788" y="274320"/>
                    <a:pt x="259080" y="231458"/>
                    <a:pt x="275273" y="174308"/>
                  </a:cubicBezTo>
                </a:path>
              </a:pathLst>
            </a:custGeom>
            <a:noFill/>
            <a:ln w="25400"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 name="Group 32">
            <a:extLst>
              <a:ext uri="{FF2B5EF4-FFF2-40B4-BE49-F238E27FC236}">
                <a16:creationId xmlns:a16="http://schemas.microsoft.com/office/drawing/2014/main" id="{E74F0419-4A00-430C-9A51-E6D0A895A1E0}"/>
              </a:ext>
            </a:extLst>
          </p:cNvPr>
          <p:cNvGrpSpPr/>
          <p:nvPr/>
        </p:nvGrpSpPr>
        <p:grpSpPr>
          <a:xfrm>
            <a:off x="905279" y="2989845"/>
            <a:ext cx="306028" cy="371962"/>
            <a:chOff x="-836443" y="7381144"/>
            <a:chExt cx="450557" cy="547633"/>
          </a:xfrm>
        </p:grpSpPr>
        <p:sp>
          <p:nvSpPr>
            <p:cNvPr id="34" name="Rectangle 33">
              <a:extLst>
                <a:ext uri="{FF2B5EF4-FFF2-40B4-BE49-F238E27FC236}">
                  <a16:creationId xmlns:a16="http://schemas.microsoft.com/office/drawing/2014/main" id="{4E31DE73-5808-4F92-85D7-8F310B280B50}"/>
                </a:ext>
              </a:extLst>
            </p:cNvPr>
            <p:cNvSpPr/>
            <p:nvPr/>
          </p:nvSpPr>
          <p:spPr>
            <a:xfrm>
              <a:off x="-836443" y="7381144"/>
              <a:ext cx="450557" cy="547633"/>
            </a:xfrm>
            <a:prstGeom prst="rect">
              <a:avLst/>
            </a:prstGeom>
            <a:noFill/>
            <a:ln w="25400" cap="flat">
              <a:solidFill>
                <a:srgbClr val="000000"/>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5" name="Group 34">
              <a:extLst>
                <a:ext uri="{FF2B5EF4-FFF2-40B4-BE49-F238E27FC236}">
                  <a16:creationId xmlns:a16="http://schemas.microsoft.com/office/drawing/2014/main" id="{2CFEDAD0-23AE-4CFB-A4C8-5AE98D7881E1}"/>
                </a:ext>
              </a:extLst>
            </p:cNvPr>
            <p:cNvGrpSpPr/>
            <p:nvPr/>
          </p:nvGrpSpPr>
          <p:grpSpPr>
            <a:xfrm>
              <a:off x="-767562" y="7475386"/>
              <a:ext cx="226931" cy="350408"/>
              <a:chOff x="-767562" y="7475386"/>
              <a:chExt cx="226931" cy="350408"/>
            </a:xfrm>
          </p:grpSpPr>
          <p:cxnSp>
            <p:nvCxnSpPr>
              <p:cNvPr id="42" name="Straight Connector 41">
                <a:extLst>
                  <a:ext uri="{FF2B5EF4-FFF2-40B4-BE49-F238E27FC236}">
                    <a16:creationId xmlns:a16="http://schemas.microsoft.com/office/drawing/2014/main" id="{E251B8C3-223A-4388-A365-3E292CA2F069}"/>
                  </a:ext>
                </a:extLst>
              </p:cNvPr>
              <p:cNvCxnSpPr/>
              <p:nvPr/>
            </p:nvCxnSpPr>
            <p:spPr>
              <a:xfrm>
                <a:off x="-767562" y="7475386"/>
                <a:ext cx="226931" cy="0"/>
              </a:xfrm>
              <a:prstGeom prst="line">
                <a:avLst/>
              </a:prstGeom>
              <a:noFill/>
              <a:ln w="25400" cap="flat">
                <a:solidFill>
                  <a:schemeClr val="tx2"/>
                </a:solidFill>
                <a:prstDash val="solid"/>
                <a:miter/>
              </a:ln>
            </p:spPr>
          </p:cxnSp>
          <p:cxnSp>
            <p:nvCxnSpPr>
              <p:cNvPr id="43" name="Straight Connector 42">
                <a:extLst>
                  <a:ext uri="{FF2B5EF4-FFF2-40B4-BE49-F238E27FC236}">
                    <a16:creationId xmlns:a16="http://schemas.microsoft.com/office/drawing/2014/main" id="{8A8C6598-58CE-4631-92F4-C89A3F831D0C}"/>
                  </a:ext>
                </a:extLst>
              </p:cNvPr>
              <p:cNvCxnSpPr/>
              <p:nvPr/>
            </p:nvCxnSpPr>
            <p:spPr>
              <a:xfrm>
                <a:off x="-767562" y="7562988"/>
                <a:ext cx="226931" cy="0"/>
              </a:xfrm>
              <a:prstGeom prst="line">
                <a:avLst/>
              </a:prstGeom>
              <a:noFill/>
              <a:ln w="25400" cap="flat">
                <a:solidFill>
                  <a:schemeClr val="tx2"/>
                </a:solidFill>
                <a:prstDash val="solid"/>
                <a:miter/>
              </a:ln>
            </p:spPr>
          </p:cxnSp>
          <p:cxnSp>
            <p:nvCxnSpPr>
              <p:cNvPr id="44" name="Straight Connector 43">
                <a:extLst>
                  <a:ext uri="{FF2B5EF4-FFF2-40B4-BE49-F238E27FC236}">
                    <a16:creationId xmlns:a16="http://schemas.microsoft.com/office/drawing/2014/main" id="{D3C804B6-33BA-46A1-8602-D05C63B41352}"/>
                  </a:ext>
                </a:extLst>
              </p:cNvPr>
              <p:cNvCxnSpPr/>
              <p:nvPr/>
            </p:nvCxnSpPr>
            <p:spPr>
              <a:xfrm>
                <a:off x="-767562" y="7650590"/>
                <a:ext cx="226931" cy="0"/>
              </a:xfrm>
              <a:prstGeom prst="line">
                <a:avLst/>
              </a:prstGeom>
              <a:noFill/>
              <a:ln w="25400" cap="flat">
                <a:solidFill>
                  <a:schemeClr val="tx2"/>
                </a:solidFill>
                <a:prstDash val="solid"/>
                <a:miter/>
              </a:ln>
            </p:spPr>
          </p:cxnSp>
          <p:cxnSp>
            <p:nvCxnSpPr>
              <p:cNvPr id="45" name="Straight Connector 44">
                <a:extLst>
                  <a:ext uri="{FF2B5EF4-FFF2-40B4-BE49-F238E27FC236}">
                    <a16:creationId xmlns:a16="http://schemas.microsoft.com/office/drawing/2014/main" id="{D96E9DA1-BD85-47AF-8959-A9B55F97C3FB}"/>
                  </a:ext>
                </a:extLst>
              </p:cNvPr>
              <p:cNvCxnSpPr/>
              <p:nvPr/>
            </p:nvCxnSpPr>
            <p:spPr>
              <a:xfrm>
                <a:off x="-767562" y="7738192"/>
                <a:ext cx="226931" cy="0"/>
              </a:xfrm>
              <a:prstGeom prst="line">
                <a:avLst/>
              </a:prstGeom>
              <a:noFill/>
              <a:ln w="25400" cap="flat">
                <a:solidFill>
                  <a:schemeClr val="tx2"/>
                </a:solidFill>
                <a:prstDash val="solid"/>
                <a:miter/>
              </a:ln>
            </p:spPr>
          </p:cxnSp>
          <p:cxnSp>
            <p:nvCxnSpPr>
              <p:cNvPr id="46" name="Straight Connector 45">
                <a:extLst>
                  <a:ext uri="{FF2B5EF4-FFF2-40B4-BE49-F238E27FC236}">
                    <a16:creationId xmlns:a16="http://schemas.microsoft.com/office/drawing/2014/main" id="{3965C280-B868-4F5A-90EC-FB07490A935C}"/>
                  </a:ext>
                </a:extLst>
              </p:cNvPr>
              <p:cNvCxnSpPr/>
              <p:nvPr/>
            </p:nvCxnSpPr>
            <p:spPr>
              <a:xfrm>
                <a:off x="-767562" y="7825794"/>
                <a:ext cx="226931" cy="0"/>
              </a:xfrm>
              <a:prstGeom prst="line">
                <a:avLst/>
              </a:prstGeom>
              <a:noFill/>
              <a:ln w="25400" cap="flat">
                <a:solidFill>
                  <a:schemeClr val="tx2"/>
                </a:solidFill>
                <a:prstDash val="solid"/>
                <a:miter/>
              </a:ln>
            </p:spPr>
          </p:cxnSp>
        </p:grpSp>
        <p:grpSp>
          <p:nvGrpSpPr>
            <p:cNvPr id="36" name="Group 35">
              <a:extLst>
                <a:ext uri="{FF2B5EF4-FFF2-40B4-BE49-F238E27FC236}">
                  <a16:creationId xmlns:a16="http://schemas.microsoft.com/office/drawing/2014/main" id="{415FF656-1C2A-4E35-B368-B1AAFF2637ED}"/>
                </a:ext>
              </a:extLst>
            </p:cNvPr>
            <p:cNvGrpSpPr/>
            <p:nvPr/>
          </p:nvGrpSpPr>
          <p:grpSpPr>
            <a:xfrm>
              <a:off x="-513932" y="7475386"/>
              <a:ext cx="80094" cy="350408"/>
              <a:chOff x="-767562" y="7475386"/>
              <a:chExt cx="226931" cy="350408"/>
            </a:xfrm>
          </p:grpSpPr>
          <p:cxnSp>
            <p:nvCxnSpPr>
              <p:cNvPr id="37" name="Straight Connector 36">
                <a:extLst>
                  <a:ext uri="{FF2B5EF4-FFF2-40B4-BE49-F238E27FC236}">
                    <a16:creationId xmlns:a16="http://schemas.microsoft.com/office/drawing/2014/main" id="{9B87569C-18AA-4980-B31B-0B9D7C135BC9}"/>
                  </a:ext>
                </a:extLst>
              </p:cNvPr>
              <p:cNvCxnSpPr/>
              <p:nvPr/>
            </p:nvCxnSpPr>
            <p:spPr>
              <a:xfrm>
                <a:off x="-767562" y="7475386"/>
                <a:ext cx="226931" cy="0"/>
              </a:xfrm>
              <a:prstGeom prst="line">
                <a:avLst/>
              </a:prstGeom>
              <a:noFill/>
              <a:ln w="25400" cap="flat">
                <a:solidFill>
                  <a:schemeClr val="accent1"/>
                </a:solidFill>
                <a:prstDash val="solid"/>
                <a:miter/>
              </a:ln>
            </p:spPr>
          </p:cxnSp>
          <p:cxnSp>
            <p:nvCxnSpPr>
              <p:cNvPr id="38" name="Straight Connector 37">
                <a:extLst>
                  <a:ext uri="{FF2B5EF4-FFF2-40B4-BE49-F238E27FC236}">
                    <a16:creationId xmlns:a16="http://schemas.microsoft.com/office/drawing/2014/main" id="{14D7958B-4F4C-468A-AB20-70948262B78C}"/>
                  </a:ext>
                </a:extLst>
              </p:cNvPr>
              <p:cNvCxnSpPr/>
              <p:nvPr/>
            </p:nvCxnSpPr>
            <p:spPr>
              <a:xfrm>
                <a:off x="-767562" y="7562988"/>
                <a:ext cx="226931" cy="0"/>
              </a:xfrm>
              <a:prstGeom prst="line">
                <a:avLst/>
              </a:prstGeom>
              <a:noFill/>
              <a:ln w="25400" cap="flat">
                <a:solidFill>
                  <a:schemeClr val="accent1"/>
                </a:solidFill>
                <a:prstDash val="solid"/>
                <a:miter/>
              </a:ln>
            </p:spPr>
          </p:cxnSp>
          <p:cxnSp>
            <p:nvCxnSpPr>
              <p:cNvPr id="39" name="Straight Connector 38">
                <a:extLst>
                  <a:ext uri="{FF2B5EF4-FFF2-40B4-BE49-F238E27FC236}">
                    <a16:creationId xmlns:a16="http://schemas.microsoft.com/office/drawing/2014/main" id="{711ECA0E-6CBB-4BAF-A055-5EBA4FAF1679}"/>
                  </a:ext>
                </a:extLst>
              </p:cNvPr>
              <p:cNvCxnSpPr/>
              <p:nvPr/>
            </p:nvCxnSpPr>
            <p:spPr>
              <a:xfrm>
                <a:off x="-767562" y="7650590"/>
                <a:ext cx="226931" cy="0"/>
              </a:xfrm>
              <a:prstGeom prst="line">
                <a:avLst/>
              </a:prstGeom>
              <a:noFill/>
              <a:ln w="25400" cap="flat">
                <a:solidFill>
                  <a:schemeClr val="accent1"/>
                </a:solidFill>
                <a:prstDash val="solid"/>
                <a:miter/>
              </a:ln>
            </p:spPr>
          </p:cxnSp>
          <p:cxnSp>
            <p:nvCxnSpPr>
              <p:cNvPr id="40" name="Straight Connector 39">
                <a:extLst>
                  <a:ext uri="{FF2B5EF4-FFF2-40B4-BE49-F238E27FC236}">
                    <a16:creationId xmlns:a16="http://schemas.microsoft.com/office/drawing/2014/main" id="{FFC31490-21F7-4491-838F-974136C14127}"/>
                  </a:ext>
                </a:extLst>
              </p:cNvPr>
              <p:cNvCxnSpPr/>
              <p:nvPr/>
            </p:nvCxnSpPr>
            <p:spPr>
              <a:xfrm>
                <a:off x="-767562" y="7738192"/>
                <a:ext cx="226931" cy="0"/>
              </a:xfrm>
              <a:prstGeom prst="line">
                <a:avLst/>
              </a:prstGeom>
              <a:noFill/>
              <a:ln w="25400" cap="flat">
                <a:solidFill>
                  <a:schemeClr val="accent1"/>
                </a:solidFill>
                <a:prstDash val="solid"/>
                <a:miter/>
              </a:ln>
            </p:spPr>
          </p:cxnSp>
          <p:cxnSp>
            <p:nvCxnSpPr>
              <p:cNvPr id="41" name="Straight Connector 40">
                <a:extLst>
                  <a:ext uri="{FF2B5EF4-FFF2-40B4-BE49-F238E27FC236}">
                    <a16:creationId xmlns:a16="http://schemas.microsoft.com/office/drawing/2014/main" id="{BAB2C506-EBE0-434C-B4B1-9D8C780F99CA}"/>
                  </a:ext>
                </a:extLst>
              </p:cNvPr>
              <p:cNvCxnSpPr/>
              <p:nvPr/>
            </p:nvCxnSpPr>
            <p:spPr>
              <a:xfrm>
                <a:off x="-767562" y="7825794"/>
                <a:ext cx="226931" cy="0"/>
              </a:xfrm>
              <a:prstGeom prst="line">
                <a:avLst/>
              </a:prstGeom>
              <a:noFill/>
              <a:ln w="25400" cap="flat">
                <a:solidFill>
                  <a:schemeClr val="accent1"/>
                </a:solidFill>
                <a:prstDash val="solid"/>
                <a:miter/>
              </a:ln>
            </p:spPr>
          </p:cxnSp>
        </p:grpSp>
      </p:grpSp>
      <p:sp>
        <p:nvSpPr>
          <p:cNvPr id="47" name="Rectangle 46">
            <a:extLst>
              <a:ext uri="{FF2B5EF4-FFF2-40B4-BE49-F238E27FC236}">
                <a16:creationId xmlns:a16="http://schemas.microsoft.com/office/drawing/2014/main" id="{3C182C6C-01FF-487A-BB92-5FF77C940AE7}"/>
              </a:ext>
            </a:extLst>
          </p:cNvPr>
          <p:cNvSpPr/>
          <p:nvPr/>
        </p:nvSpPr>
        <p:spPr>
          <a:xfrm>
            <a:off x="1106029" y="2395775"/>
            <a:ext cx="1180290" cy="180049"/>
          </a:xfrm>
          <a:prstGeom prst="rect">
            <a:avLst/>
          </a:prstGeom>
        </p:spPr>
        <p:txBody>
          <a:bodyPr wrap="square" lIns="0" tIns="0" rIns="0" bIns="0" anchor="b">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10" normalizeH="0" baseline="0" noProof="0">
                <a:ln>
                  <a:noFill/>
                </a:ln>
                <a:solidFill>
                  <a:srgbClr val="3C3C41"/>
                </a:solidFill>
                <a:effectLst/>
                <a:uLnTx/>
                <a:uFillTx/>
                <a:latin typeface="Segoe UI"/>
                <a:ea typeface="+mn-ea"/>
                <a:cs typeface="Segoe UI Semibold" panose="020B0702040204020203" pitchFamily="34" charset="0"/>
              </a:rPr>
              <a:t>User inputs</a:t>
            </a:r>
          </a:p>
        </p:txBody>
      </p:sp>
      <p:sp>
        <p:nvSpPr>
          <p:cNvPr id="48" name="Rectangle 47">
            <a:extLst>
              <a:ext uri="{FF2B5EF4-FFF2-40B4-BE49-F238E27FC236}">
                <a16:creationId xmlns:a16="http://schemas.microsoft.com/office/drawing/2014/main" id="{0E90CE46-764A-4BDC-A6C0-C16E5E0FEEAA}"/>
              </a:ext>
            </a:extLst>
          </p:cNvPr>
          <p:cNvSpPr/>
          <p:nvPr/>
        </p:nvSpPr>
        <p:spPr>
          <a:xfrm>
            <a:off x="3491109" y="2311260"/>
            <a:ext cx="1519300" cy="360099"/>
          </a:xfrm>
          <a:prstGeom prst="rect">
            <a:avLst/>
          </a:prstGeom>
        </p:spPr>
        <p:txBody>
          <a:bodyPr wrap="square" lIns="0" tIns="0" rIns="0" bIns="0" anchor="b">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10" normalizeH="0" baseline="0" noProof="0">
                <a:ln>
                  <a:noFill/>
                </a:ln>
                <a:solidFill>
                  <a:srgbClr val="3C3C41"/>
                </a:solidFill>
                <a:effectLst/>
                <a:uLnTx/>
                <a:uFillTx/>
                <a:latin typeface="Segoe UI"/>
                <a:ea typeface="+mn-ea"/>
                <a:cs typeface="Segoe UI Semibold" panose="020B0702040204020203" pitchFamily="34" charset="0"/>
              </a:rPr>
              <a:t>Feature engineering</a:t>
            </a:r>
          </a:p>
        </p:txBody>
      </p:sp>
      <p:sp>
        <p:nvSpPr>
          <p:cNvPr id="49" name="Rectangle 48">
            <a:extLst>
              <a:ext uri="{FF2B5EF4-FFF2-40B4-BE49-F238E27FC236}">
                <a16:creationId xmlns:a16="http://schemas.microsoft.com/office/drawing/2014/main" id="{E79074FC-87AC-4411-A7E5-BCF297EE031D}"/>
              </a:ext>
            </a:extLst>
          </p:cNvPr>
          <p:cNvSpPr/>
          <p:nvPr/>
        </p:nvSpPr>
        <p:spPr>
          <a:xfrm>
            <a:off x="5762324" y="2283856"/>
            <a:ext cx="1212565" cy="360099"/>
          </a:xfrm>
          <a:prstGeom prst="rect">
            <a:avLst/>
          </a:prstGeom>
        </p:spPr>
        <p:txBody>
          <a:bodyPr wrap="square" lIns="0" tIns="0" rIns="0" bIns="0" anchor="b">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10" normalizeH="0" baseline="0" noProof="0" dirty="0">
                <a:ln>
                  <a:noFill/>
                </a:ln>
                <a:solidFill>
                  <a:srgbClr val="3C3C41"/>
                </a:solidFill>
                <a:effectLst/>
                <a:uLnTx/>
                <a:uFillTx/>
                <a:latin typeface="Segoe UI"/>
                <a:ea typeface="+mn-ea"/>
                <a:cs typeface="Segoe UI Semibold" panose="020B0702040204020203" pitchFamily="34" charset="0"/>
              </a:rPr>
              <a:t>Algorithm selection</a:t>
            </a:r>
          </a:p>
        </p:txBody>
      </p:sp>
      <p:sp>
        <p:nvSpPr>
          <p:cNvPr id="50" name="Rectangle 49">
            <a:extLst>
              <a:ext uri="{FF2B5EF4-FFF2-40B4-BE49-F238E27FC236}">
                <a16:creationId xmlns:a16="http://schemas.microsoft.com/office/drawing/2014/main" id="{7048DB68-4D26-4079-83F9-8AB2224E88F1}"/>
              </a:ext>
            </a:extLst>
          </p:cNvPr>
          <p:cNvSpPr/>
          <p:nvPr/>
        </p:nvSpPr>
        <p:spPr>
          <a:xfrm>
            <a:off x="7346919" y="2284281"/>
            <a:ext cx="1519300" cy="360099"/>
          </a:xfrm>
          <a:prstGeom prst="rect">
            <a:avLst/>
          </a:prstGeom>
        </p:spPr>
        <p:txBody>
          <a:bodyPr wrap="square" lIns="0" tIns="0" rIns="0" bIns="0" anchor="b">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10" normalizeH="0" baseline="0" noProof="0">
                <a:ln>
                  <a:noFill/>
                </a:ln>
                <a:solidFill>
                  <a:srgbClr val="3C3C41"/>
                </a:solidFill>
                <a:effectLst/>
                <a:uLnTx/>
                <a:uFillTx/>
                <a:latin typeface="Segoe UI"/>
                <a:ea typeface="+mn-ea"/>
                <a:cs typeface="Segoe UI Semibold" panose="020B0702040204020203" pitchFamily="34" charset="0"/>
              </a:rPr>
              <a:t>Hyperparameter tuning</a:t>
            </a:r>
          </a:p>
        </p:txBody>
      </p:sp>
      <p:sp>
        <p:nvSpPr>
          <p:cNvPr id="51" name="Rectangle 50">
            <a:extLst>
              <a:ext uri="{FF2B5EF4-FFF2-40B4-BE49-F238E27FC236}">
                <a16:creationId xmlns:a16="http://schemas.microsoft.com/office/drawing/2014/main" id="{D898C091-FF9F-4BDE-B49E-C165A2B168FA}"/>
              </a:ext>
            </a:extLst>
          </p:cNvPr>
          <p:cNvSpPr/>
          <p:nvPr/>
        </p:nvSpPr>
        <p:spPr>
          <a:xfrm>
            <a:off x="9523582" y="2491310"/>
            <a:ext cx="1519300" cy="180049"/>
          </a:xfrm>
          <a:prstGeom prst="rect">
            <a:avLst/>
          </a:prstGeom>
        </p:spPr>
        <p:txBody>
          <a:bodyPr wrap="square" lIns="0" tIns="0" rIns="0" bIns="0" anchor="b">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10" normalizeH="0" baseline="0" noProof="0">
                <a:ln>
                  <a:noFill/>
                </a:ln>
                <a:solidFill>
                  <a:srgbClr val="3C3C41"/>
                </a:solidFill>
                <a:effectLst/>
                <a:uLnTx/>
                <a:uFillTx/>
                <a:latin typeface="Segoe UI"/>
                <a:ea typeface="+mn-ea"/>
                <a:cs typeface="Segoe UI Semibold" panose="020B0702040204020203" pitchFamily="34" charset="0"/>
              </a:rPr>
              <a:t>Model Leaderboard</a:t>
            </a:r>
          </a:p>
        </p:txBody>
      </p:sp>
      <p:sp>
        <p:nvSpPr>
          <p:cNvPr id="52" name="Rectangle 51">
            <a:extLst>
              <a:ext uri="{FF2B5EF4-FFF2-40B4-BE49-F238E27FC236}">
                <a16:creationId xmlns:a16="http://schemas.microsoft.com/office/drawing/2014/main" id="{0C07478B-3F79-452B-A046-484EB7760505}"/>
              </a:ext>
            </a:extLst>
          </p:cNvPr>
          <p:cNvSpPr/>
          <p:nvPr/>
        </p:nvSpPr>
        <p:spPr>
          <a:xfrm>
            <a:off x="1375279" y="3118329"/>
            <a:ext cx="1180290" cy="152349"/>
          </a:xfrm>
          <a:prstGeom prst="rect">
            <a:avLst/>
          </a:prstGeom>
        </p:spPr>
        <p:txBody>
          <a:bodyPr wrap="square" lIns="0" tIns="0" rIns="0" bIns="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10" normalizeH="0" baseline="0" noProof="0">
                <a:ln>
                  <a:noFill/>
                </a:ln>
                <a:solidFill>
                  <a:srgbClr val="3C3C41"/>
                </a:solidFill>
                <a:effectLst/>
                <a:uLnTx/>
                <a:uFillTx/>
                <a:latin typeface="Segoe UI Semibold"/>
                <a:ea typeface="+mn-ea"/>
                <a:cs typeface="Segoe UI Semibold" panose="020B0702040204020203" pitchFamily="34" charset="0"/>
              </a:rPr>
              <a:t>Dataset</a:t>
            </a:r>
          </a:p>
        </p:txBody>
      </p:sp>
      <p:sp>
        <p:nvSpPr>
          <p:cNvPr id="53" name="Rectangle 52">
            <a:extLst>
              <a:ext uri="{FF2B5EF4-FFF2-40B4-BE49-F238E27FC236}">
                <a16:creationId xmlns:a16="http://schemas.microsoft.com/office/drawing/2014/main" id="{C05703FF-C588-47B2-88C8-3F00A1CF3624}"/>
              </a:ext>
            </a:extLst>
          </p:cNvPr>
          <p:cNvSpPr/>
          <p:nvPr/>
        </p:nvSpPr>
        <p:spPr>
          <a:xfrm>
            <a:off x="1375279" y="3919002"/>
            <a:ext cx="959525" cy="304699"/>
          </a:xfrm>
          <a:prstGeom prst="rect">
            <a:avLst/>
          </a:prstGeom>
        </p:spPr>
        <p:txBody>
          <a:bodyPr wrap="square" lIns="0" tIns="0" rIns="0" bIns="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10" normalizeH="0" baseline="0" noProof="0">
                <a:ln>
                  <a:noFill/>
                </a:ln>
                <a:solidFill>
                  <a:srgbClr val="3C3C41"/>
                </a:solidFill>
                <a:effectLst/>
                <a:uLnTx/>
                <a:uFillTx/>
                <a:latin typeface="Segoe UI Semibold"/>
                <a:ea typeface="+mn-ea"/>
                <a:cs typeface="Segoe UI Semibold" panose="020B0702040204020203" pitchFamily="34" charset="0"/>
              </a:rPr>
              <a:t>Configuration &amp; Constraints</a:t>
            </a:r>
          </a:p>
        </p:txBody>
      </p:sp>
      <p:graphicFrame>
        <p:nvGraphicFramePr>
          <p:cNvPr id="54" name="Table 53">
            <a:extLst>
              <a:ext uri="{FF2B5EF4-FFF2-40B4-BE49-F238E27FC236}">
                <a16:creationId xmlns:a16="http://schemas.microsoft.com/office/drawing/2014/main" id="{93D4F634-1D14-4825-933A-AADBB9338147}"/>
              </a:ext>
            </a:extLst>
          </p:cNvPr>
          <p:cNvGraphicFramePr>
            <a:graphicFrameLocks noGrp="1"/>
          </p:cNvGraphicFramePr>
          <p:nvPr/>
        </p:nvGraphicFramePr>
        <p:xfrm>
          <a:off x="3481716" y="2787297"/>
          <a:ext cx="1566351" cy="1726816"/>
        </p:xfrm>
        <a:graphic>
          <a:graphicData uri="http://schemas.openxmlformats.org/drawingml/2006/table">
            <a:tbl>
              <a:tblPr firstRow="1" bandRow="1">
                <a:tableStyleId>{5C22544A-7EE6-4342-B048-85BDC9FD1C3A}</a:tableStyleId>
              </a:tblPr>
              <a:tblGrid>
                <a:gridCol w="760825">
                  <a:extLst>
                    <a:ext uri="{9D8B030D-6E8A-4147-A177-3AD203B41FA5}">
                      <a16:colId xmlns:a16="http://schemas.microsoft.com/office/drawing/2014/main" val="1006749203"/>
                    </a:ext>
                  </a:extLst>
                </a:gridCol>
                <a:gridCol w="402763">
                  <a:extLst>
                    <a:ext uri="{9D8B030D-6E8A-4147-A177-3AD203B41FA5}">
                      <a16:colId xmlns:a16="http://schemas.microsoft.com/office/drawing/2014/main" val="295922100"/>
                    </a:ext>
                  </a:extLst>
                </a:gridCol>
                <a:gridCol w="402763">
                  <a:extLst>
                    <a:ext uri="{9D8B030D-6E8A-4147-A177-3AD203B41FA5}">
                      <a16:colId xmlns:a16="http://schemas.microsoft.com/office/drawing/2014/main" val="3671616825"/>
                    </a:ext>
                  </a:extLst>
                </a:gridCol>
              </a:tblGrid>
              <a:tr h="215852">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906599760"/>
                  </a:ext>
                </a:extLst>
              </a:tr>
              <a:tr h="215852">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280160" rtl="0" eaLnBrk="1" latinLnBrk="0" hangingPunct="1"/>
                      <a:endParaRPr lang="en-US" sz="400" kern="1200">
                        <a:solidFill>
                          <a:schemeClr val="tx1"/>
                        </a:solidFill>
                        <a:latin typeface="+mn-lt"/>
                        <a:ea typeface="+mn-ea"/>
                        <a:cs typeface="+mn-cs"/>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99041889"/>
                  </a:ext>
                </a:extLst>
              </a:tr>
              <a:tr h="215852">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26680576"/>
                  </a:ext>
                </a:extLst>
              </a:tr>
              <a:tr h="215852">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8189788"/>
                  </a:ext>
                </a:extLst>
              </a:tr>
              <a:tr h="215852">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33819709"/>
                  </a:ext>
                </a:extLst>
              </a:tr>
              <a:tr h="215852">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629421"/>
                  </a:ext>
                </a:extLst>
              </a:tr>
              <a:tr h="215852">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6815864"/>
                  </a:ext>
                </a:extLst>
              </a:tr>
              <a:tr h="215852">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40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80126522"/>
                  </a:ext>
                </a:extLst>
              </a:tr>
            </a:tbl>
          </a:graphicData>
        </a:graphic>
      </p:graphicFrame>
      <p:sp>
        <p:nvSpPr>
          <p:cNvPr id="55" name="Rectangle 54">
            <a:extLst>
              <a:ext uri="{FF2B5EF4-FFF2-40B4-BE49-F238E27FC236}">
                <a16:creationId xmlns:a16="http://schemas.microsoft.com/office/drawing/2014/main" id="{27FBEA66-45C6-4961-8C5E-0B8FF8D8FF4D}"/>
              </a:ext>
            </a:extLst>
          </p:cNvPr>
          <p:cNvSpPr/>
          <p:nvPr/>
        </p:nvSpPr>
        <p:spPr>
          <a:xfrm>
            <a:off x="4244773" y="2779826"/>
            <a:ext cx="393404" cy="1743075"/>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56" name="Group 55">
            <a:extLst>
              <a:ext uri="{FF2B5EF4-FFF2-40B4-BE49-F238E27FC236}">
                <a16:creationId xmlns:a16="http://schemas.microsoft.com/office/drawing/2014/main" id="{B06FAE3B-C58C-427D-AB44-30F0A4E6B8FC}"/>
              </a:ext>
            </a:extLst>
          </p:cNvPr>
          <p:cNvGrpSpPr/>
          <p:nvPr/>
        </p:nvGrpSpPr>
        <p:grpSpPr>
          <a:xfrm>
            <a:off x="4314160" y="3113200"/>
            <a:ext cx="257852" cy="1295401"/>
            <a:chOff x="5524077" y="7960517"/>
            <a:chExt cx="257852" cy="1773171"/>
          </a:xfrm>
        </p:grpSpPr>
        <p:cxnSp>
          <p:nvCxnSpPr>
            <p:cNvPr id="57" name="Straight Connector 56">
              <a:extLst>
                <a:ext uri="{FF2B5EF4-FFF2-40B4-BE49-F238E27FC236}">
                  <a16:creationId xmlns:a16="http://schemas.microsoft.com/office/drawing/2014/main" id="{D4358EFC-8C97-449E-A749-1C7172D648BD}"/>
                </a:ext>
              </a:extLst>
            </p:cNvPr>
            <p:cNvCxnSpPr>
              <a:cxnSpLocks/>
            </p:cNvCxnSpPr>
            <p:nvPr/>
          </p:nvCxnSpPr>
          <p:spPr>
            <a:xfrm>
              <a:off x="5559413" y="7960517"/>
              <a:ext cx="177317" cy="0"/>
            </a:xfrm>
            <a:prstGeom prst="line">
              <a:avLst/>
            </a:prstGeom>
            <a:ln w="571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C33CB26-14DD-4506-8FAC-45C5D51C334D}"/>
                </a:ext>
              </a:extLst>
            </p:cNvPr>
            <p:cNvCxnSpPr>
              <a:cxnSpLocks/>
            </p:cNvCxnSpPr>
            <p:nvPr/>
          </p:nvCxnSpPr>
          <p:spPr>
            <a:xfrm>
              <a:off x="5566367" y="8256045"/>
              <a:ext cx="173840" cy="0"/>
            </a:xfrm>
            <a:prstGeom prst="line">
              <a:avLst/>
            </a:prstGeom>
            <a:ln w="571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607F482-1700-4A31-A24D-558C7068259E}"/>
                </a:ext>
              </a:extLst>
            </p:cNvPr>
            <p:cNvCxnSpPr>
              <a:cxnSpLocks/>
            </p:cNvCxnSpPr>
            <p:nvPr/>
          </p:nvCxnSpPr>
          <p:spPr>
            <a:xfrm>
              <a:off x="5524077" y="8551574"/>
              <a:ext cx="257852" cy="0"/>
            </a:xfrm>
            <a:prstGeom prst="line">
              <a:avLst/>
            </a:prstGeom>
            <a:ln w="571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C8BC9D5-FCF2-4D60-8E67-52E1464ADE41}"/>
                </a:ext>
              </a:extLst>
            </p:cNvPr>
            <p:cNvCxnSpPr>
              <a:cxnSpLocks/>
            </p:cNvCxnSpPr>
            <p:nvPr/>
          </p:nvCxnSpPr>
          <p:spPr>
            <a:xfrm>
              <a:off x="5597658" y="8847103"/>
              <a:ext cx="118211" cy="0"/>
            </a:xfrm>
            <a:prstGeom prst="line">
              <a:avLst/>
            </a:prstGeom>
            <a:ln w="571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560F6F8-8AEC-4B34-847F-DC678704B785}"/>
                </a:ext>
              </a:extLst>
            </p:cNvPr>
            <p:cNvCxnSpPr>
              <a:cxnSpLocks/>
            </p:cNvCxnSpPr>
            <p:nvPr/>
          </p:nvCxnSpPr>
          <p:spPr>
            <a:xfrm>
              <a:off x="5576797" y="9142632"/>
              <a:ext cx="156456" cy="0"/>
            </a:xfrm>
            <a:prstGeom prst="line">
              <a:avLst/>
            </a:prstGeom>
            <a:ln w="571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65993F0-CA25-4515-A7DF-ABE73E4935B0}"/>
                </a:ext>
              </a:extLst>
            </p:cNvPr>
            <p:cNvCxnSpPr>
              <a:cxnSpLocks/>
            </p:cNvCxnSpPr>
            <p:nvPr/>
          </p:nvCxnSpPr>
          <p:spPr>
            <a:xfrm>
              <a:off x="5545506" y="9438161"/>
              <a:ext cx="215562" cy="0"/>
            </a:xfrm>
            <a:prstGeom prst="line">
              <a:avLst/>
            </a:prstGeom>
            <a:ln w="571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363774E-7EE7-4AB6-B4E8-5F44CFF07ED3}"/>
                </a:ext>
              </a:extLst>
            </p:cNvPr>
            <p:cNvCxnSpPr>
              <a:cxnSpLocks/>
            </p:cNvCxnSpPr>
            <p:nvPr/>
          </p:nvCxnSpPr>
          <p:spPr>
            <a:xfrm>
              <a:off x="5524077" y="9733688"/>
              <a:ext cx="257852" cy="0"/>
            </a:xfrm>
            <a:prstGeom prst="line">
              <a:avLst/>
            </a:prstGeom>
            <a:ln w="571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64" name="Rectangle: Rounded Corners 63">
            <a:extLst>
              <a:ext uri="{FF2B5EF4-FFF2-40B4-BE49-F238E27FC236}">
                <a16:creationId xmlns:a16="http://schemas.microsoft.com/office/drawing/2014/main" id="{A8CA725D-578A-490F-84DB-F2521684FF8A}"/>
              </a:ext>
            </a:extLst>
          </p:cNvPr>
          <p:cNvSpPr/>
          <p:nvPr/>
        </p:nvSpPr>
        <p:spPr>
          <a:xfrm>
            <a:off x="5398786" y="2798876"/>
            <a:ext cx="3622940" cy="1704520"/>
          </a:xfrm>
          <a:prstGeom prst="roundRect">
            <a:avLst>
              <a:gd name="adj" fmla="val 0"/>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aphicFrame>
        <p:nvGraphicFramePr>
          <p:cNvPr id="65" name="Table 64">
            <a:extLst>
              <a:ext uri="{FF2B5EF4-FFF2-40B4-BE49-F238E27FC236}">
                <a16:creationId xmlns:a16="http://schemas.microsoft.com/office/drawing/2014/main" id="{0870604A-3B20-46B8-8B0F-13CBD8FE370B}"/>
              </a:ext>
            </a:extLst>
          </p:cNvPr>
          <p:cNvGraphicFramePr>
            <a:graphicFrameLocks noGrp="1"/>
          </p:cNvGraphicFramePr>
          <p:nvPr/>
        </p:nvGraphicFramePr>
        <p:xfrm>
          <a:off x="5811124" y="3054056"/>
          <a:ext cx="1211046" cy="1214325"/>
        </p:xfrm>
        <a:graphic>
          <a:graphicData uri="http://schemas.openxmlformats.org/drawingml/2006/table">
            <a:tbl>
              <a:tblPr firstRow="1" bandRow="1">
                <a:tableStyleId>{5C22544A-7EE6-4342-B048-85BDC9FD1C3A}</a:tableStyleId>
              </a:tblPr>
              <a:tblGrid>
                <a:gridCol w="403682">
                  <a:extLst>
                    <a:ext uri="{9D8B030D-6E8A-4147-A177-3AD203B41FA5}">
                      <a16:colId xmlns:a16="http://schemas.microsoft.com/office/drawing/2014/main" val="1006749203"/>
                    </a:ext>
                  </a:extLst>
                </a:gridCol>
                <a:gridCol w="403682">
                  <a:extLst>
                    <a:ext uri="{9D8B030D-6E8A-4147-A177-3AD203B41FA5}">
                      <a16:colId xmlns:a16="http://schemas.microsoft.com/office/drawing/2014/main" val="295922100"/>
                    </a:ext>
                  </a:extLst>
                </a:gridCol>
                <a:gridCol w="403682">
                  <a:extLst>
                    <a:ext uri="{9D8B030D-6E8A-4147-A177-3AD203B41FA5}">
                      <a16:colId xmlns:a16="http://schemas.microsoft.com/office/drawing/2014/main" val="3671616825"/>
                    </a:ext>
                  </a:extLst>
                </a:gridCol>
              </a:tblGrid>
              <a:tr h="404775">
                <a:tc>
                  <a:txBody>
                    <a:bodyPr/>
                    <a:lstStyle/>
                    <a:p>
                      <a:pPr algn="ctr"/>
                      <a:r>
                        <a:rPr lang="en-US" sz="700" b="1">
                          <a:solidFill>
                            <a:schemeClr val="bg1"/>
                          </a:solidFill>
                          <a:latin typeface="+mn-lt"/>
                        </a:rPr>
                        <a:t>76%</a:t>
                      </a:r>
                    </a:p>
                  </a:txBody>
                  <a:tcPr marL="0" marR="0" marT="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algn="ctr"/>
                      <a:r>
                        <a:rPr lang="en-US" sz="700" b="1" dirty="0">
                          <a:solidFill>
                            <a:schemeClr val="bg1"/>
                          </a:solidFill>
                          <a:latin typeface="+mn-lt"/>
                        </a:rPr>
                        <a:t>34%</a:t>
                      </a:r>
                    </a:p>
                  </a:txBody>
                  <a:tcPr marL="0" marR="0" marT="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algn="ctr"/>
                      <a:r>
                        <a:rPr lang="en-US" sz="700" b="1" dirty="0">
                          <a:solidFill>
                            <a:schemeClr val="bg1"/>
                          </a:solidFill>
                          <a:latin typeface="+mn-lt"/>
                        </a:rPr>
                        <a:t>82%</a:t>
                      </a:r>
                    </a:p>
                  </a:txBody>
                  <a:tcPr marL="0" marR="0" marT="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extLst>
                  <a:ext uri="{0D108BD9-81ED-4DB2-BD59-A6C34878D82A}">
                    <a16:rowId xmlns:a16="http://schemas.microsoft.com/office/drawing/2014/main" val="906599760"/>
                  </a:ext>
                </a:extLst>
              </a:tr>
              <a:tr h="404775">
                <a:tc>
                  <a:txBody>
                    <a:bodyPr/>
                    <a:lstStyle/>
                    <a:p>
                      <a:pPr algn="ctr"/>
                      <a:r>
                        <a:rPr lang="en-US" sz="700" b="1" dirty="0">
                          <a:solidFill>
                            <a:schemeClr val="bg1"/>
                          </a:solidFill>
                          <a:latin typeface="+mn-lt"/>
                        </a:rPr>
                        <a:t>41%</a:t>
                      </a:r>
                    </a:p>
                  </a:txBody>
                  <a:tcPr marL="0" marR="0" marT="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algn="ctr" defTabSz="1280160" rtl="0" eaLnBrk="1" latinLnBrk="0" hangingPunct="1"/>
                      <a:r>
                        <a:rPr lang="en-US" sz="700" b="1" kern="1200" dirty="0">
                          <a:solidFill>
                            <a:schemeClr val="bg1"/>
                          </a:solidFill>
                          <a:latin typeface="+mn-lt"/>
                          <a:ea typeface="+mn-ea"/>
                          <a:cs typeface="+mn-cs"/>
                        </a:rPr>
                        <a:t>88%</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700" b="1" dirty="0">
                          <a:solidFill>
                            <a:schemeClr val="bg1"/>
                          </a:solidFill>
                          <a:latin typeface="+mn-lt"/>
                        </a:rPr>
                        <a:t>72%</a:t>
                      </a:r>
                    </a:p>
                  </a:txBody>
                  <a:tcPr marL="0" marR="0" marT="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extLst>
                  <a:ext uri="{0D108BD9-81ED-4DB2-BD59-A6C34878D82A}">
                    <a16:rowId xmlns:a16="http://schemas.microsoft.com/office/drawing/2014/main" val="2899041889"/>
                  </a:ext>
                </a:extLst>
              </a:tr>
              <a:tr h="404775">
                <a:tc>
                  <a:txBody>
                    <a:bodyPr/>
                    <a:lstStyle/>
                    <a:p>
                      <a:pPr algn="ctr"/>
                      <a:r>
                        <a:rPr lang="en-US" sz="700" b="1" dirty="0">
                          <a:solidFill>
                            <a:schemeClr val="bg1"/>
                          </a:solidFill>
                          <a:latin typeface="+mn-lt"/>
                        </a:rPr>
                        <a:t>81%</a:t>
                      </a:r>
                    </a:p>
                  </a:txBody>
                  <a:tcPr marL="0" marR="0" marT="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algn="ctr"/>
                      <a:r>
                        <a:rPr lang="en-US" sz="700" b="1">
                          <a:solidFill>
                            <a:schemeClr val="bg1"/>
                          </a:solidFill>
                          <a:latin typeface="+mn-lt"/>
                        </a:rPr>
                        <a:t>54%</a:t>
                      </a:r>
                    </a:p>
                  </a:txBody>
                  <a:tcPr marL="0" marR="0" marT="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algn="ctr"/>
                      <a:r>
                        <a:rPr lang="en-US" sz="700" b="1" dirty="0">
                          <a:solidFill>
                            <a:schemeClr val="bg1"/>
                          </a:solidFill>
                          <a:latin typeface="+mn-lt"/>
                        </a:rPr>
                        <a:t>73%</a:t>
                      </a:r>
                    </a:p>
                  </a:txBody>
                  <a:tcPr marL="0" marR="0" marT="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extLst>
                  <a:ext uri="{0D108BD9-81ED-4DB2-BD59-A6C34878D82A}">
                    <a16:rowId xmlns:a16="http://schemas.microsoft.com/office/drawing/2014/main" val="4126680576"/>
                  </a:ext>
                </a:extLst>
              </a:tr>
            </a:tbl>
          </a:graphicData>
        </a:graphic>
      </p:graphicFrame>
      <p:graphicFrame>
        <p:nvGraphicFramePr>
          <p:cNvPr id="66" name="Table 65">
            <a:extLst>
              <a:ext uri="{FF2B5EF4-FFF2-40B4-BE49-F238E27FC236}">
                <a16:creationId xmlns:a16="http://schemas.microsoft.com/office/drawing/2014/main" id="{13DE37A1-CFD5-40A5-92E0-312AB97233BF}"/>
              </a:ext>
            </a:extLst>
          </p:cNvPr>
          <p:cNvGraphicFramePr>
            <a:graphicFrameLocks noGrp="1"/>
          </p:cNvGraphicFramePr>
          <p:nvPr/>
        </p:nvGraphicFramePr>
        <p:xfrm>
          <a:off x="7473214" y="3054056"/>
          <a:ext cx="1211046" cy="1214325"/>
        </p:xfrm>
        <a:graphic>
          <a:graphicData uri="http://schemas.openxmlformats.org/drawingml/2006/table">
            <a:tbl>
              <a:tblPr firstRow="1" bandRow="1">
                <a:tableStyleId>{5C22544A-7EE6-4342-B048-85BDC9FD1C3A}</a:tableStyleId>
              </a:tblPr>
              <a:tblGrid>
                <a:gridCol w="403682">
                  <a:extLst>
                    <a:ext uri="{9D8B030D-6E8A-4147-A177-3AD203B41FA5}">
                      <a16:colId xmlns:a16="http://schemas.microsoft.com/office/drawing/2014/main" val="1006749203"/>
                    </a:ext>
                  </a:extLst>
                </a:gridCol>
                <a:gridCol w="403682">
                  <a:extLst>
                    <a:ext uri="{9D8B030D-6E8A-4147-A177-3AD203B41FA5}">
                      <a16:colId xmlns:a16="http://schemas.microsoft.com/office/drawing/2014/main" val="295922100"/>
                    </a:ext>
                  </a:extLst>
                </a:gridCol>
                <a:gridCol w="403682">
                  <a:extLst>
                    <a:ext uri="{9D8B030D-6E8A-4147-A177-3AD203B41FA5}">
                      <a16:colId xmlns:a16="http://schemas.microsoft.com/office/drawing/2014/main" val="3671616825"/>
                    </a:ext>
                  </a:extLst>
                </a:gridCol>
              </a:tblGrid>
              <a:tr h="404775">
                <a:tc>
                  <a:txBody>
                    <a:bodyPr/>
                    <a:lstStyle/>
                    <a:p>
                      <a:pPr algn="ctr"/>
                      <a:r>
                        <a:rPr lang="en-US" sz="700" b="1">
                          <a:solidFill>
                            <a:schemeClr val="bg1"/>
                          </a:solidFill>
                          <a:latin typeface="+mn-lt"/>
                        </a:rPr>
                        <a:t>88%</a:t>
                      </a:r>
                    </a:p>
                  </a:txBody>
                  <a:tcPr marL="0" marR="0" marT="0" marB="9144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algn="ctr"/>
                      <a:r>
                        <a:rPr lang="en-US" sz="700" b="1">
                          <a:solidFill>
                            <a:schemeClr val="bg1"/>
                          </a:solidFill>
                          <a:latin typeface="+mn-lt"/>
                        </a:rPr>
                        <a:t>90%</a:t>
                      </a:r>
                    </a:p>
                  </a:txBody>
                  <a:tcPr marL="0" marR="0" marT="0" marB="9144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algn="ctr"/>
                      <a:r>
                        <a:rPr lang="en-US" sz="700" b="1">
                          <a:solidFill>
                            <a:schemeClr val="bg1"/>
                          </a:solidFill>
                          <a:latin typeface="+mn-lt"/>
                        </a:rPr>
                        <a:t>91%</a:t>
                      </a:r>
                    </a:p>
                  </a:txBody>
                  <a:tcPr marL="0" marR="0" marT="0" marB="9144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extLst>
                  <a:ext uri="{0D108BD9-81ED-4DB2-BD59-A6C34878D82A}">
                    <a16:rowId xmlns:a16="http://schemas.microsoft.com/office/drawing/2014/main" val="906599760"/>
                  </a:ext>
                </a:extLst>
              </a:tr>
              <a:tr h="404775">
                <a:tc>
                  <a:txBody>
                    <a:bodyPr/>
                    <a:lstStyle/>
                    <a:p>
                      <a:pPr algn="ctr"/>
                      <a:r>
                        <a:rPr lang="en-US" sz="700" b="1">
                          <a:solidFill>
                            <a:schemeClr val="bg1"/>
                          </a:solidFill>
                          <a:latin typeface="+mn-lt"/>
                        </a:rPr>
                        <a:t>95%</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ctr" defTabSz="1280160" rtl="0" eaLnBrk="1" latinLnBrk="0" hangingPunct="1"/>
                      <a:r>
                        <a:rPr lang="en-US" sz="700" b="1" kern="1200" dirty="0">
                          <a:solidFill>
                            <a:schemeClr val="bg1"/>
                          </a:solidFill>
                          <a:latin typeface="+mn-lt"/>
                          <a:ea typeface="+mn-ea"/>
                          <a:cs typeface="+mn-cs"/>
                        </a:rPr>
                        <a:t>68%</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algn="ctr"/>
                      <a:r>
                        <a:rPr lang="en-US" sz="700" b="1" dirty="0">
                          <a:solidFill>
                            <a:schemeClr val="bg1"/>
                          </a:solidFill>
                          <a:latin typeface="+mn-lt"/>
                        </a:rPr>
                        <a:t>56%</a:t>
                      </a:r>
                    </a:p>
                  </a:txBody>
                  <a:tcPr marL="0" marR="0" marT="0" marB="9144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extLst>
                  <a:ext uri="{0D108BD9-81ED-4DB2-BD59-A6C34878D82A}">
                    <a16:rowId xmlns:a16="http://schemas.microsoft.com/office/drawing/2014/main" val="2899041889"/>
                  </a:ext>
                </a:extLst>
              </a:tr>
              <a:tr h="404775">
                <a:tc>
                  <a:txBody>
                    <a:bodyPr/>
                    <a:lstStyle/>
                    <a:p>
                      <a:pPr algn="ctr"/>
                      <a:r>
                        <a:rPr lang="en-US" sz="700" b="1" dirty="0">
                          <a:solidFill>
                            <a:schemeClr val="bg1"/>
                          </a:solidFill>
                          <a:latin typeface="+mn-lt"/>
                        </a:rPr>
                        <a:t>89%</a:t>
                      </a:r>
                    </a:p>
                  </a:txBody>
                  <a:tcPr marL="0" marR="0" marT="0" marB="9144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algn="ctr"/>
                      <a:r>
                        <a:rPr lang="en-US" sz="700" b="1">
                          <a:solidFill>
                            <a:schemeClr val="bg1"/>
                          </a:solidFill>
                          <a:latin typeface="+mn-lt"/>
                        </a:rPr>
                        <a:t>89%</a:t>
                      </a:r>
                    </a:p>
                  </a:txBody>
                  <a:tcPr marL="0" marR="0" marT="0" marB="9144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algn="ctr"/>
                      <a:r>
                        <a:rPr lang="en-US" sz="700" b="1" dirty="0">
                          <a:solidFill>
                            <a:schemeClr val="bg1"/>
                          </a:solidFill>
                          <a:latin typeface="+mn-lt"/>
                        </a:rPr>
                        <a:t>79%</a:t>
                      </a:r>
                    </a:p>
                  </a:txBody>
                  <a:tcPr marL="0" marR="0" marT="0" marB="9144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extLst>
                  <a:ext uri="{0D108BD9-81ED-4DB2-BD59-A6C34878D82A}">
                    <a16:rowId xmlns:a16="http://schemas.microsoft.com/office/drawing/2014/main" val="4126680576"/>
                  </a:ext>
                </a:extLst>
              </a:tr>
            </a:tbl>
          </a:graphicData>
        </a:graphic>
      </p:graphicFrame>
      <p:cxnSp>
        <p:nvCxnSpPr>
          <p:cNvPr id="83" name="Straight Arrow Connector 82">
            <a:extLst>
              <a:ext uri="{FF2B5EF4-FFF2-40B4-BE49-F238E27FC236}">
                <a16:creationId xmlns:a16="http://schemas.microsoft.com/office/drawing/2014/main" id="{D56144DE-11AD-4C15-BF11-FC1B1FABE137}"/>
              </a:ext>
            </a:extLst>
          </p:cNvPr>
          <p:cNvCxnSpPr>
            <a:cxnSpLocks/>
            <a:stCxn id="55" idx="3"/>
            <a:endCxn id="64" idx="1"/>
          </p:cNvCxnSpPr>
          <p:nvPr/>
        </p:nvCxnSpPr>
        <p:spPr>
          <a:xfrm flipV="1">
            <a:off x="4638177" y="3651136"/>
            <a:ext cx="760609" cy="228"/>
          </a:xfrm>
          <a:prstGeom prst="straightConnector1">
            <a:avLst/>
          </a:prstGeom>
          <a:ln w="41275" cap="rnd">
            <a:solidFill>
              <a:schemeClr val="tx2"/>
            </a:solidFill>
            <a:prstDash val="solid"/>
            <a:round/>
            <a:tailEnd type="arrow" w="med" len="sm"/>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144F0410-BD59-45F9-8267-40B54DC01552}"/>
              </a:ext>
            </a:extLst>
          </p:cNvPr>
          <p:cNvCxnSpPr>
            <a:cxnSpLocks/>
          </p:cNvCxnSpPr>
          <p:nvPr/>
        </p:nvCxnSpPr>
        <p:spPr>
          <a:xfrm>
            <a:off x="2019057" y="3204931"/>
            <a:ext cx="1376681" cy="0"/>
          </a:xfrm>
          <a:prstGeom prst="straightConnector1">
            <a:avLst/>
          </a:prstGeom>
          <a:ln w="41275" cap="rnd">
            <a:solidFill>
              <a:schemeClr val="tx1"/>
            </a:solidFill>
            <a:prstDash val="solid"/>
            <a:round/>
            <a:tailEnd type="arrow" w="med" len="sm"/>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06323CF2-64EF-4586-80B4-76E781438716}"/>
              </a:ext>
            </a:extLst>
          </p:cNvPr>
          <p:cNvCxnSpPr>
            <a:cxnSpLocks/>
          </p:cNvCxnSpPr>
          <p:nvPr/>
        </p:nvCxnSpPr>
        <p:spPr>
          <a:xfrm flipV="1">
            <a:off x="2507656" y="4090198"/>
            <a:ext cx="888082" cy="12115"/>
          </a:xfrm>
          <a:prstGeom prst="straightConnector1">
            <a:avLst/>
          </a:prstGeom>
          <a:ln w="41275" cap="rnd">
            <a:solidFill>
              <a:schemeClr val="tx1"/>
            </a:solidFill>
            <a:prstDash val="solid"/>
            <a:round/>
            <a:tailEnd type="arrow" w="med" len="sm"/>
          </a:ln>
        </p:spPr>
        <p:style>
          <a:lnRef idx="1">
            <a:schemeClr val="accent1"/>
          </a:lnRef>
          <a:fillRef idx="0">
            <a:schemeClr val="accent1"/>
          </a:fillRef>
          <a:effectRef idx="0">
            <a:schemeClr val="accent1"/>
          </a:effectRef>
          <a:fontRef idx="minor">
            <a:schemeClr val="tx1"/>
          </a:fontRef>
        </p:style>
      </p:cxnSp>
      <p:graphicFrame>
        <p:nvGraphicFramePr>
          <p:cNvPr id="87" name="Table 86">
            <a:extLst>
              <a:ext uri="{FF2B5EF4-FFF2-40B4-BE49-F238E27FC236}">
                <a16:creationId xmlns:a16="http://schemas.microsoft.com/office/drawing/2014/main" id="{BD284AC9-6E3D-40EB-AB2D-3F29447C10DB}"/>
              </a:ext>
            </a:extLst>
          </p:cNvPr>
          <p:cNvGraphicFramePr>
            <a:graphicFrameLocks noGrp="1"/>
          </p:cNvGraphicFramePr>
          <p:nvPr/>
        </p:nvGraphicFramePr>
        <p:xfrm>
          <a:off x="9315208" y="2771796"/>
          <a:ext cx="1877022" cy="1726816"/>
        </p:xfrm>
        <a:graphic>
          <a:graphicData uri="http://schemas.openxmlformats.org/drawingml/2006/table">
            <a:tbl>
              <a:tblPr firstRow="1" bandRow="1">
                <a:tableStyleId>{5C22544A-7EE6-4342-B048-85BDC9FD1C3A}</a:tableStyleId>
              </a:tblPr>
              <a:tblGrid>
                <a:gridCol w="625674">
                  <a:extLst>
                    <a:ext uri="{9D8B030D-6E8A-4147-A177-3AD203B41FA5}">
                      <a16:colId xmlns:a16="http://schemas.microsoft.com/office/drawing/2014/main" val="1006749203"/>
                    </a:ext>
                  </a:extLst>
                </a:gridCol>
                <a:gridCol w="625674">
                  <a:extLst>
                    <a:ext uri="{9D8B030D-6E8A-4147-A177-3AD203B41FA5}">
                      <a16:colId xmlns:a16="http://schemas.microsoft.com/office/drawing/2014/main" val="295922100"/>
                    </a:ext>
                  </a:extLst>
                </a:gridCol>
                <a:gridCol w="625674">
                  <a:extLst>
                    <a:ext uri="{9D8B030D-6E8A-4147-A177-3AD203B41FA5}">
                      <a16:colId xmlns:a16="http://schemas.microsoft.com/office/drawing/2014/main" val="3671616825"/>
                    </a:ext>
                  </a:extLst>
                </a:gridCol>
              </a:tblGrid>
              <a:tr h="264583">
                <a:tc>
                  <a:txBody>
                    <a:bodyPr/>
                    <a:lstStyle/>
                    <a:p>
                      <a:pPr algn="ctr"/>
                      <a:r>
                        <a:rPr lang="en-US" sz="1000">
                          <a:solidFill>
                            <a:schemeClr val="bg1"/>
                          </a:solidFill>
                        </a:rPr>
                        <a:t>Rank</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000">
                          <a:solidFill>
                            <a:schemeClr val="bg1"/>
                          </a:solidFill>
                        </a:rPr>
                        <a:t>Model</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000">
                          <a:solidFill>
                            <a:schemeClr val="bg1"/>
                          </a:solidFill>
                        </a:rPr>
                        <a:t>Score</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906599760"/>
                  </a:ext>
                </a:extLst>
              </a:tr>
              <a:tr h="487411">
                <a:tc>
                  <a:txBody>
                    <a:bodyPr/>
                    <a:lstStyle/>
                    <a:p>
                      <a:pPr algn="ctr"/>
                      <a:r>
                        <a:rPr lang="en-US" sz="1400" b="1">
                          <a:solidFill>
                            <a:schemeClr val="tx2"/>
                          </a:solidFill>
                        </a:rPr>
                        <a:t>1</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280160" rtl="0" eaLnBrk="1" latinLnBrk="0" hangingPunct="1"/>
                      <a:endParaRPr lang="en-US" sz="1400" b="1" kern="1200">
                        <a:solidFill>
                          <a:schemeClr val="tx2"/>
                        </a:solidFill>
                        <a:latin typeface="+mn-lt"/>
                        <a:ea typeface="+mn-ea"/>
                        <a:cs typeface="+mn-cs"/>
                      </a:endParaRP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a:solidFill>
                            <a:schemeClr val="tx2"/>
                          </a:solidFill>
                        </a:rPr>
                        <a:t>95%</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9041889"/>
                  </a:ext>
                </a:extLst>
              </a:tr>
              <a:tr h="487411">
                <a:tc>
                  <a:txBody>
                    <a:bodyPr/>
                    <a:lstStyle/>
                    <a:p>
                      <a:pPr algn="ctr"/>
                      <a:r>
                        <a:rPr lang="en-US" sz="1400" b="1">
                          <a:solidFill>
                            <a:schemeClr val="bg1">
                              <a:lumMod val="50000"/>
                            </a:schemeClr>
                          </a:solidFill>
                        </a:rPr>
                        <a:t>2</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1">
                        <a:solidFill>
                          <a:schemeClr val="bg1">
                            <a:lumMod val="50000"/>
                          </a:schemeClr>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1">
                          <a:solidFill>
                            <a:schemeClr val="bg1">
                              <a:lumMod val="50000"/>
                            </a:schemeClr>
                          </a:solidFill>
                        </a:rPr>
                        <a:t>76%</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26680576"/>
                  </a:ext>
                </a:extLst>
              </a:tr>
              <a:tr h="487411">
                <a:tc>
                  <a:txBody>
                    <a:bodyPr/>
                    <a:lstStyle/>
                    <a:p>
                      <a:pPr algn="ctr"/>
                      <a:r>
                        <a:rPr lang="en-US" sz="1400" b="1">
                          <a:solidFill>
                            <a:schemeClr val="bg1">
                              <a:lumMod val="50000"/>
                            </a:schemeClr>
                          </a:solidFill>
                        </a:rPr>
                        <a:t>3</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1">
                        <a:solidFill>
                          <a:schemeClr val="bg1">
                            <a:lumMod val="50000"/>
                          </a:schemeClr>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1">
                          <a:solidFill>
                            <a:schemeClr val="bg1">
                              <a:lumMod val="50000"/>
                            </a:schemeClr>
                          </a:solidFill>
                        </a:rPr>
                        <a:t>53%</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8189788"/>
                  </a:ext>
                </a:extLst>
              </a:tr>
            </a:tbl>
          </a:graphicData>
        </a:graphic>
      </p:graphicFrame>
      <p:sp>
        <p:nvSpPr>
          <p:cNvPr id="88" name="Rectangle 87">
            <a:extLst>
              <a:ext uri="{FF2B5EF4-FFF2-40B4-BE49-F238E27FC236}">
                <a16:creationId xmlns:a16="http://schemas.microsoft.com/office/drawing/2014/main" id="{661A2CE0-16AE-4468-8446-A49FB2CE6A4A}"/>
              </a:ext>
            </a:extLst>
          </p:cNvPr>
          <p:cNvSpPr/>
          <p:nvPr/>
        </p:nvSpPr>
        <p:spPr>
          <a:xfrm>
            <a:off x="7466471" y="3446576"/>
            <a:ext cx="424275" cy="428625"/>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89" name="Straight Arrow Connector 88">
            <a:extLst>
              <a:ext uri="{FF2B5EF4-FFF2-40B4-BE49-F238E27FC236}">
                <a16:creationId xmlns:a16="http://schemas.microsoft.com/office/drawing/2014/main" id="{7A35423B-3216-4504-BEFA-FC9DC69A76C8}"/>
              </a:ext>
            </a:extLst>
          </p:cNvPr>
          <p:cNvCxnSpPr>
            <a:cxnSpLocks/>
          </p:cNvCxnSpPr>
          <p:nvPr/>
        </p:nvCxnSpPr>
        <p:spPr>
          <a:xfrm>
            <a:off x="7929574" y="3642837"/>
            <a:ext cx="1394848" cy="0"/>
          </a:xfrm>
          <a:prstGeom prst="straightConnector1">
            <a:avLst/>
          </a:prstGeom>
          <a:ln w="41275" cap="rnd">
            <a:solidFill>
              <a:schemeClr val="tx2"/>
            </a:solidFill>
            <a:prstDash val="solid"/>
            <a:round/>
            <a:tailEnd type="arrow" w="med" len="sm"/>
          </a:ln>
        </p:spPr>
        <p:style>
          <a:lnRef idx="1">
            <a:schemeClr val="accent1"/>
          </a:lnRef>
          <a:fillRef idx="0">
            <a:schemeClr val="accent1"/>
          </a:fillRef>
          <a:effectRef idx="0">
            <a:schemeClr val="accent1"/>
          </a:effectRef>
          <a:fontRef idx="minor">
            <a:schemeClr val="tx1"/>
          </a:fontRef>
        </p:style>
      </p:cxnSp>
      <p:sp>
        <p:nvSpPr>
          <p:cNvPr id="90" name="Rectangle: Rounded Corners 89">
            <a:extLst>
              <a:ext uri="{FF2B5EF4-FFF2-40B4-BE49-F238E27FC236}">
                <a16:creationId xmlns:a16="http://schemas.microsoft.com/office/drawing/2014/main" id="{E0CCDFB5-D897-4C14-9246-175482581FA3}"/>
              </a:ext>
            </a:extLst>
          </p:cNvPr>
          <p:cNvSpPr/>
          <p:nvPr/>
        </p:nvSpPr>
        <p:spPr>
          <a:xfrm>
            <a:off x="9315382" y="3030281"/>
            <a:ext cx="1876425" cy="490814"/>
          </a:xfrm>
          <a:prstGeom prst="roundRect">
            <a:avLst>
              <a:gd name="adj" fmla="val 0"/>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Beaker_F196" title="Icon of a scientific flask with liquid in it">
            <a:extLst>
              <a:ext uri="{FF2B5EF4-FFF2-40B4-BE49-F238E27FC236}">
                <a16:creationId xmlns:a16="http://schemas.microsoft.com/office/drawing/2014/main" id="{78EFCE3E-69A6-4849-BAA3-E6AA2F36B94E}"/>
              </a:ext>
            </a:extLst>
          </p:cNvPr>
          <p:cNvSpPr>
            <a:spLocks noChangeAspect="1" noEditPoints="1"/>
          </p:cNvSpPr>
          <p:nvPr/>
        </p:nvSpPr>
        <p:spPr bwMode="auto">
          <a:xfrm>
            <a:off x="10150253" y="3142825"/>
            <a:ext cx="228491" cy="264007"/>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 name="Beaker_F196" title="Icon of a scientific flask with liquid in it">
            <a:extLst>
              <a:ext uri="{FF2B5EF4-FFF2-40B4-BE49-F238E27FC236}">
                <a16:creationId xmlns:a16="http://schemas.microsoft.com/office/drawing/2014/main" id="{29DEDC56-6CDD-4531-A61F-0C42109EC6C4}"/>
              </a:ext>
            </a:extLst>
          </p:cNvPr>
          <p:cNvSpPr>
            <a:spLocks noChangeAspect="1" noEditPoints="1"/>
          </p:cNvSpPr>
          <p:nvPr/>
        </p:nvSpPr>
        <p:spPr bwMode="auto">
          <a:xfrm>
            <a:off x="10150253" y="3630505"/>
            <a:ext cx="228491" cy="264007"/>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5875"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 name="Beaker_F196" title="Icon of a scientific flask with liquid in it">
            <a:extLst>
              <a:ext uri="{FF2B5EF4-FFF2-40B4-BE49-F238E27FC236}">
                <a16:creationId xmlns:a16="http://schemas.microsoft.com/office/drawing/2014/main" id="{617D9BE7-A8DC-4BCC-940A-52DCABD20D6A}"/>
              </a:ext>
            </a:extLst>
          </p:cNvPr>
          <p:cNvSpPr>
            <a:spLocks noChangeAspect="1" noEditPoints="1"/>
          </p:cNvSpPr>
          <p:nvPr/>
        </p:nvSpPr>
        <p:spPr bwMode="auto">
          <a:xfrm>
            <a:off x="10150253" y="4118185"/>
            <a:ext cx="228491" cy="264007"/>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5875"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95" name="Group 94">
            <a:extLst>
              <a:ext uri="{FF2B5EF4-FFF2-40B4-BE49-F238E27FC236}">
                <a16:creationId xmlns:a16="http://schemas.microsoft.com/office/drawing/2014/main" id="{280CF684-B7C3-42BB-8258-15C2FE8A6338}"/>
              </a:ext>
            </a:extLst>
          </p:cNvPr>
          <p:cNvGrpSpPr/>
          <p:nvPr/>
        </p:nvGrpSpPr>
        <p:grpSpPr>
          <a:xfrm>
            <a:off x="885507" y="2252762"/>
            <a:ext cx="257251" cy="305811"/>
            <a:chOff x="4716096" y="4323997"/>
            <a:chExt cx="430334" cy="511566"/>
          </a:xfrm>
          <a:solidFill>
            <a:schemeClr val="tx1"/>
          </a:solidFill>
        </p:grpSpPr>
        <p:sp>
          <p:nvSpPr>
            <p:cNvPr id="96" name="Oval 34">
              <a:extLst>
                <a:ext uri="{FF2B5EF4-FFF2-40B4-BE49-F238E27FC236}">
                  <a16:creationId xmlns:a16="http://schemas.microsoft.com/office/drawing/2014/main" id="{A0BF1E8A-B376-45AE-8266-BE740C2EB6F9}"/>
                </a:ext>
              </a:extLst>
            </p:cNvPr>
            <p:cNvSpPr>
              <a:spLocks noChangeArrowheads="1"/>
            </p:cNvSpPr>
            <p:nvPr/>
          </p:nvSpPr>
          <p:spPr bwMode="auto">
            <a:xfrm>
              <a:off x="4812234" y="4323997"/>
              <a:ext cx="240347" cy="240347"/>
            </a:xfrm>
            <a:prstGeom prst="ellipse">
              <a:avLst/>
            </a:prstGeom>
            <a:grpFill/>
            <a:ln w="444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 name="Freeform 37">
              <a:extLst>
                <a:ext uri="{FF2B5EF4-FFF2-40B4-BE49-F238E27FC236}">
                  <a16:creationId xmlns:a16="http://schemas.microsoft.com/office/drawing/2014/main" id="{3B3B099B-75C2-4DCB-9249-773298DBB532}"/>
                </a:ext>
              </a:extLst>
            </p:cNvPr>
            <p:cNvSpPr>
              <a:spLocks/>
            </p:cNvSpPr>
            <p:nvPr/>
          </p:nvSpPr>
          <p:spPr bwMode="auto">
            <a:xfrm>
              <a:off x="4716096" y="4595216"/>
              <a:ext cx="430334" cy="240347"/>
            </a:xfrm>
            <a:custGeom>
              <a:avLst/>
              <a:gdLst>
                <a:gd name="T0" fmla="*/ 342 w 683"/>
                <a:gd name="T1" fmla="*/ 0 h 384"/>
                <a:gd name="T2" fmla="*/ 342 w 683"/>
                <a:gd name="T3" fmla="*/ 0 h 384"/>
                <a:gd name="T4" fmla="*/ 683 w 683"/>
                <a:gd name="T5" fmla="*/ 341 h 384"/>
                <a:gd name="T6" fmla="*/ 683 w 683"/>
                <a:gd name="T7" fmla="*/ 384 h 384"/>
                <a:gd name="T8" fmla="*/ 0 w 683"/>
                <a:gd name="T9" fmla="*/ 384 h 384"/>
                <a:gd name="T10" fmla="*/ 0 w 683"/>
                <a:gd name="T11" fmla="*/ 341 h 384"/>
                <a:gd name="T12" fmla="*/ 342 w 683"/>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683" h="384">
                  <a:moveTo>
                    <a:pt x="342" y="0"/>
                  </a:moveTo>
                  <a:cubicBezTo>
                    <a:pt x="342" y="0"/>
                    <a:pt x="342" y="0"/>
                    <a:pt x="342" y="0"/>
                  </a:cubicBezTo>
                  <a:cubicBezTo>
                    <a:pt x="530" y="0"/>
                    <a:pt x="683" y="153"/>
                    <a:pt x="683" y="341"/>
                  </a:cubicBezTo>
                  <a:cubicBezTo>
                    <a:pt x="683" y="384"/>
                    <a:pt x="683" y="384"/>
                    <a:pt x="683" y="384"/>
                  </a:cubicBezTo>
                  <a:cubicBezTo>
                    <a:pt x="0" y="384"/>
                    <a:pt x="0" y="384"/>
                    <a:pt x="0" y="384"/>
                  </a:cubicBezTo>
                  <a:cubicBezTo>
                    <a:pt x="0" y="341"/>
                    <a:pt x="0" y="341"/>
                    <a:pt x="0" y="341"/>
                  </a:cubicBezTo>
                  <a:cubicBezTo>
                    <a:pt x="0" y="153"/>
                    <a:pt x="153" y="0"/>
                    <a:pt x="342" y="0"/>
                  </a:cubicBezTo>
                  <a:close/>
                </a:path>
              </a:pathLst>
            </a:custGeom>
            <a:grpFill/>
            <a:ln w="444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pic>
        <p:nvPicPr>
          <p:cNvPr id="113" name="Graphic 112" descr="Add">
            <a:extLst>
              <a:ext uri="{FF2B5EF4-FFF2-40B4-BE49-F238E27FC236}">
                <a16:creationId xmlns:a16="http://schemas.microsoft.com/office/drawing/2014/main" id="{A3E035B7-CBAC-4587-B53A-7AD43DC7ABA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53416" y="2283856"/>
            <a:ext cx="326044" cy="326044"/>
          </a:xfrm>
          <a:prstGeom prst="rect">
            <a:avLst/>
          </a:prstGeom>
        </p:spPr>
      </p:pic>
      <p:sp>
        <p:nvSpPr>
          <p:cNvPr id="114" name="TextBox 113">
            <a:extLst>
              <a:ext uri="{FF2B5EF4-FFF2-40B4-BE49-F238E27FC236}">
                <a16:creationId xmlns:a16="http://schemas.microsoft.com/office/drawing/2014/main" id="{A3752D4F-2809-4B90-A36F-CF5E63510485}"/>
              </a:ext>
            </a:extLst>
          </p:cNvPr>
          <p:cNvSpPr txBox="1"/>
          <p:nvPr/>
        </p:nvSpPr>
        <p:spPr>
          <a:xfrm>
            <a:off x="6909378" y="3194017"/>
            <a:ext cx="670696" cy="7386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solidFill>
                  <a:srgbClr val="FFFFFF">
                    <a:lumMod val="50000"/>
                  </a:srgbClr>
                </a:solidFill>
                <a:effectLst/>
                <a:uLnTx/>
                <a:uFillTx/>
                <a:latin typeface="Segoe UI"/>
                <a:ea typeface="+mn-ea"/>
                <a:cs typeface="+mn-cs"/>
              </a:rPr>
              <a:t>…</a:t>
            </a:r>
          </a:p>
        </p:txBody>
      </p:sp>
      <p:sp>
        <p:nvSpPr>
          <p:cNvPr id="115" name="Rectangle: Rounded Corners 114">
            <a:extLst>
              <a:ext uri="{FF2B5EF4-FFF2-40B4-BE49-F238E27FC236}">
                <a16:creationId xmlns:a16="http://schemas.microsoft.com/office/drawing/2014/main" id="{0EF7F7A4-E172-4924-A5FB-ED202AD1611A}"/>
              </a:ext>
            </a:extLst>
          </p:cNvPr>
          <p:cNvSpPr/>
          <p:nvPr/>
        </p:nvSpPr>
        <p:spPr>
          <a:xfrm>
            <a:off x="513946" y="2771796"/>
            <a:ext cx="2229254" cy="1704520"/>
          </a:xfrm>
          <a:prstGeom prst="roundRect">
            <a:avLst>
              <a:gd name="adj" fmla="val 0"/>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41360690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79B3A2-E18C-433D-ACFB-88639790DA22}"/>
              </a:ext>
            </a:extLst>
          </p:cNvPr>
          <p:cNvSpPr>
            <a:spLocks noGrp="1"/>
          </p:cNvSpPr>
          <p:nvPr>
            <p:ph type="title"/>
          </p:nvPr>
        </p:nvSpPr>
        <p:spPr>
          <a:xfrm>
            <a:off x="838200" y="365126"/>
            <a:ext cx="10515600" cy="893152"/>
          </a:xfrm>
        </p:spPr>
        <p:txBody>
          <a:bodyPr vert="horz" lIns="91440" tIns="45720" rIns="91440" bIns="45720" rtlCol="0" anchor="ctr">
            <a:normAutofit/>
          </a:bodyPr>
          <a:lstStyle/>
          <a:p>
            <a:pPr lvl="0">
              <a:lnSpc>
                <a:spcPct val="100000"/>
              </a:lnSpc>
              <a:spcBef>
                <a:spcPts val="0"/>
              </a:spcBef>
            </a:pPr>
            <a:r>
              <a:rPr lang="en-US" sz="4400" dirty="0">
                <a:solidFill>
                  <a:prstClr val="black"/>
                </a:solidFill>
                <a:latin typeface="Segoe UI Light" panose="020B0502040204020203" pitchFamily="34" charset="0"/>
                <a:ea typeface="+mn-ea"/>
                <a:cs typeface="Segoe UI Light" panose="020B0502040204020203" pitchFamily="34" charset="0"/>
              </a:rPr>
              <a:t>Automated Machine Learning Capabilities</a:t>
            </a:r>
            <a:endParaRPr lang="en-US" sz="3600" dirty="0"/>
          </a:p>
        </p:txBody>
      </p:sp>
      <p:sp>
        <p:nvSpPr>
          <p:cNvPr id="4" name="Text Placeholder 3">
            <a:extLst>
              <a:ext uri="{FF2B5EF4-FFF2-40B4-BE49-F238E27FC236}">
                <a16:creationId xmlns:a16="http://schemas.microsoft.com/office/drawing/2014/main" id="{6364D22D-A0C3-4545-AFE1-FBD20C6FFBBC}"/>
              </a:ext>
            </a:extLst>
          </p:cNvPr>
          <p:cNvSpPr>
            <a:spLocks noGrp="1"/>
          </p:cNvSpPr>
          <p:nvPr>
            <p:ph type="body" sz="half" idx="2"/>
          </p:nvPr>
        </p:nvSpPr>
        <p:spPr>
          <a:xfrm>
            <a:off x="838200" y="2102185"/>
            <a:ext cx="5881228" cy="4351338"/>
          </a:xfrm>
        </p:spPr>
        <p:txBody>
          <a:bodyPr vert="horz" lIns="91440" tIns="45720" rIns="91440" bIns="45720" rtlCol="0">
            <a:normAutofit/>
          </a:bodyPr>
          <a:lstStyle/>
          <a:p>
            <a:r>
              <a:rPr lang="en-US" sz="2000" dirty="0">
                <a:latin typeface="Segoe UI Light" panose="020B0502040204020203" pitchFamily="34" charset="0"/>
                <a:cs typeface="Segoe UI Light" panose="020B0502040204020203" pitchFamily="34" charset="0"/>
              </a:rPr>
              <a:t>Based on Microsoft Research</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Brain trained with several million experiments</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Personalized recommendation approach: </a:t>
            </a:r>
          </a:p>
          <a:p>
            <a:pPr lvl="1"/>
            <a:r>
              <a:rPr lang="en-US" sz="1800" dirty="0">
                <a:latin typeface="Segoe UI Light" panose="020B0502040204020203" pitchFamily="34" charset="0"/>
                <a:cs typeface="Segoe UI Light" panose="020B0502040204020203" pitchFamily="34" charset="0"/>
              </a:rPr>
              <a:t>Collaborative filtering and Bayesian optimization</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Privacy preserving: No need to “see” the data</a:t>
            </a:r>
          </a:p>
        </p:txBody>
      </p:sp>
      <p:pic>
        <p:nvPicPr>
          <p:cNvPr id="6" name="Picture 5" descr="A picture containing screenshot&#10;&#10;Description generated with very high confidence">
            <a:extLst>
              <a:ext uri="{FF2B5EF4-FFF2-40B4-BE49-F238E27FC236}">
                <a16:creationId xmlns:a16="http://schemas.microsoft.com/office/drawing/2014/main" id="{05CDA4D0-60DF-42B9-ADBB-905718665449}"/>
              </a:ext>
            </a:extLst>
          </p:cNvPr>
          <p:cNvPicPr>
            <a:picLocks noChangeAspect="1"/>
          </p:cNvPicPr>
          <p:nvPr/>
        </p:nvPicPr>
        <p:blipFill>
          <a:blip r:embed="rId4">
            <a:extLst>
              <a:ext uri="{BEBA8EAE-BF5A-486C-A8C5-ECC9F3942E4B}">
                <a14:imgProps xmlns:a14="http://schemas.microsoft.com/office/drawing/2010/main">
                  <a14:imgLayer r:embed="rId5">
                    <a14:imgEffect>
                      <a14:colorTemperature colorTemp="5300"/>
                    </a14:imgEffect>
                    <a14:imgEffect>
                      <a14:saturation sat="200000"/>
                    </a14:imgEffect>
                  </a14:imgLayer>
                </a14:imgProps>
              </a:ext>
            </a:extLst>
          </a:blip>
          <a:stretch>
            <a:fillRect/>
          </a:stretch>
        </p:blipFill>
        <p:spPr>
          <a:xfrm>
            <a:off x="6729053" y="2032605"/>
            <a:ext cx="4491892" cy="2695565"/>
          </a:xfrm>
          <a:prstGeom prst="rect">
            <a:avLst/>
          </a:prstGeom>
        </p:spPr>
      </p:pic>
      <p:grpSp>
        <p:nvGrpSpPr>
          <p:cNvPr id="14" name="Group 13">
            <a:extLst>
              <a:ext uri="{FF2B5EF4-FFF2-40B4-BE49-F238E27FC236}">
                <a16:creationId xmlns:a16="http://schemas.microsoft.com/office/drawing/2014/main" id="{C95CCD3D-35C8-47E0-8202-91F9BAFABE37}"/>
              </a:ext>
            </a:extLst>
          </p:cNvPr>
          <p:cNvGrpSpPr/>
          <p:nvPr/>
        </p:nvGrpSpPr>
        <p:grpSpPr>
          <a:xfrm>
            <a:off x="8353677" y="5226257"/>
            <a:ext cx="1242645" cy="1102579"/>
            <a:chOff x="-7814" y="5251329"/>
            <a:chExt cx="1242645" cy="1102579"/>
          </a:xfrm>
        </p:grpSpPr>
        <p:sp>
          <p:nvSpPr>
            <p:cNvPr id="11" name="Rectangle 10">
              <a:extLst>
                <a:ext uri="{FF2B5EF4-FFF2-40B4-BE49-F238E27FC236}">
                  <a16:creationId xmlns:a16="http://schemas.microsoft.com/office/drawing/2014/main" id="{2B70EA89-134C-48F2-B168-34C3EBE62C1A}"/>
                </a:ext>
              </a:extLst>
            </p:cNvPr>
            <p:cNvSpPr/>
            <p:nvPr/>
          </p:nvSpPr>
          <p:spPr>
            <a:xfrm>
              <a:off x="-7814" y="5251329"/>
              <a:ext cx="1242645" cy="110257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Regression</a:t>
              </a:r>
            </a:p>
          </p:txBody>
        </p:sp>
        <p:pic>
          <p:nvPicPr>
            <p:cNvPr id="5" name="Graphic 4" descr="Statistics">
              <a:extLst>
                <a:ext uri="{FF2B5EF4-FFF2-40B4-BE49-F238E27FC236}">
                  <a16:creationId xmlns:a16="http://schemas.microsoft.com/office/drawing/2014/main" id="{0FF89A28-5136-41FC-8FD9-7CA5148FD7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47748" y="5251329"/>
              <a:ext cx="731520" cy="731520"/>
            </a:xfrm>
            <a:prstGeom prst="rect">
              <a:avLst/>
            </a:prstGeom>
          </p:spPr>
        </p:pic>
      </p:grpSp>
      <p:grpSp>
        <p:nvGrpSpPr>
          <p:cNvPr id="15" name="Group 14">
            <a:extLst>
              <a:ext uri="{FF2B5EF4-FFF2-40B4-BE49-F238E27FC236}">
                <a16:creationId xmlns:a16="http://schemas.microsoft.com/office/drawing/2014/main" id="{2AECE92E-B3A7-4F70-B095-41C6344F4578}"/>
              </a:ext>
            </a:extLst>
          </p:cNvPr>
          <p:cNvGrpSpPr/>
          <p:nvPr/>
        </p:nvGrpSpPr>
        <p:grpSpPr>
          <a:xfrm>
            <a:off x="6729053" y="5226257"/>
            <a:ext cx="1242645" cy="1102580"/>
            <a:chOff x="1712200" y="5242087"/>
            <a:chExt cx="1242645" cy="1102580"/>
          </a:xfrm>
        </p:grpSpPr>
        <p:sp>
          <p:nvSpPr>
            <p:cNvPr id="12" name="Rectangle 11">
              <a:extLst>
                <a:ext uri="{FF2B5EF4-FFF2-40B4-BE49-F238E27FC236}">
                  <a16:creationId xmlns:a16="http://schemas.microsoft.com/office/drawing/2014/main" id="{B1F0DAFD-623C-44AF-97BC-EE9F77992822}"/>
                </a:ext>
              </a:extLst>
            </p:cNvPr>
            <p:cNvSpPr/>
            <p:nvPr/>
          </p:nvSpPr>
          <p:spPr>
            <a:xfrm>
              <a:off x="1712200" y="5242088"/>
              <a:ext cx="1242645" cy="110257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Classification</a:t>
              </a:r>
            </a:p>
          </p:txBody>
        </p:sp>
        <p:pic>
          <p:nvPicPr>
            <p:cNvPr id="8" name="Graphic 7" descr="Hierarchy">
              <a:extLst>
                <a:ext uri="{FF2B5EF4-FFF2-40B4-BE49-F238E27FC236}">
                  <a16:creationId xmlns:a16="http://schemas.microsoft.com/office/drawing/2014/main" id="{3BFFF626-3625-45F6-A488-4FD8E20BA7D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967762" y="5242087"/>
              <a:ext cx="731520" cy="731520"/>
            </a:xfrm>
            <a:prstGeom prst="rect">
              <a:avLst/>
            </a:prstGeom>
          </p:spPr>
        </p:pic>
      </p:grpSp>
      <p:grpSp>
        <p:nvGrpSpPr>
          <p:cNvPr id="16" name="Group 15">
            <a:extLst>
              <a:ext uri="{FF2B5EF4-FFF2-40B4-BE49-F238E27FC236}">
                <a16:creationId xmlns:a16="http://schemas.microsoft.com/office/drawing/2014/main" id="{4977B02B-7D4E-4D04-B1C4-06A8C42BE1E9}"/>
              </a:ext>
            </a:extLst>
          </p:cNvPr>
          <p:cNvGrpSpPr/>
          <p:nvPr/>
        </p:nvGrpSpPr>
        <p:grpSpPr>
          <a:xfrm>
            <a:off x="9978300" y="5226257"/>
            <a:ext cx="1242645" cy="1102579"/>
            <a:chOff x="2868280" y="5251329"/>
            <a:chExt cx="1242645" cy="1102579"/>
          </a:xfrm>
        </p:grpSpPr>
        <p:sp>
          <p:nvSpPr>
            <p:cNvPr id="13" name="Rectangle 12">
              <a:extLst>
                <a:ext uri="{FF2B5EF4-FFF2-40B4-BE49-F238E27FC236}">
                  <a16:creationId xmlns:a16="http://schemas.microsoft.com/office/drawing/2014/main" id="{7BEDF0FA-0AB5-4BFA-A3F7-AEDC5B7D954E}"/>
                </a:ext>
              </a:extLst>
            </p:cNvPr>
            <p:cNvSpPr/>
            <p:nvPr/>
          </p:nvSpPr>
          <p:spPr>
            <a:xfrm>
              <a:off x="2868280" y="5251329"/>
              <a:ext cx="1242645" cy="110257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Time Series Forecasting</a:t>
              </a:r>
            </a:p>
          </p:txBody>
        </p:sp>
        <p:pic>
          <p:nvPicPr>
            <p:cNvPr id="10" name="Graphic 9" descr="Research">
              <a:extLst>
                <a:ext uri="{FF2B5EF4-FFF2-40B4-BE49-F238E27FC236}">
                  <a16:creationId xmlns:a16="http://schemas.microsoft.com/office/drawing/2014/main" id="{ABFA47F2-FC30-468E-9DAB-DF8C9F175DA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842" y="5251329"/>
              <a:ext cx="731520" cy="731520"/>
            </a:xfrm>
            <a:prstGeom prst="rect">
              <a:avLst/>
            </a:prstGeom>
          </p:spPr>
        </p:pic>
      </p:grpSp>
      <p:sp>
        <p:nvSpPr>
          <p:cNvPr id="3" name="TextBox 2">
            <a:extLst>
              <a:ext uri="{FF2B5EF4-FFF2-40B4-BE49-F238E27FC236}">
                <a16:creationId xmlns:a16="http://schemas.microsoft.com/office/drawing/2014/main" id="{B70339CB-C975-4A61-8FD9-49504189B0AC}"/>
              </a:ext>
            </a:extLst>
          </p:cNvPr>
          <p:cNvSpPr txBox="1"/>
          <p:nvPr/>
        </p:nvSpPr>
        <p:spPr>
          <a:xfrm>
            <a:off x="6719428" y="4815508"/>
            <a:ext cx="450151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OCR A Extended" panose="02010509020102010303" pitchFamily="50" charset="0"/>
                <a:ea typeface="+mn-ea"/>
                <a:cs typeface="+mn-cs"/>
              </a:rPr>
              <a:t>Supervised Learning</a:t>
            </a:r>
          </a:p>
        </p:txBody>
      </p:sp>
    </p:spTree>
    <p:custDataLst>
      <p:tags r:id="rId1"/>
    </p:custDataLst>
    <p:extLst>
      <p:ext uri="{BB962C8B-B14F-4D97-AF65-F5344CB8AC3E}">
        <p14:creationId xmlns:p14="http://schemas.microsoft.com/office/powerpoint/2010/main" val="260150316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79B3A2-E18C-433D-ACFB-88639790DA22}"/>
              </a:ext>
            </a:extLst>
          </p:cNvPr>
          <p:cNvSpPr>
            <a:spLocks noGrp="1"/>
          </p:cNvSpPr>
          <p:nvPr>
            <p:ph type="title"/>
          </p:nvPr>
        </p:nvSpPr>
        <p:spPr>
          <a:xfrm>
            <a:off x="838200" y="365125"/>
            <a:ext cx="10515600" cy="1325563"/>
          </a:xfrm>
        </p:spPr>
        <p:txBody>
          <a:bodyPr vert="horz" lIns="91440" tIns="45720" rIns="91440" bIns="45720" rtlCol="0" anchor="ctr">
            <a:normAutofit fontScale="90000"/>
          </a:bodyPr>
          <a:lstStyle/>
          <a:p>
            <a:pPr lvl="0">
              <a:lnSpc>
                <a:spcPct val="100000"/>
              </a:lnSpc>
              <a:spcBef>
                <a:spcPts val="0"/>
              </a:spcBef>
            </a:pPr>
            <a:r>
              <a:rPr lang="en-US" sz="4900">
                <a:solidFill>
                  <a:prstClr val="black"/>
                </a:solidFill>
                <a:latin typeface="Segoe UI Light" panose="020B0502040204020203" pitchFamily="34" charset="0"/>
                <a:ea typeface="+mn-ea"/>
                <a:cs typeface="Segoe UI Light" panose="020B0502040204020203" pitchFamily="34" charset="0"/>
              </a:rPr>
              <a:t>Automated ML Capabilities</a:t>
            </a:r>
            <a:br>
              <a:rPr lang="en-US" sz="4400">
                <a:solidFill>
                  <a:prstClr val="black"/>
                </a:solidFill>
                <a:latin typeface="Segoe UI Light" panose="020B0502040204020203" pitchFamily="34" charset="0"/>
                <a:ea typeface="+mn-ea"/>
                <a:cs typeface="Segoe UI Light" panose="020B0502040204020203" pitchFamily="34" charset="0"/>
              </a:rPr>
            </a:br>
            <a:endParaRPr lang="en-US" sz="4400"/>
          </a:p>
        </p:txBody>
      </p:sp>
      <p:sp>
        <p:nvSpPr>
          <p:cNvPr id="4" name="Text Placeholder 3">
            <a:extLst>
              <a:ext uri="{FF2B5EF4-FFF2-40B4-BE49-F238E27FC236}">
                <a16:creationId xmlns:a16="http://schemas.microsoft.com/office/drawing/2014/main" id="{6364D22D-A0C3-4545-AFE1-FBD20C6FFBBC}"/>
              </a:ext>
            </a:extLst>
          </p:cNvPr>
          <p:cNvSpPr>
            <a:spLocks noGrp="1"/>
          </p:cNvSpPr>
          <p:nvPr>
            <p:ph type="body" sz="half" idx="2"/>
          </p:nvPr>
        </p:nvSpPr>
        <p:spPr>
          <a:xfrm>
            <a:off x="751572" y="1446335"/>
            <a:ext cx="4004388" cy="5109915"/>
          </a:xfrm>
        </p:spPr>
        <p:txBody>
          <a:bodyPr vert="horz" lIns="91440" tIns="45720" rIns="91440" bIns="45720" rtlCol="0" anchor="t">
            <a:normAutofit/>
          </a:bodyPr>
          <a:lstStyle/>
          <a:p>
            <a:pPr marL="342900" indent="-342900">
              <a:buFont typeface="Arial" panose="020B0604020202020204" pitchFamily="34" charset="0"/>
              <a:buChar char="•"/>
            </a:pPr>
            <a:r>
              <a:rPr lang="en-US" sz="2000">
                <a:latin typeface="Segoe UI Light"/>
                <a:cs typeface="Segoe UI Light"/>
              </a:rPr>
              <a:t>ML Scenarios: Classification &amp; Regression, Forecasting</a:t>
            </a:r>
          </a:p>
          <a:p>
            <a:pPr marL="342900" indent="-342900">
              <a:buFont typeface="Arial" panose="020B0604020202020204" pitchFamily="34" charset="0"/>
              <a:buChar char="•"/>
            </a:pPr>
            <a:r>
              <a:rPr lang="en-US" sz="2000">
                <a:latin typeface="Segoe UI Light"/>
                <a:cs typeface="Segoe UI Light"/>
              </a:rPr>
              <a:t>Languages: Python SDK for deployment and hosting for inference – </a:t>
            </a:r>
            <a:r>
              <a:rPr lang="en-US" sz="2000" err="1">
                <a:latin typeface="Segoe UI Light"/>
                <a:cs typeface="Segoe UI Light"/>
              </a:rPr>
              <a:t>Jupyter</a:t>
            </a:r>
            <a:r>
              <a:rPr lang="en-US" sz="2000">
                <a:latin typeface="Segoe UI Light"/>
                <a:cs typeface="Segoe UI Light"/>
              </a:rPr>
              <a:t> notebooks</a:t>
            </a:r>
          </a:p>
          <a:p>
            <a:pPr marL="342900" indent="-342900">
              <a:buFont typeface="Arial" panose="020B0604020202020204" pitchFamily="34" charset="0"/>
              <a:buChar char="•"/>
            </a:pPr>
            <a:r>
              <a:rPr lang="en-US" sz="2000">
                <a:latin typeface="Segoe UI Light"/>
                <a:cs typeface="Segoe UI Light"/>
              </a:rPr>
              <a:t>Training Compute: Local Machine, AML Compute, Data Science Virtual Machine (DSVM), Azure Databricks*</a:t>
            </a:r>
          </a:p>
          <a:p>
            <a:pPr marL="342900" indent="-342900">
              <a:buFont typeface="Arial" panose="020B0604020202020204" pitchFamily="34" charset="0"/>
              <a:buChar char="•"/>
            </a:pPr>
            <a:r>
              <a:rPr lang="en-US" sz="2000">
                <a:latin typeface="Segoe UI Light"/>
                <a:cs typeface="Segoe UI Light"/>
              </a:rPr>
              <a:t>Transparency: View run history, model metrics, </a:t>
            </a:r>
            <a:r>
              <a:rPr lang="en-US" sz="2000" err="1">
                <a:latin typeface="Segoe UI Light"/>
                <a:cs typeface="Segoe UI Light"/>
              </a:rPr>
              <a:t>explainability</a:t>
            </a:r>
            <a:r>
              <a:rPr lang="en-US" sz="2000">
                <a:latin typeface="Segoe UI Light"/>
                <a:cs typeface="Segoe UI Light"/>
              </a:rPr>
              <a:t>*</a:t>
            </a:r>
          </a:p>
          <a:p>
            <a:pPr marL="342900" indent="-342900">
              <a:buFont typeface="Arial" panose="020B0604020202020204" pitchFamily="34" charset="0"/>
              <a:buChar char="•"/>
            </a:pPr>
            <a:r>
              <a:rPr lang="en-US" sz="2000">
                <a:latin typeface="Segoe UI Light"/>
                <a:cs typeface="Segoe UI Light"/>
              </a:rPr>
              <a:t>Scale: Faster model training using multiple cores and parallel experiments</a:t>
            </a:r>
          </a:p>
        </p:txBody>
      </p:sp>
      <p:pic>
        <p:nvPicPr>
          <p:cNvPr id="6" name="Picture 5" descr="A picture containing screenshot&#10;&#10;Description generated with very high confidence">
            <a:extLst>
              <a:ext uri="{FF2B5EF4-FFF2-40B4-BE49-F238E27FC236}">
                <a16:creationId xmlns:a16="http://schemas.microsoft.com/office/drawing/2014/main" id="{05CDA4D0-60DF-42B9-ADBB-90571866544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300"/>
                    </a14:imgEffect>
                    <a14:imgEffect>
                      <a14:saturation sat="200000"/>
                    </a14:imgEffect>
                  </a14:imgLayer>
                </a14:imgProps>
              </a:ext>
            </a:extLst>
          </a:blip>
          <a:stretch>
            <a:fillRect/>
          </a:stretch>
        </p:blipFill>
        <p:spPr>
          <a:xfrm>
            <a:off x="5024451" y="2102185"/>
            <a:ext cx="6329349" cy="3798217"/>
          </a:xfrm>
          <a:prstGeom prst="rect">
            <a:avLst/>
          </a:prstGeom>
        </p:spPr>
      </p:pic>
      <p:sp>
        <p:nvSpPr>
          <p:cNvPr id="3" name="Rectangle 2">
            <a:extLst>
              <a:ext uri="{FF2B5EF4-FFF2-40B4-BE49-F238E27FC236}">
                <a16:creationId xmlns:a16="http://schemas.microsoft.com/office/drawing/2014/main" id="{7AC6A310-AE6B-41FB-B5F4-F066AF8BDA04}"/>
              </a:ext>
            </a:extLst>
          </p:cNvPr>
          <p:cNvSpPr/>
          <p:nvPr/>
        </p:nvSpPr>
        <p:spPr>
          <a:xfrm>
            <a:off x="1033112" y="6279251"/>
            <a:ext cx="939809"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In Preview</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27350252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863028" y="1012004"/>
            <a:ext cx="3818301" cy="4795408"/>
          </a:xfrm>
        </p:spPr>
        <p:txBody>
          <a:bodyPr vert="horz" lIns="91440" tIns="45720" rIns="91440" bIns="45720" rtlCol="0" anchor="ctr">
            <a:normAutofit/>
          </a:bodyPr>
          <a:lstStyle/>
          <a:p>
            <a:r>
              <a:rPr lang="en-US" sz="4000" dirty="0"/>
              <a:t>Guardrails: Detection and auto-correction of data issues</a:t>
            </a:r>
          </a:p>
        </p:txBody>
      </p:sp>
      <p:graphicFrame>
        <p:nvGraphicFramePr>
          <p:cNvPr id="19" name="Text Placeholder 5">
            <a:extLst>
              <a:ext uri="{FF2B5EF4-FFF2-40B4-BE49-F238E27FC236}">
                <a16:creationId xmlns:a16="http://schemas.microsoft.com/office/drawing/2014/main" id="{BB1F78DD-8E5C-44CB-A624-3E8104804468}"/>
              </a:ext>
            </a:extLst>
          </p:cNvPr>
          <p:cNvGraphicFramePr>
            <a:graphicFrameLocks noGrp="1"/>
          </p:cNvGraphicFramePr>
          <p:nvPr>
            <p:ph sz="quarter" idx="10"/>
            <p:extLst>
              <p:ext uri="{D42A27DB-BD31-4B8C-83A1-F6EECF244321}">
                <p14:modId xmlns:p14="http://schemas.microsoft.com/office/powerpoint/2010/main" val="2147019669"/>
              </p:ext>
            </p:extLst>
          </p:nvPr>
        </p:nvGraphicFramePr>
        <p:xfrm>
          <a:off x="5194300" y="470924"/>
          <a:ext cx="6513604" cy="58854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69594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8D201-DE7F-495C-8627-12EC5D0ED883}"/>
              </a:ext>
            </a:extLst>
          </p:cNvPr>
          <p:cNvSpPr>
            <a:spLocks noGrp="1"/>
          </p:cNvSpPr>
          <p:nvPr>
            <p:ph type="title"/>
          </p:nvPr>
        </p:nvSpPr>
        <p:spPr>
          <a:xfrm>
            <a:off x="2370667" y="2187743"/>
            <a:ext cx="5293449" cy="2482515"/>
          </a:xfrm>
        </p:spPr>
        <p:txBody>
          <a:bodyPr vert="horz" lIns="91440" tIns="45720" rIns="91440" bIns="45720" rtlCol="0" anchor="ctr">
            <a:normAutofit/>
          </a:bodyPr>
          <a:lstStyle/>
          <a:p>
            <a:r>
              <a:rPr lang="en-US" sz="6000" kern="1200" dirty="0">
                <a:solidFill>
                  <a:schemeClr val="tx1"/>
                </a:solidFill>
                <a:latin typeface="+mj-lt"/>
                <a:ea typeface="+mj-ea"/>
                <a:cs typeface="+mj-cs"/>
                <a:hlinkClick r:id="rId2"/>
              </a:rPr>
              <a:t>Welcome Video</a:t>
            </a:r>
            <a:endParaRPr lang="en-US" sz="6000" kern="1200" dirty="0">
              <a:solidFill>
                <a:schemeClr val="tx1"/>
              </a:solidFill>
              <a:latin typeface="+mj-lt"/>
              <a:ea typeface="+mj-ea"/>
              <a:cs typeface="+mj-cs"/>
            </a:endParaRPr>
          </a:p>
        </p:txBody>
      </p:sp>
      <p:pic>
        <p:nvPicPr>
          <p:cNvPr id="22" name="Graphic 5" descr="Play">
            <a:extLst>
              <a:ext uri="{FF2B5EF4-FFF2-40B4-BE49-F238E27FC236}">
                <a16:creationId xmlns:a16="http://schemas.microsoft.com/office/drawing/2014/main" id="{D8C70D86-807D-43BB-9731-F233DD8FE1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8201" y="2743201"/>
            <a:ext cx="1371600" cy="1371600"/>
          </a:xfrm>
          <a:prstGeom prst="rect">
            <a:avLst/>
          </a:prstGeom>
        </p:spPr>
      </p:pic>
      <p:pic>
        <p:nvPicPr>
          <p:cNvPr id="23" name="Graphic 7">
            <a:extLst>
              <a:ext uri="{FF2B5EF4-FFF2-40B4-BE49-F238E27FC236}">
                <a16:creationId xmlns:a16="http://schemas.microsoft.com/office/drawing/2014/main" id="{55E8FC1F-B104-4E59-995E-DEEF7516CB8F}"/>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alphaModFix amt="15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41431" y="816337"/>
            <a:ext cx="5225327" cy="5225327"/>
          </a:xfrm>
          <a:prstGeom prst="rect">
            <a:avLst/>
          </a:prstGeom>
        </p:spPr>
      </p:pic>
    </p:spTree>
    <p:extLst>
      <p:ext uri="{BB962C8B-B14F-4D97-AF65-F5344CB8AC3E}">
        <p14:creationId xmlns:p14="http://schemas.microsoft.com/office/powerpoint/2010/main" val="19031773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5904D6E7-9D62-463E-B6D5-120321697D0C}"/>
              </a:ext>
            </a:extLst>
          </p:cNvPr>
          <p:cNvSpPr>
            <a:spLocks noGrp="1"/>
          </p:cNvSpPr>
          <p:nvPr>
            <p:ph type="title"/>
          </p:nvPr>
        </p:nvSpPr>
        <p:spPr>
          <a:xfrm>
            <a:off x="455995" y="525790"/>
            <a:ext cx="11306469" cy="425950"/>
          </a:xfrm>
        </p:spPr>
        <p:txBody>
          <a:bodyPr anchor="ctr"/>
          <a:lstStyle/>
          <a:p>
            <a:r>
              <a:rPr lang="en-US" sz="4400" dirty="0">
                <a:latin typeface="Segoe UI Light" panose="020B0502040204020203" pitchFamily="34" charset="0"/>
                <a:cs typeface="Segoe UI Light" panose="020B0502040204020203" pitchFamily="34" charset="0"/>
              </a:rPr>
              <a:t>Machine Learning for Everyone</a:t>
            </a:r>
          </a:p>
        </p:txBody>
      </p:sp>
      <p:sp>
        <p:nvSpPr>
          <p:cNvPr id="21" name="Footer Placeholder 20">
            <a:extLst>
              <a:ext uri="{FF2B5EF4-FFF2-40B4-BE49-F238E27FC236}">
                <a16:creationId xmlns:a16="http://schemas.microsoft.com/office/drawing/2014/main" id="{60621E73-AA06-46DF-B0E5-30C6EA0D7E2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graphicFrame>
        <p:nvGraphicFramePr>
          <p:cNvPr id="38" name="Diagram 37">
            <a:extLst>
              <a:ext uri="{FF2B5EF4-FFF2-40B4-BE49-F238E27FC236}">
                <a16:creationId xmlns:a16="http://schemas.microsoft.com/office/drawing/2014/main" id="{3EB4B5D5-6DC3-40A5-83D7-328F0E32FF93}"/>
              </a:ext>
            </a:extLst>
          </p:cNvPr>
          <p:cNvGraphicFramePr/>
          <p:nvPr/>
        </p:nvGraphicFramePr>
        <p:xfrm>
          <a:off x="1645026" y="1149823"/>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26" name="Picture 2" descr="Image result for jupyter logo">
            <a:extLst>
              <a:ext uri="{FF2B5EF4-FFF2-40B4-BE49-F238E27FC236}">
                <a16:creationId xmlns:a16="http://schemas.microsoft.com/office/drawing/2014/main" id="{84546989-38AE-4FEE-A820-84ACA8A94C3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45293" y="1192214"/>
            <a:ext cx="453150" cy="52565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python logo">
            <a:extLst>
              <a:ext uri="{FF2B5EF4-FFF2-40B4-BE49-F238E27FC236}">
                <a16:creationId xmlns:a16="http://schemas.microsoft.com/office/drawing/2014/main" id="{0649CFC8-4A53-4498-8545-874EBE80808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236868" y="3589176"/>
            <a:ext cx="1028903" cy="51445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power bi logo">
            <a:extLst>
              <a:ext uri="{FF2B5EF4-FFF2-40B4-BE49-F238E27FC236}">
                <a16:creationId xmlns:a16="http://schemas.microsoft.com/office/drawing/2014/main" id="{31A49C55-AA8C-4811-A7BA-92780C919F0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46805" y="5692344"/>
            <a:ext cx="838279" cy="90691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alteryx logo">
            <a:extLst>
              <a:ext uri="{FF2B5EF4-FFF2-40B4-BE49-F238E27FC236}">
                <a16:creationId xmlns:a16="http://schemas.microsoft.com/office/drawing/2014/main" id="{94641F6C-D553-4B7A-B17F-6AF0016E6D2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48735" y="6340118"/>
            <a:ext cx="894529" cy="27076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sql server logo">
            <a:extLst>
              <a:ext uri="{FF2B5EF4-FFF2-40B4-BE49-F238E27FC236}">
                <a16:creationId xmlns:a16="http://schemas.microsoft.com/office/drawing/2014/main" id="{604F67F0-7999-40BE-A3BC-08CA7427BC9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889425" y="5727072"/>
            <a:ext cx="894529" cy="723122"/>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visual studio logo">
            <a:extLst>
              <a:ext uri="{FF2B5EF4-FFF2-40B4-BE49-F238E27FC236}">
                <a16:creationId xmlns:a16="http://schemas.microsoft.com/office/drawing/2014/main" id="{9B134CA5-552A-494B-8912-7BCE74D070C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30552" b="33696"/>
          <a:stretch/>
        </p:blipFill>
        <p:spPr bwMode="auto">
          <a:xfrm>
            <a:off x="2029211" y="2500745"/>
            <a:ext cx="1236560" cy="442088"/>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ml.net logo">
            <a:extLst>
              <a:ext uri="{FF2B5EF4-FFF2-40B4-BE49-F238E27FC236}">
                <a16:creationId xmlns:a16="http://schemas.microsoft.com/office/drawing/2014/main" id="{F883EE94-12C7-4FF6-8835-6BFB251F262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675648" y="2244810"/>
            <a:ext cx="551793" cy="551793"/>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a:extLst>
              <a:ext uri="{FF2B5EF4-FFF2-40B4-BE49-F238E27FC236}">
                <a16:creationId xmlns:a16="http://schemas.microsoft.com/office/drawing/2014/main" id="{EBD32542-3E1F-4946-AC48-463D2C9AE54B}"/>
              </a:ext>
            </a:extLst>
          </p:cNvPr>
          <p:cNvGrpSpPr/>
          <p:nvPr/>
        </p:nvGrpSpPr>
        <p:grpSpPr>
          <a:xfrm>
            <a:off x="8309070" y="2294901"/>
            <a:ext cx="1302108" cy="1003405"/>
            <a:chOff x="1748520" y="3151828"/>
            <a:chExt cx="1302108" cy="1003405"/>
          </a:xfrm>
        </p:grpSpPr>
        <p:pic>
          <p:nvPicPr>
            <p:cNvPr id="1044" name="Picture 20" descr="Image result for browser icon">
              <a:extLst>
                <a:ext uri="{FF2B5EF4-FFF2-40B4-BE49-F238E27FC236}">
                  <a16:creationId xmlns:a16="http://schemas.microsoft.com/office/drawing/2014/main" id="{5A2EA678-8DB8-47DE-B8AF-82DBA565B2F8}"/>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24378" t="24822" r="24100" b="22184"/>
            <a:stretch/>
          </p:blipFill>
          <p:spPr bwMode="auto">
            <a:xfrm>
              <a:off x="1748520" y="3151828"/>
              <a:ext cx="1302108" cy="1003405"/>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E33810C7-A151-425E-A43D-4C8AD72EC2EF}"/>
                </a:ext>
              </a:extLst>
            </p:cNvPr>
            <p:cNvPicPr>
              <a:picLocks noChangeAspect="1"/>
            </p:cNvPicPr>
            <p:nvPr/>
          </p:nvPicPr>
          <p:blipFill>
            <a:blip r:embed="rId16"/>
            <a:stretch>
              <a:fillRect/>
            </a:stretch>
          </p:blipFill>
          <p:spPr>
            <a:xfrm>
              <a:off x="1954733" y="3486468"/>
              <a:ext cx="881183" cy="373639"/>
            </a:xfrm>
            <a:prstGeom prst="rect">
              <a:avLst/>
            </a:prstGeom>
          </p:spPr>
        </p:pic>
      </p:grpSp>
      <p:pic>
        <p:nvPicPr>
          <p:cNvPr id="51" name="Picture 50">
            <a:extLst>
              <a:ext uri="{FF2B5EF4-FFF2-40B4-BE49-F238E27FC236}">
                <a16:creationId xmlns:a16="http://schemas.microsoft.com/office/drawing/2014/main" id="{1D411CE9-3D54-4390-8D7C-51DC936DDC5C}"/>
              </a:ext>
            </a:extLst>
          </p:cNvPr>
          <p:cNvPicPr>
            <a:picLocks noChangeAspect="1"/>
          </p:cNvPicPr>
          <p:nvPr/>
        </p:nvPicPr>
        <p:blipFill>
          <a:blip r:embed="rId16"/>
          <a:stretch>
            <a:fillRect/>
          </a:stretch>
        </p:blipFill>
        <p:spPr>
          <a:xfrm>
            <a:off x="5924865" y="1975093"/>
            <a:ext cx="1239689" cy="525652"/>
          </a:xfrm>
          <a:prstGeom prst="rect">
            <a:avLst/>
          </a:prstGeom>
        </p:spPr>
      </p:pic>
    </p:spTree>
    <p:extLst>
      <p:ext uri="{BB962C8B-B14F-4D97-AF65-F5344CB8AC3E}">
        <p14:creationId xmlns:p14="http://schemas.microsoft.com/office/powerpoint/2010/main" val="37744459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38">
                                            <p:graphicEl>
                                              <a:dgm id="{2E84FF10-E862-4FDA-9FB0-CA7D42350DF5}"/>
                                            </p:graphicEl>
                                          </p:spTgt>
                                        </p:tgtEl>
                                        <p:attrNameLst>
                                          <p:attrName>style.visibility</p:attrName>
                                        </p:attrNameLst>
                                      </p:cBhvr>
                                      <p:to>
                                        <p:strVal val="visible"/>
                                      </p:to>
                                    </p:set>
                                    <p:anim calcmode="lin" valueType="num">
                                      <p:cBhvr>
                                        <p:cTn id="7" dur="500" fill="hold"/>
                                        <p:tgtEl>
                                          <p:spTgt spid="38">
                                            <p:graphicEl>
                                              <a:dgm id="{2E84FF10-E862-4FDA-9FB0-CA7D42350DF5}"/>
                                            </p:graphicEl>
                                          </p:spTgt>
                                        </p:tgtEl>
                                        <p:attrNameLst>
                                          <p:attrName>ppt_w</p:attrName>
                                        </p:attrNameLst>
                                      </p:cBhvr>
                                      <p:tavLst>
                                        <p:tav tm="0">
                                          <p:val>
                                            <p:fltVal val="0"/>
                                          </p:val>
                                        </p:tav>
                                        <p:tav tm="100000">
                                          <p:val>
                                            <p:strVal val="#ppt_w"/>
                                          </p:val>
                                        </p:tav>
                                      </p:tavLst>
                                    </p:anim>
                                    <p:anim calcmode="lin" valueType="num">
                                      <p:cBhvr>
                                        <p:cTn id="8" dur="500" fill="hold"/>
                                        <p:tgtEl>
                                          <p:spTgt spid="38">
                                            <p:graphicEl>
                                              <a:dgm id="{2E84FF10-E862-4FDA-9FB0-CA7D42350DF5}"/>
                                            </p:graphicEl>
                                          </p:spTgt>
                                        </p:tgtEl>
                                        <p:attrNameLst>
                                          <p:attrName>ppt_h</p:attrName>
                                        </p:attrNameLst>
                                      </p:cBhvr>
                                      <p:tavLst>
                                        <p:tav tm="0">
                                          <p:val>
                                            <p:fltVal val="0"/>
                                          </p:val>
                                        </p:tav>
                                        <p:tav tm="100000">
                                          <p:val>
                                            <p:strVal val="#ppt_h"/>
                                          </p:val>
                                        </p:tav>
                                      </p:tavLst>
                                    </p:anim>
                                    <p:animEffect transition="in" filter="fade">
                                      <p:cBhvr>
                                        <p:cTn id="9" dur="500"/>
                                        <p:tgtEl>
                                          <p:spTgt spid="38">
                                            <p:graphicEl>
                                              <a:dgm id="{2E84FF10-E862-4FDA-9FB0-CA7D42350DF5}"/>
                                            </p:graphicEl>
                                          </p:spTgt>
                                        </p:tgtEl>
                                      </p:cBhvr>
                                    </p:animEffect>
                                  </p:childTnLst>
                                </p:cTn>
                              </p:par>
                            </p:childTnLst>
                          </p:cTn>
                        </p:par>
                        <p:par>
                          <p:cTn id="10" fill="hold">
                            <p:stCondLst>
                              <p:cond delay="500"/>
                            </p:stCondLst>
                            <p:childTnLst>
                              <p:par>
                                <p:cTn id="11" presetID="22" presetClass="entr" presetSubtype="4" fill="hold" grpId="0" nodeType="afterEffect">
                                  <p:stCondLst>
                                    <p:cond delay="0"/>
                                  </p:stCondLst>
                                  <p:childTnLst>
                                    <p:set>
                                      <p:cBhvr>
                                        <p:cTn id="12" dur="1" fill="hold">
                                          <p:stCondLst>
                                            <p:cond delay="0"/>
                                          </p:stCondLst>
                                        </p:cTn>
                                        <p:tgtEl>
                                          <p:spTgt spid="38">
                                            <p:graphicEl>
                                              <a:dgm id="{90F85B81-957C-42C4-8567-4B60B670C5F1}"/>
                                            </p:graphicEl>
                                          </p:spTgt>
                                        </p:tgtEl>
                                        <p:attrNameLst>
                                          <p:attrName>style.visibility</p:attrName>
                                        </p:attrNameLst>
                                      </p:cBhvr>
                                      <p:to>
                                        <p:strVal val="visible"/>
                                      </p:to>
                                    </p:set>
                                    <p:animEffect transition="in" filter="wipe(down)">
                                      <p:cBhvr>
                                        <p:cTn id="13" dur="500"/>
                                        <p:tgtEl>
                                          <p:spTgt spid="38">
                                            <p:graphicEl>
                                              <a:dgm id="{90F85B81-957C-42C4-8567-4B60B670C5F1}"/>
                                            </p:graphicEl>
                                          </p:spTgt>
                                        </p:tgtEl>
                                      </p:cBhvr>
                                    </p:animEffect>
                                  </p:childTnLst>
                                </p:cTn>
                              </p:par>
                              <p:par>
                                <p:cTn id="14" presetID="53" presetClass="entr" presetSubtype="16" fill="hold" grpId="0" nodeType="withEffect">
                                  <p:stCondLst>
                                    <p:cond delay="0"/>
                                  </p:stCondLst>
                                  <p:childTnLst>
                                    <p:set>
                                      <p:cBhvr>
                                        <p:cTn id="15" dur="1" fill="hold">
                                          <p:stCondLst>
                                            <p:cond delay="0"/>
                                          </p:stCondLst>
                                        </p:cTn>
                                        <p:tgtEl>
                                          <p:spTgt spid="38">
                                            <p:graphicEl>
                                              <a:dgm id="{465511E7-CC42-490F-B486-63908F239FCB}"/>
                                            </p:graphicEl>
                                          </p:spTgt>
                                        </p:tgtEl>
                                        <p:attrNameLst>
                                          <p:attrName>style.visibility</p:attrName>
                                        </p:attrNameLst>
                                      </p:cBhvr>
                                      <p:to>
                                        <p:strVal val="visible"/>
                                      </p:to>
                                    </p:set>
                                    <p:anim calcmode="lin" valueType="num">
                                      <p:cBhvr>
                                        <p:cTn id="16" dur="500" fill="hold"/>
                                        <p:tgtEl>
                                          <p:spTgt spid="38">
                                            <p:graphicEl>
                                              <a:dgm id="{465511E7-CC42-490F-B486-63908F239FCB}"/>
                                            </p:graphicEl>
                                          </p:spTgt>
                                        </p:tgtEl>
                                        <p:attrNameLst>
                                          <p:attrName>ppt_w</p:attrName>
                                        </p:attrNameLst>
                                      </p:cBhvr>
                                      <p:tavLst>
                                        <p:tav tm="0">
                                          <p:val>
                                            <p:fltVal val="0"/>
                                          </p:val>
                                        </p:tav>
                                        <p:tav tm="100000">
                                          <p:val>
                                            <p:strVal val="#ppt_w"/>
                                          </p:val>
                                        </p:tav>
                                      </p:tavLst>
                                    </p:anim>
                                    <p:anim calcmode="lin" valueType="num">
                                      <p:cBhvr>
                                        <p:cTn id="17" dur="500" fill="hold"/>
                                        <p:tgtEl>
                                          <p:spTgt spid="38">
                                            <p:graphicEl>
                                              <a:dgm id="{465511E7-CC42-490F-B486-63908F239FCB}"/>
                                            </p:graphicEl>
                                          </p:spTgt>
                                        </p:tgtEl>
                                        <p:attrNameLst>
                                          <p:attrName>ppt_h</p:attrName>
                                        </p:attrNameLst>
                                      </p:cBhvr>
                                      <p:tavLst>
                                        <p:tav tm="0">
                                          <p:val>
                                            <p:fltVal val="0"/>
                                          </p:val>
                                        </p:tav>
                                        <p:tav tm="100000">
                                          <p:val>
                                            <p:strVal val="#ppt_h"/>
                                          </p:val>
                                        </p:tav>
                                      </p:tavLst>
                                    </p:anim>
                                    <p:animEffect transition="in" filter="fade">
                                      <p:cBhvr>
                                        <p:cTn id="18" dur="500"/>
                                        <p:tgtEl>
                                          <p:spTgt spid="38">
                                            <p:graphicEl>
                                              <a:dgm id="{465511E7-CC42-490F-B486-63908F239FCB}"/>
                                            </p:graphicEl>
                                          </p:spTgt>
                                        </p:tgtEl>
                                      </p:cBhvr>
                                    </p:animEffect>
                                  </p:childTnLst>
                                </p:cTn>
                              </p:par>
                              <p:par>
                                <p:cTn id="19" presetID="53" presetClass="entr" presetSubtype="16" fill="hold" nodeType="withEffect">
                                  <p:stCondLst>
                                    <p:cond delay="200"/>
                                  </p:stCondLst>
                                  <p:childTnLst>
                                    <p:set>
                                      <p:cBhvr>
                                        <p:cTn id="20" dur="1" fill="hold">
                                          <p:stCondLst>
                                            <p:cond delay="0"/>
                                          </p:stCondLst>
                                        </p:cTn>
                                        <p:tgtEl>
                                          <p:spTgt spid="1026"/>
                                        </p:tgtEl>
                                        <p:attrNameLst>
                                          <p:attrName>style.visibility</p:attrName>
                                        </p:attrNameLst>
                                      </p:cBhvr>
                                      <p:to>
                                        <p:strVal val="visible"/>
                                      </p:to>
                                    </p:set>
                                    <p:anim calcmode="lin" valueType="num">
                                      <p:cBhvr>
                                        <p:cTn id="21" dur="500" fill="hold"/>
                                        <p:tgtEl>
                                          <p:spTgt spid="1026"/>
                                        </p:tgtEl>
                                        <p:attrNameLst>
                                          <p:attrName>ppt_w</p:attrName>
                                        </p:attrNameLst>
                                      </p:cBhvr>
                                      <p:tavLst>
                                        <p:tav tm="0">
                                          <p:val>
                                            <p:fltVal val="0"/>
                                          </p:val>
                                        </p:tav>
                                        <p:tav tm="100000">
                                          <p:val>
                                            <p:strVal val="#ppt_w"/>
                                          </p:val>
                                        </p:tav>
                                      </p:tavLst>
                                    </p:anim>
                                    <p:anim calcmode="lin" valueType="num">
                                      <p:cBhvr>
                                        <p:cTn id="22" dur="500" fill="hold"/>
                                        <p:tgtEl>
                                          <p:spTgt spid="1026"/>
                                        </p:tgtEl>
                                        <p:attrNameLst>
                                          <p:attrName>ppt_h</p:attrName>
                                        </p:attrNameLst>
                                      </p:cBhvr>
                                      <p:tavLst>
                                        <p:tav tm="0">
                                          <p:val>
                                            <p:fltVal val="0"/>
                                          </p:val>
                                        </p:tav>
                                        <p:tav tm="100000">
                                          <p:val>
                                            <p:strVal val="#ppt_h"/>
                                          </p:val>
                                        </p:tav>
                                      </p:tavLst>
                                    </p:anim>
                                    <p:animEffect transition="in" filter="fade">
                                      <p:cBhvr>
                                        <p:cTn id="23" dur="500"/>
                                        <p:tgtEl>
                                          <p:spTgt spid="1026"/>
                                        </p:tgtEl>
                                      </p:cBhvr>
                                    </p:animEffect>
                                  </p:childTnLst>
                                </p:cTn>
                              </p:par>
                              <p:par>
                                <p:cTn id="24" presetID="53" presetClass="entr" presetSubtype="16" fill="hold" nodeType="withEffect">
                                  <p:stCondLst>
                                    <p:cond delay="400"/>
                                  </p:stCondLst>
                                  <p:childTnLst>
                                    <p:set>
                                      <p:cBhvr>
                                        <p:cTn id="25" dur="1" fill="hold">
                                          <p:stCondLst>
                                            <p:cond delay="0"/>
                                          </p:stCondLst>
                                        </p:cTn>
                                        <p:tgtEl>
                                          <p:spTgt spid="51"/>
                                        </p:tgtEl>
                                        <p:attrNameLst>
                                          <p:attrName>style.visibility</p:attrName>
                                        </p:attrNameLst>
                                      </p:cBhvr>
                                      <p:to>
                                        <p:strVal val="visible"/>
                                      </p:to>
                                    </p:set>
                                    <p:anim calcmode="lin" valueType="num">
                                      <p:cBhvr>
                                        <p:cTn id="26" dur="500" fill="hold"/>
                                        <p:tgtEl>
                                          <p:spTgt spid="51"/>
                                        </p:tgtEl>
                                        <p:attrNameLst>
                                          <p:attrName>ppt_w</p:attrName>
                                        </p:attrNameLst>
                                      </p:cBhvr>
                                      <p:tavLst>
                                        <p:tav tm="0">
                                          <p:val>
                                            <p:fltVal val="0"/>
                                          </p:val>
                                        </p:tav>
                                        <p:tav tm="100000">
                                          <p:val>
                                            <p:strVal val="#ppt_w"/>
                                          </p:val>
                                        </p:tav>
                                      </p:tavLst>
                                    </p:anim>
                                    <p:anim calcmode="lin" valueType="num">
                                      <p:cBhvr>
                                        <p:cTn id="27" dur="500" fill="hold"/>
                                        <p:tgtEl>
                                          <p:spTgt spid="51"/>
                                        </p:tgtEl>
                                        <p:attrNameLst>
                                          <p:attrName>ppt_h</p:attrName>
                                        </p:attrNameLst>
                                      </p:cBhvr>
                                      <p:tavLst>
                                        <p:tav tm="0">
                                          <p:val>
                                            <p:fltVal val="0"/>
                                          </p:val>
                                        </p:tav>
                                        <p:tav tm="100000">
                                          <p:val>
                                            <p:strVal val="#ppt_h"/>
                                          </p:val>
                                        </p:tav>
                                      </p:tavLst>
                                    </p:anim>
                                    <p:animEffect transition="in" filter="fade">
                                      <p:cBhvr>
                                        <p:cTn id="28" dur="500"/>
                                        <p:tgtEl>
                                          <p:spTgt spid="51"/>
                                        </p:tgtEl>
                                      </p:cBhvr>
                                    </p:animEffect>
                                  </p:childTnLst>
                                </p:cTn>
                              </p:par>
                            </p:childTnLst>
                          </p:cTn>
                        </p:par>
                        <p:par>
                          <p:cTn id="29" fill="hold">
                            <p:stCondLst>
                              <p:cond delay="1400"/>
                            </p:stCondLst>
                            <p:childTnLst>
                              <p:par>
                                <p:cTn id="30" presetID="22" presetClass="entr" presetSubtype="8" fill="hold" grpId="0" nodeType="afterEffect">
                                  <p:stCondLst>
                                    <p:cond delay="0"/>
                                  </p:stCondLst>
                                  <p:childTnLst>
                                    <p:set>
                                      <p:cBhvr>
                                        <p:cTn id="31" dur="1" fill="hold">
                                          <p:stCondLst>
                                            <p:cond delay="0"/>
                                          </p:stCondLst>
                                        </p:cTn>
                                        <p:tgtEl>
                                          <p:spTgt spid="38">
                                            <p:graphicEl>
                                              <a:dgm id="{D77F9AAC-E462-497C-A0D4-5DBFE7337417}"/>
                                            </p:graphicEl>
                                          </p:spTgt>
                                        </p:tgtEl>
                                        <p:attrNameLst>
                                          <p:attrName>style.visibility</p:attrName>
                                        </p:attrNameLst>
                                      </p:cBhvr>
                                      <p:to>
                                        <p:strVal val="visible"/>
                                      </p:to>
                                    </p:set>
                                    <p:animEffect transition="in" filter="wipe(left)">
                                      <p:cBhvr>
                                        <p:cTn id="32" dur="500"/>
                                        <p:tgtEl>
                                          <p:spTgt spid="38">
                                            <p:graphicEl>
                                              <a:dgm id="{D77F9AAC-E462-497C-A0D4-5DBFE7337417}"/>
                                            </p:graphicEl>
                                          </p:spTgt>
                                        </p:tgtEl>
                                      </p:cBhvr>
                                    </p:animEffect>
                                  </p:childTnLst>
                                </p:cTn>
                              </p:par>
                              <p:par>
                                <p:cTn id="33" presetID="53" presetClass="entr" presetSubtype="16" fill="hold" grpId="0" nodeType="withEffect">
                                  <p:stCondLst>
                                    <p:cond delay="0"/>
                                  </p:stCondLst>
                                  <p:childTnLst>
                                    <p:set>
                                      <p:cBhvr>
                                        <p:cTn id="34" dur="1" fill="hold">
                                          <p:stCondLst>
                                            <p:cond delay="0"/>
                                          </p:stCondLst>
                                        </p:cTn>
                                        <p:tgtEl>
                                          <p:spTgt spid="38">
                                            <p:graphicEl>
                                              <a:dgm id="{9B3C67EF-26C2-40FC-9F2C-17C54B81FBB6}"/>
                                            </p:graphicEl>
                                          </p:spTgt>
                                        </p:tgtEl>
                                        <p:attrNameLst>
                                          <p:attrName>style.visibility</p:attrName>
                                        </p:attrNameLst>
                                      </p:cBhvr>
                                      <p:to>
                                        <p:strVal val="visible"/>
                                      </p:to>
                                    </p:set>
                                    <p:anim calcmode="lin" valueType="num">
                                      <p:cBhvr>
                                        <p:cTn id="35" dur="500" fill="hold"/>
                                        <p:tgtEl>
                                          <p:spTgt spid="38">
                                            <p:graphicEl>
                                              <a:dgm id="{9B3C67EF-26C2-40FC-9F2C-17C54B81FBB6}"/>
                                            </p:graphicEl>
                                          </p:spTgt>
                                        </p:tgtEl>
                                        <p:attrNameLst>
                                          <p:attrName>ppt_w</p:attrName>
                                        </p:attrNameLst>
                                      </p:cBhvr>
                                      <p:tavLst>
                                        <p:tav tm="0">
                                          <p:val>
                                            <p:fltVal val="0"/>
                                          </p:val>
                                        </p:tav>
                                        <p:tav tm="100000">
                                          <p:val>
                                            <p:strVal val="#ppt_w"/>
                                          </p:val>
                                        </p:tav>
                                      </p:tavLst>
                                    </p:anim>
                                    <p:anim calcmode="lin" valueType="num">
                                      <p:cBhvr>
                                        <p:cTn id="36" dur="500" fill="hold"/>
                                        <p:tgtEl>
                                          <p:spTgt spid="38">
                                            <p:graphicEl>
                                              <a:dgm id="{9B3C67EF-26C2-40FC-9F2C-17C54B81FBB6}"/>
                                            </p:graphicEl>
                                          </p:spTgt>
                                        </p:tgtEl>
                                        <p:attrNameLst>
                                          <p:attrName>ppt_h</p:attrName>
                                        </p:attrNameLst>
                                      </p:cBhvr>
                                      <p:tavLst>
                                        <p:tav tm="0">
                                          <p:val>
                                            <p:fltVal val="0"/>
                                          </p:val>
                                        </p:tav>
                                        <p:tav tm="100000">
                                          <p:val>
                                            <p:strVal val="#ppt_h"/>
                                          </p:val>
                                        </p:tav>
                                      </p:tavLst>
                                    </p:anim>
                                    <p:animEffect transition="in" filter="fade">
                                      <p:cBhvr>
                                        <p:cTn id="37" dur="500"/>
                                        <p:tgtEl>
                                          <p:spTgt spid="38">
                                            <p:graphicEl>
                                              <a:dgm id="{9B3C67EF-26C2-40FC-9F2C-17C54B81FBB6}"/>
                                            </p:graphicEl>
                                          </p:spTgt>
                                        </p:tgtEl>
                                      </p:cBhvr>
                                    </p:animEffect>
                                  </p:childTnLst>
                                </p:cTn>
                              </p:par>
                              <p:par>
                                <p:cTn id="38" presetID="53" presetClass="entr" presetSubtype="16" fill="hold" nodeType="withEffect">
                                  <p:stCondLst>
                                    <p:cond delay="200"/>
                                  </p:stCondLst>
                                  <p:childTnLst>
                                    <p:set>
                                      <p:cBhvr>
                                        <p:cTn id="39" dur="1" fill="hold">
                                          <p:stCondLst>
                                            <p:cond delay="0"/>
                                          </p:stCondLst>
                                        </p:cTn>
                                        <p:tgtEl>
                                          <p:spTgt spid="40"/>
                                        </p:tgtEl>
                                        <p:attrNameLst>
                                          <p:attrName>style.visibility</p:attrName>
                                        </p:attrNameLst>
                                      </p:cBhvr>
                                      <p:to>
                                        <p:strVal val="visible"/>
                                      </p:to>
                                    </p:set>
                                    <p:anim calcmode="lin" valueType="num">
                                      <p:cBhvr>
                                        <p:cTn id="40" dur="500" fill="hold"/>
                                        <p:tgtEl>
                                          <p:spTgt spid="40"/>
                                        </p:tgtEl>
                                        <p:attrNameLst>
                                          <p:attrName>ppt_w</p:attrName>
                                        </p:attrNameLst>
                                      </p:cBhvr>
                                      <p:tavLst>
                                        <p:tav tm="0">
                                          <p:val>
                                            <p:fltVal val="0"/>
                                          </p:val>
                                        </p:tav>
                                        <p:tav tm="100000">
                                          <p:val>
                                            <p:strVal val="#ppt_w"/>
                                          </p:val>
                                        </p:tav>
                                      </p:tavLst>
                                    </p:anim>
                                    <p:anim calcmode="lin" valueType="num">
                                      <p:cBhvr>
                                        <p:cTn id="41" dur="500" fill="hold"/>
                                        <p:tgtEl>
                                          <p:spTgt spid="40"/>
                                        </p:tgtEl>
                                        <p:attrNameLst>
                                          <p:attrName>ppt_h</p:attrName>
                                        </p:attrNameLst>
                                      </p:cBhvr>
                                      <p:tavLst>
                                        <p:tav tm="0">
                                          <p:val>
                                            <p:fltVal val="0"/>
                                          </p:val>
                                        </p:tav>
                                        <p:tav tm="100000">
                                          <p:val>
                                            <p:strVal val="#ppt_h"/>
                                          </p:val>
                                        </p:tav>
                                      </p:tavLst>
                                    </p:anim>
                                    <p:animEffect transition="in" filter="fade">
                                      <p:cBhvr>
                                        <p:cTn id="42" dur="500"/>
                                        <p:tgtEl>
                                          <p:spTgt spid="40"/>
                                        </p:tgtEl>
                                      </p:cBhvr>
                                    </p:animEffect>
                                  </p:childTnLst>
                                </p:cTn>
                              </p:par>
                            </p:childTnLst>
                          </p:cTn>
                        </p:par>
                        <p:par>
                          <p:cTn id="43" fill="hold">
                            <p:stCondLst>
                              <p:cond delay="2100"/>
                            </p:stCondLst>
                            <p:childTnLst>
                              <p:par>
                                <p:cTn id="44" presetID="22" presetClass="entr" presetSubtype="1" fill="hold" grpId="0" nodeType="afterEffect">
                                  <p:stCondLst>
                                    <p:cond delay="0"/>
                                  </p:stCondLst>
                                  <p:childTnLst>
                                    <p:set>
                                      <p:cBhvr>
                                        <p:cTn id="45" dur="1" fill="hold">
                                          <p:stCondLst>
                                            <p:cond delay="0"/>
                                          </p:stCondLst>
                                        </p:cTn>
                                        <p:tgtEl>
                                          <p:spTgt spid="38">
                                            <p:graphicEl>
                                              <a:dgm id="{80B34E43-4052-470B-AC2B-52114739C2B6}"/>
                                            </p:graphicEl>
                                          </p:spTgt>
                                        </p:tgtEl>
                                        <p:attrNameLst>
                                          <p:attrName>style.visibility</p:attrName>
                                        </p:attrNameLst>
                                      </p:cBhvr>
                                      <p:to>
                                        <p:strVal val="visible"/>
                                      </p:to>
                                    </p:set>
                                    <p:animEffect transition="in" filter="wipe(up)">
                                      <p:cBhvr>
                                        <p:cTn id="46" dur="500"/>
                                        <p:tgtEl>
                                          <p:spTgt spid="38">
                                            <p:graphicEl>
                                              <a:dgm id="{80B34E43-4052-470B-AC2B-52114739C2B6}"/>
                                            </p:graphicEl>
                                          </p:spTgt>
                                        </p:tgtEl>
                                      </p:cBhvr>
                                    </p:animEffect>
                                  </p:childTnLst>
                                </p:cTn>
                              </p:par>
                              <p:par>
                                <p:cTn id="47" presetID="53" presetClass="entr" presetSubtype="16" fill="hold" grpId="0" nodeType="withEffect">
                                  <p:stCondLst>
                                    <p:cond delay="0"/>
                                  </p:stCondLst>
                                  <p:childTnLst>
                                    <p:set>
                                      <p:cBhvr>
                                        <p:cTn id="48" dur="1" fill="hold">
                                          <p:stCondLst>
                                            <p:cond delay="0"/>
                                          </p:stCondLst>
                                        </p:cTn>
                                        <p:tgtEl>
                                          <p:spTgt spid="38">
                                            <p:graphicEl>
                                              <a:dgm id="{EF01DA88-30C0-4461-A5A3-A59249921398}"/>
                                            </p:graphicEl>
                                          </p:spTgt>
                                        </p:tgtEl>
                                        <p:attrNameLst>
                                          <p:attrName>style.visibility</p:attrName>
                                        </p:attrNameLst>
                                      </p:cBhvr>
                                      <p:to>
                                        <p:strVal val="visible"/>
                                      </p:to>
                                    </p:set>
                                    <p:anim calcmode="lin" valueType="num">
                                      <p:cBhvr>
                                        <p:cTn id="49" dur="500" fill="hold"/>
                                        <p:tgtEl>
                                          <p:spTgt spid="38">
                                            <p:graphicEl>
                                              <a:dgm id="{EF01DA88-30C0-4461-A5A3-A59249921398}"/>
                                            </p:graphicEl>
                                          </p:spTgt>
                                        </p:tgtEl>
                                        <p:attrNameLst>
                                          <p:attrName>ppt_w</p:attrName>
                                        </p:attrNameLst>
                                      </p:cBhvr>
                                      <p:tavLst>
                                        <p:tav tm="0">
                                          <p:val>
                                            <p:fltVal val="0"/>
                                          </p:val>
                                        </p:tav>
                                        <p:tav tm="100000">
                                          <p:val>
                                            <p:strVal val="#ppt_w"/>
                                          </p:val>
                                        </p:tav>
                                      </p:tavLst>
                                    </p:anim>
                                    <p:anim calcmode="lin" valueType="num">
                                      <p:cBhvr>
                                        <p:cTn id="50" dur="500" fill="hold"/>
                                        <p:tgtEl>
                                          <p:spTgt spid="38">
                                            <p:graphicEl>
                                              <a:dgm id="{EF01DA88-30C0-4461-A5A3-A59249921398}"/>
                                            </p:graphicEl>
                                          </p:spTgt>
                                        </p:tgtEl>
                                        <p:attrNameLst>
                                          <p:attrName>ppt_h</p:attrName>
                                        </p:attrNameLst>
                                      </p:cBhvr>
                                      <p:tavLst>
                                        <p:tav tm="0">
                                          <p:val>
                                            <p:fltVal val="0"/>
                                          </p:val>
                                        </p:tav>
                                        <p:tav tm="100000">
                                          <p:val>
                                            <p:strVal val="#ppt_h"/>
                                          </p:val>
                                        </p:tav>
                                      </p:tavLst>
                                    </p:anim>
                                    <p:animEffect transition="in" filter="fade">
                                      <p:cBhvr>
                                        <p:cTn id="51" dur="500"/>
                                        <p:tgtEl>
                                          <p:spTgt spid="38">
                                            <p:graphicEl>
                                              <a:dgm id="{EF01DA88-30C0-4461-A5A3-A59249921398}"/>
                                            </p:graphicEl>
                                          </p:spTgt>
                                        </p:tgtEl>
                                      </p:cBhvr>
                                    </p:animEffect>
                                  </p:childTnLst>
                                </p:cTn>
                              </p:par>
                              <p:par>
                                <p:cTn id="52" presetID="53" presetClass="entr" presetSubtype="16" fill="hold" nodeType="withEffect">
                                  <p:stCondLst>
                                    <p:cond delay="0"/>
                                  </p:stCondLst>
                                  <p:childTnLst>
                                    <p:set>
                                      <p:cBhvr>
                                        <p:cTn id="53" dur="1" fill="hold">
                                          <p:stCondLst>
                                            <p:cond delay="0"/>
                                          </p:stCondLst>
                                        </p:cTn>
                                        <p:tgtEl>
                                          <p:spTgt spid="1032"/>
                                        </p:tgtEl>
                                        <p:attrNameLst>
                                          <p:attrName>style.visibility</p:attrName>
                                        </p:attrNameLst>
                                      </p:cBhvr>
                                      <p:to>
                                        <p:strVal val="visible"/>
                                      </p:to>
                                    </p:set>
                                    <p:anim calcmode="lin" valueType="num">
                                      <p:cBhvr>
                                        <p:cTn id="54" dur="500" fill="hold"/>
                                        <p:tgtEl>
                                          <p:spTgt spid="1032"/>
                                        </p:tgtEl>
                                        <p:attrNameLst>
                                          <p:attrName>ppt_w</p:attrName>
                                        </p:attrNameLst>
                                      </p:cBhvr>
                                      <p:tavLst>
                                        <p:tav tm="0">
                                          <p:val>
                                            <p:fltVal val="0"/>
                                          </p:val>
                                        </p:tav>
                                        <p:tav tm="100000">
                                          <p:val>
                                            <p:strVal val="#ppt_w"/>
                                          </p:val>
                                        </p:tav>
                                      </p:tavLst>
                                    </p:anim>
                                    <p:anim calcmode="lin" valueType="num">
                                      <p:cBhvr>
                                        <p:cTn id="55" dur="500" fill="hold"/>
                                        <p:tgtEl>
                                          <p:spTgt spid="1032"/>
                                        </p:tgtEl>
                                        <p:attrNameLst>
                                          <p:attrName>ppt_h</p:attrName>
                                        </p:attrNameLst>
                                      </p:cBhvr>
                                      <p:tavLst>
                                        <p:tav tm="0">
                                          <p:val>
                                            <p:fltVal val="0"/>
                                          </p:val>
                                        </p:tav>
                                        <p:tav tm="100000">
                                          <p:val>
                                            <p:strVal val="#ppt_h"/>
                                          </p:val>
                                        </p:tav>
                                      </p:tavLst>
                                    </p:anim>
                                    <p:animEffect transition="in" filter="fade">
                                      <p:cBhvr>
                                        <p:cTn id="56" dur="500"/>
                                        <p:tgtEl>
                                          <p:spTgt spid="1032"/>
                                        </p:tgtEl>
                                      </p:cBhvr>
                                    </p:animEffect>
                                  </p:childTnLst>
                                </p:cTn>
                              </p:par>
                              <p:par>
                                <p:cTn id="57" presetID="53" presetClass="entr" presetSubtype="16" fill="hold" nodeType="withEffect">
                                  <p:stCondLst>
                                    <p:cond delay="200"/>
                                  </p:stCondLst>
                                  <p:childTnLst>
                                    <p:set>
                                      <p:cBhvr>
                                        <p:cTn id="58" dur="1" fill="hold">
                                          <p:stCondLst>
                                            <p:cond delay="0"/>
                                          </p:stCondLst>
                                        </p:cTn>
                                        <p:tgtEl>
                                          <p:spTgt spid="1034"/>
                                        </p:tgtEl>
                                        <p:attrNameLst>
                                          <p:attrName>style.visibility</p:attrName>
                                        </p:attrNameLst>
                                      </p:cBhvr>
                                      <p:to>
                                        <p:strVal val="visible"/>
                                      </p:to>
                                    </p:set>
                                    <p:anim calcmode="lin" valueType="num">
                                      <p:cBhvr>
                                        <p:cTn id="59" dur="500" fill="hold"/>
                                        <p:tgtEl>
                                          <p:spTgt spid="1034"/>
                                        </p:tgtEl>
                                        <p:attrNameLst>
                                          <p:attrName>ppt_w</p:attrName>
                                        </p:attrNameLst>
                                      </p:cBhvr>
                                      <p:tavLst>
                                        <p:tav tm="0">
                                          <p:val>
                                            <p:fltVal val="0"/>
                                          </p:val>
                                        </p:tav>
                                        <p:tav tm="100000">
                                          <p:val>
                                            <p:strVal val="#ppt_w"/>
                                          </p:val>
                                        </p:tav>
                                      </p:tavLst>
                                    </p:anim>
                                    <p:anim calcmode="lin" valueType="num">
                                      <p:cBhvr>
                                        <p:cTn id="60" dur="500" fill="hold"/>
                                        <p:tgtEl>
                                          <p:spTgt spid="1034"/>
                                        </p:tgtEl>
                                        <p:attrNameLst>
                                          <p:attrName>ppt_h</p:attrName>
                                        </p:attrNameLst>
                                      </p:cBhvr>
                                      <p:tavLst>
                                        <p:tav tm="0">
                                          <p:val>
                                            <p:fltVal val="0"/>
                                          </p:val>
                                        </p:tav>
                                        <p:tav tm="100000">
                                          <p:val>
                                            <p:strVal val="#ppt_h"/>
                                          </p:val>
                                        </p:tav>
                                      </p:tavLst>
                                    </p:anim>
                                    <p:animEffect transition="in" filter="fade">
                                      <p:cBhvr>
                                        <p:cTn id="61" dur="500"/>
                                        <p:tgtEl>
                                          <p:spTgt spid="1034"/>
                                        </p:tgtEl>
                                      </p:cBhvr>
                                    </p:animEffect>
                                  </p:childTnLst>
                                </p:cTn>
                              </p:par>
                            </p:childTnLst>
                          </p:cTn>
                        </p:par>
                        <p:par>
                          <p:cTn id="62" fill="hold">
                            <p:stCondLst>
                              <p:cond delay="2800"/>
                            </p:stCondLst>
                            <p:childTnLst>
                              <p:par>
                                <p:cTn id="63" presetID="22" presetClass="entr" presetSubtype="1" fill="hold" grpId="0" nodeType="afterEffect">
                                  <p:stCondLst>
                                    <p:cond delay="0"/>
                                  </p:stCondLst>
                                  <p:childTnLst>
                                    <p:set>
                                      <p:cBhvr>
                                        <p:cTn id="64" dur="1" fill="hold">
                                          <p:stCondLst>
                                            <p:cond delay="0"/>
                                          </p:stCondLst>
                                        </p:cTn>
                                        <p:tgtEl>
                                          <p:spTgt spid="38">
                                            <p:graphicEl>
                                              <a:dgm id="{A33D5E17-7252-41B5-BFA5-3BC2EDCB36B9}"/>
                                            </p:graphicEl>
                                          </p:spTgt>
                                        </p:tgtEl>
                                        <p:attrNameLst>
                                          <p:attrName>style.visibility</p:attrName>
                                        </p:attrNameLst>
                                      </p:cBhvr>
                                      <p:to>
                                        <p:strVal val="visible"/>
                                      </p:to>
                                    </p:set>
                                    <p:animEffect transition="in" filter="wipe(up)">
                                      <p:cBhvr>
                                        <p:cTn id="65" dur="500"/>
                                        <p:tgtEl>
                                          <p:spTgt spid="38">
                                            <p:graphicEl>
                                              <a:dgm id="{A33D5E17-7252-41B5-BFA5-3BC2EDCB36B9}"/>
                                            </p:graphicEl>
                                          </p:spTgt>
                                        </p:tgtEl>
                                      </p:cBhvr>
                                    </p:animEffect>
                                  </p:childTnLst>
                                </p:cTn>
                              </p:par>
                              <p:par>
                                <p:cTn id="66" presetID="53" presetClass="entr" presetSubtype="16" fill="hold" grpId="0" nodeType="withEffect">
                                  <p:stCondLst>
                                    <p:cond delay="0"/>
                                  </p:stCondLst>
                                  <p:childTnLst>
                                    <p:set>
                                      <p:cBhvr>
                                        <p:cTn id="67" dur="1" fill="hold">
                                          <p:stCondLst>
                                            <p:cond delay="0"/>
                                          </p:stCondLst>
                                        </p:cTn>
                                        <p:tgtEl>
                                          <p:spTgt spid="38">
                                            <p:graphicEl>
                                              <a:dgm id="{399CA342-0066-46C4-8024-1022CC3F3441}"/>
                                            </p:graphicEl>
                                          </p:spTgt>
                                        </p:tgtEl>
                                        <p:attrNameLst>
                                          <p:attrName>style.visibility</p:attrName>
                                        </p:attrNameLst>
                                      </p:cBhvr>
                                      <p:to>
                                        <p:strVal val="visible"/>
                                      </p:to>
                                    </p:set>
                                    <p:anim calcmode="lin" valueType="num">
                                      <p:cBhvr>
                                        <p:cTn id="68" dur="500" fill="hold"/>
                                        <p:tgtEl>
                                          <p:spTgt spid="38">
                                            <p:graphicEl>
                                              <a:dgm id="{399CA342-0066-46C4-8024-1022CC3F3441}"/>
                                            </p:graphicEl>
                                          </p:spTgt>
                                        </p:tgtEl>
                                        <p:attrNameLst>
                                          <p:attrName>ppt_w</p:attrName>
                                        </p:attrNameLst>
                                      </p:cBhvr>
                                      <p:tavLst>
                                        <p:tav tm="0">
                                          <p:val>
                                            <p:fltVal val="0"/>
                                          </p:val>
                                        </p:tav>
                                        <p:tav tm="100000">
                                          <p:val>
                                            <p:strVal val="#ppt_w"/>
                                          </p:val>
                                        </p:tav>
                                      </p:tavLst>
                                    </p:anim>
                                    <p:anim calcmode="lin" valueType="num">
                                      <p:cBhvr>
                                        <p:cTn id="69" dur="500" fill="hold"/>
                                        <p:tgtEl>
                                          <p:spTgt spid="38">
                                            <p:graphicEl>
                                              <a:dgm id="{399CA342-0066-46C4-8024-1022CC3F3441}"/>
                                            </p:graphicEl>
                                          </p:spTgt>
                                        </p:tgtEl>
                                        <p:attrNameLst>
                                          <p:attrName>ppt_h</p:attrName>
                                        </p:attrNameLst>
                                      </p:cBhvr>
                                      <p:tavLst>
                                        <p:tav tm="0">
                                          <p:val>
                                            <p:fltVal val="0"/>
                                          </p:val>
                                        </p:tav>
                                        <p:tav tm="100000">
                                          <p:val>
                                            <p:strVal val="#ppt_h"/>
                                          </p:val>
                                        </p:tav>
                                      </p:tavLst>
                                    </p:anim>
                                    <p:animEffect transition="in" filter="fade">
                                      <p:cBhvr>
                                        <p:cTn id="70" dur="500"/>
                                        <p:tgtEl>
                                          <p:spTgt spid="38">
                                            <p:graphicEl>
                                              <a:dgm id="{399CA342-0066-46C4-8024-1022CC3F3441}"/>
                                            </p:graphicEl>
                                          </p:spTgt>
                                        </p:tgtEl>
                                      </p:cBhvr>
                                    </p:animEffect>
                                  </p:childTnLst>
                                </p:cTn>
                              </p:par>
                              <p:par>
                                <p:cTn id="71" presetID="53" presetClass="entr" presetSubtype="16" fill="hold" nodeType="withEffect">
                                  <p:stCondLst>
                                    <p:cond delay="0"/>
                                  </p:stCondLst>
                                  <p:childTnLst>
                                    <p:set>
                                      <p:cBhvr>
                                        <p:cTn id="72" dur="1" fill="hold">
                                          <p:stCondLst>
                                            <p:cond delay="0"/>
                                          </p:stCondLst>
                                        </p:cTn>
                                        <p:tgtEl>
                                          <p:spTgt spid="1036"/>
                                        </p:tgtEl>
                                        <p:attrNameLst>
                                          <p:attrName>style.visibility</p:attrName>
                                        </p:attrNameLst>
                                      </p:cBhvr>
                                      <p:to>
                                        <p:strVal val="visible"/>
                                      </p:to>
                                    </p:set>
                                    <p:anim calcmode="lin" valueType="num">
                                      <p:cBhvr>
                                        <p:cTn id="73" dur="500" fill="hold"/>
                                        <p:tgtEl>
                                          <p:spTgt spid="1036"/>
                                        </p:tgtEl>
                                        <p:attrNameLst>
                                          <p:attrName>ppt_w</p:attrName>
                                        </p:attrNameLst>
                                      </p:cBhvr>
                                      <p:tavLst>
                                        <p:tav tm="0">
                                          <p:val>
                                            <p:fltVal val="0"/>
                                          </p:val>
                                        </p:tav>
                                        <p:tav tm="100000">
                                          <p:val>
                                            <p:strVal val="#ppt_w"/>
                                          </p:val>
                                        </p:tav>
                                      </p:tavLst>
                                    </p:anim>
                                    <p:anim calcmode="lin" valueType="num">
                                      <p:cBhvr>
                                        <p:cTn id="74" dur="500" fill="hold"/>
                                        <p:tgtEl>
                                          <p:spTgt spid="1036"/>
                                        </p:tgtEl>
                                        <p:attrNameLst>
                                          <p:attrName>ppt_h</p:attrName>
                                        </p:attrNameLst>
                                      </p:cBhvr>
                                      <p:tavLst>
                                        <p:tav tm="0">
                                          <p:val>
                                            <p:fltVal val="0"/>
                                          </p:val>
                                        </p:tav>
                                        <p:tav tm="100000">
                                          <p:val>
                                            <p:strVal val="#ppt_h"/>
                                          </p:val>
                                        </p:tav>
                                      </p:tavLst>
                                    </p:anim>
                                    <p:animEffect transition="in" filter="fade">
                                      <p:cBhvr>
                                        <p:cTn id="75" dur="500"/>
                                        <p:tgtEl>
                                          <p:spTgt spid="1036"/>
                                        </p:tgtEl>
                                      </p:cBhvr>
                                    </p:animEffect>
                                  </p:childTnLst>
                                </p:cTn>
                              </p:par>
                            </p:childTnLst>
                          </p:cTn>
                        </p:par>
                        <p:par>
                          <p:cTn id="76" fill="hold">
                            <p:stCondLst>
                              <p:cond delay="3300"/>
                            </p:stCondLst>
                            <p:childTnLst>
                              <p:par>
                                <p:cTn id="77" presetID="22" presetClass="entr" presetSubtype="2" fill="hold" grpId="0" nodeType="afterEffect">
                                  <p:stCondLst>
                                    <p:cond delay="0"/>
                                  </p:stCondLst>
                                  <p:childTnLst>
                                    <p:set>
                                      <p:cBhvr>
                                        <p:cTn id="78" dur="1" fill="hold">
                                          <p:stCondLst>
                                            <p:cond delay="0"/>
                                          </p:stCondLst>
                                        </p:cTn>
                                        <p:tgtEl>
                                          <p:spTgt spid="38">
                                            <p:graphicEl>
                                              <a:dgm id="{28381721-7E2A-4AEA-9252-F3758A41353C}"/>
                                            </p:graphicEl>
                                          </p:spTgt>
                                        </p:tgtEl>
                                        <p:attrNameLst>
                                          <p:attrName>style.visibility</p:attrName>
                                        </p:attrNameLst>
                                      </p:cBhvr>
                                      <p:to>
                                        <p:strVal val="visible"/>
                                      </p:to>
                                    </p:set>
                                    <p:animEffect transition="in" filter="wipe(right)">
                                      <p:cBhvr>
                                        <p:cTn id="79" dur="500"/>
                                        <p:tgtEl>
                                          <p:spTgt spid="38">
                                            <p:graphicEl>
                                              <a:dgm id="{28381721-7E2A-4AEA-9252-F3758A41353C}"/>
                                            </p:graphicEl>
                                          </p:spTgt>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38">
                                            <p:graphicEl>
                                              <a:dgm id="{5AF5F4BE-67A0-4F42-B876-AA883068AAC0}"/>
                                            </p:graphicEl>
                                          </p:spTgt>
                                        </p:tgtEl>
                                        <p:attrNameLst>
                                          <p:attrName>style.visibility</p:attrName>
                                        </p:attrNameLst>
                                      </p:cBhvr>
                                      <p:to>
                                        <p:strVal val="visible"/>
                                      </p:to>
                                    </p:set>
                                    <p:anim calcmode="lin" valueType="num">
                                      <p:cBhvr>
                                        <p:cTn id="82" dur="500" fill="hold"/>
                                        <p:tgtEl>
                                          <p:spTgt spid="38">
                                            <p:graphicEl>
                                              <a:dgm id="{5AF5F4BE-67A0-4F42-B876-AA883068AAC0}"/>
                                            </p:graphicEl>
                                          </p:spTgt>
                                        </p:tgtEl>
                                        <p:attrNameLst>
                                          <p:attrName>ppt_w</p:attrName>
                                        </p:attrNameLst>
                                      </p:cBhvr>
                                      <p:tavLst>
                                        <p:tav tm="0">
                                          <p:val>
                                            <p:fltVal val="0"/>
                                          </p:val>
                                        </p:tav>
                                        <p:tav tm="100000">
                                          <p:val>
                                            <p:strVal val="#ppt_w"/>
                                          </p:val>
                                        </p:tav>
                                      </p:tavLst>
                                    </p:anim>
                                    <p:anim calcmode="lin" valueType="num">
                                      <p:cBhvr>
                                        <p:cTn id="83" dur="500" fill="hold"/>
                                        <p:tgtEl>
                                          <p:spTgt spid="38">
                                            <p:graphicEl>
                                              <a:dgm id="{5AF5F4BE-67A0-4F42-B876-AA883068AAC0}"/>
                                            </p:graphicEl>
                                          </p:spTgt>
                                        </p:tgtEl>
                                        <p:attrNameLst>
                                          <p:attrName>ppt_h</p:attrName>
                                        </p:attrNameLst>
                                      </p:cBhvr>
                                      <p:tavLst>
                                        <p:tav tm="0">
                                          <p:val>
                                            <p:fltVal val="0"/>
                                          </p:val>
                                        </p:tav>
                                        <p:tav tm="100000">
                                          <p:val>
                                            <p:strVal val="#ppt_h"/>
                                          </p:val>
                                        </p:tav>
                                      </p:tavLst>
                                    </p:anim>
                                    <p:animEffect transition="in" filter="fade">
                                      <p:cBhvr>
                                        <p:cTn id="84" dur="500"/>
                                        <p:tgtEl>
                                          <p:spTgt spid="38">
                                            <p:graphicEl>
                                              <a:dgm id="{5AF5F4BE-67A0-4F42-B876-AA883068AAC0}"/>
                                            </p:graphicEl>
                                          </p:spTgt>
                                        </p:tgtEl>
                                      </p:cBhvr>
                                    </p:animEffect>
                                  </p:childTnLst>
                                </p:cTn>
                              </p:par>
                              <p:par>
                                <p:cTn id="85" presetID="53" presetClass="entr" presetSubtype="16" fill="hold" nodeType="withEffect">
                                  <p:stCondLst>
                                    <p:cond delay="0"/>
                                  </p:stCondLst>
                                  <p:childTnLst>
                                    <p:set>
                                      <p:cBhvr>
                                        <p:cTn id="86" dur="1" fill="hold">
                                          <p:stCondLst>
                                            <p:cond delay="0"/>
                                          </p:stCondLst>
                                        </p:cTn>
                                        <p:tgtEl>
                                          <p:spTgt spid="1038"/>
                                        </p:tgtEl>
                                        <p:attrNameLst>
                                          <p:attrName>style.visibility</p:attrName>
                                        </p:attrNameLst>
                                      </p:cBhvr>
                                      <p:to>
                                        <p:strVal val="visible"/>
                                      </p:to>
                                    </p:set>
                                    <p:anim calcmode="lin" valueType="num">
                                      <p:cBhvr>
                                        <p:cTn id="87" dur="500" fill="hold"/>
                                        <p:tgtEl>
                                          <p:spTgt spid="1038"/>
                                        </p:tgtEl>
                                        <p:attrNameLst>
                                          <p:attrName>ppt_w</p:attrName>
                                        </p:attrNameLst>
                                      </p:cBhvr>
                                      <p:tavLst>
                                        <p:tav tm="0">
                                          <p:val>
                                            <p:fltVal val="0"/>
                                          </p:val>
                                        </p:tav>
                                        <p:tav tm="100000">
                                          <p:val>
                                            <p:strVal val="#ppt_w"/>
                                          </p:val>
                                        </p:tav>
                                      </p:tavLst>
                                    </p:anim>
                                    <p:anim calcmode="lin" valueType="num">
                                      <p:cBhvr>
                                        <p:cTn id="88" dur="500" fill="hold"/>
                                        <p:tgtEl>
                                          <p:spTgt spid="1038"/>
                                        </p:tgtEl>
                                        <p:attrNameLst>
                                          <p:attrName>ppt_h</p:attrName>
                                        </p:attrNameLst>
                                      </p:cBhvr>
                                      <p:tavLst>
                                        <p:tav tm="0">
                                          <p:val>
                                            <p:fltVal val="0"/>
                                          </p:val>
                                        </p:tav>
                                        <p:tav tm="100000">
                                          <p:val>
                                            <p:strVal val="#ppt_h"/>
                                          </p:val>
                                        </p:tav>
                                      </p:tavLst>
                                    </p:anim>
                                    <p:animEffect transition="in" filter="fade">
                                      <p:cBhvr>
                                        <p:cTn id="89" dur="500"/>
                                        <p:tgtEl>
                                          <p:spTgt spid="1038"/>
                                        </p:tgtEl>
                                      </p:cBhvr>
                                    </p:animEffect>
                                  </p:childTnLst>
                                </p:cTn>
                              </p:par>
                              <p:par>
                                <p:cTn id="90" presetID="53" presetClass="entr" presetSubtype="16" fill="hold" nodeType="withEffect">
                                  <p:stCondLst>
                                    <p:cond delay="200"/>
                                  </p:stCondLst>
                                  <p:childTnLst>
                                    <p:set>
                                      <p:cBhvr>
                                        <p:cTn id="91" dur="1" fill="hold">
                                          <p:stCondLst>
                                            <p:cond delay="0"/>
                                          </p:stCondLst>
                                        </p:cTn>
                                        <p:tgtEl>
                                          <p:spTgt spid="1040"/>
                                        </p:tgtEl>
                                        <p:attrNameLst>
                                          <p:attrName>style.visibility</p:attrName>
                                        </p:attrNameLst>
                                      </p:cBhvr>
                                      <p:to>
                                        <p:strVal val="visible"/>
                                      </p:to>
                                    </p:set>
                                    <p:anim calcmode="lin" valueType="num">
                                      <p:cBhvr>
                                        <p:cTn id="92" dur="500" fill="hold"/>
                                        <p:tgtEl>
                                          <p:spTgt spid="1040"/>
                                        </p:tgtEl>
                                        <p:attrNameLst>
                                          <p:attrName>ppt_w</p:attrName>
                                        </p:attrNameLst>
                                      </p:cBhvr>
                                      <p:tavLst>
                                        <p:tav tm="0">
                                          <p:val>
                                            <p:fltVal val="0"/>
                                          </p:val>
                                        </p:tav>
                                        <p:tav tm="100000">
                                          <p:val>
                                            <p:strVal val="#ppt_w"/>
                                          </p:val>
                                        </p:tav>
                                      </p:tavLst>
                                    </p:anim>
                                    <p:anim calcmode="lin" valueType="num">
                                      <p:cBhvr>
                                        <p:cTn id="93" dur="500" fill="hold"/>
                                        <p:tgtEl>
                                          <p:spTgt spid="1040"/>
                                        </p:tgtEl>
                                        <p:attrNameLst>
                                          <p:attrName>ppt_h</p:attrName>
                                        </p:attrNameLst>
                                      </p:cBhvr>
                                      <p:tavLst>
                                        <p:tav tm="0">
                                          <p:val>
                                            <p:fltVal val="0"/>
                                          </p:val>
                                        </p:tav>
                                        <p:tav tm="100000">
                                          <p:val>
                                            <p:strVal val="#ppt_h"/>
                                          </p:val>
                                        </p:tav>
                                      </p:tavLst>
                                    </p:anim>
                                    <p:animEffect transition="in" filter="fade">
                                      <p:cBhvr>
                                        <p:cTn id="94" dur="500"/>
                                        <p:tgtEl>
                                          <p:spTgt spid="1040"/>
                                        </p:tgtEl>
                                      </p:cBhvr>
                                    </p:animEffect>
                                  </p:childTnLst>
                                </p:cTn>
                              </p:par>
                              <p:par>
                                <p:cTn id="95" presetID="53" presetClass="entr" presetSubtype="16" fill="hold" nodeType="withEffect">
                                  <p:stCondLst>
                                    <p:cond delay="400"/>
                                  </p:stCondLst>
                                  <p:childTnLst>
                                    <p:set>
                                      <p:cBhvr>
                                        <p:cTn id="96" dur="1" fill="hold">
                                          <p:stCondLst>
                                            <p:cond delay="0"/>
                                          </p:stCondLst>
                                        </p:cTn>
                                        <p:tgtEl>
                                          <p:spTgt spid="1028"/>
                                        </p:tgtEl>
                                        <p:attrNameLst>
                                          <p:attrName>style.visibility</p:attrName>
                                        </p:attrNameLst>
                                      </p:cBhvr>
                                      <p:to>
                                        <p:strVal val="visible"/>
                                      </p:to>
                                    </p:set>
                                    <p:anim calcmode="lin" valueType="num">
                                      <p:cBhvr>
                                        <p:cTn id="97" dur="500" fill="hold"/>
                                        <p:tgtEl>
                                          <p:spTgt spid="1028"/>
                                        </p:tgtEl>
                                        <p:attrNameLst>
                                          <p:attrName>ppt_w</p:attrName>
                                        </p:attrNameLst>
                                      </p:cBhvr>
                                      <p:tavLst>
                                        <p:tav tm="0">
                                          <p:val>
                                            <p:fltVal val="0"/>
                                          </p:val>
                                        </p:tav>
                                        <p:tav tm="100000">
                                          <p:val>
                                            <p:strVal val="#ppt_w"/>
                                          </p:val>
                                        </p:tav>
                                      </p:tavLst>
                                    </p:anim>
                                    <p:anim calcmode="lin" valueType="num">
                                      <p:cBhvr>
                                        <p:cTn id="98" dur="500" fill="hold"/>
                                        <p:tgtEl>
                                          <p:spTgt spid="1028"/>
                                        </p:tgtEl>
                                        <p:attrNameLst>
                                          <p:attrName>ppt_h</p:attrName>
                                        </p:attrNameLst>
                                      </p:cBhvr>
                                      <p:tavLst>
                                        <p:tav tm="0">
                                          <p:val>
                                            <p:fltVal val="0"/>
                                          </p:val>
                                        </p:tav>
                                        <p:tav tm="100000">
                                          <p:val>
                                            <p:strVal val="#ppt_h"/>
                                          </p:val>
                                        </p:tav>
                                      </p:tavLst>
                                    </p:anim>
                                    <p:animEffect transition="in" filter="fade">
                                      <p:cBhvr>
                                        <p:cTn id="99" dur="500"/>
                                        <p:tgtEl>
                                          <p:spTgt spid="10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8" grpId="0" uiExpand="1">
        <p:bldSub>
          <a:bldDgm bld="lvlOne"/>
        </p:bldSub>
      </p:bldGraphic>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clipart&#10;&#10;Description automatically generated">
            <a:extLst>
              <a:ext uri="{FF2B5EF4-FFF2-40B4-BE49-F238E27FC236}">
                <a16:creationId xmlns:a16="http://schemas.microsoft.com/office/drawing/2014/main" id="{844E853A-AA99-4410-8528-2D0B4069DE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99752" y="3876704"/>
            <a:ext cx="317112" cy="242364"/>
          </a:xfrm>
          <a:prstGeom prst="rect">
            <a:avLst/>
          </a:prstGeom>
        </p:spPr>
      </p:pic>
      <p:pic>
        <p:nvPicPr>
          <p:cNvPr id="8" name="Picture 7">
            <a:extLst>
              <a:ext uri="{FF2B5EF4-FFF2-40B4-BE49-F238E27FC236}">
                <a16:creationId xmlns:a16="http://schemas.microsoft.com/office/drawing/2014/main" id="{5BD530CB-2A40-4ECD-80A2-73839A16A205}"/>
              </a:ext>
            </a:extLst>
          </p:cNvPr>
          <p:cNvPicPr>
            <a:picLocks noChangeAspect="1"/>
          </p:cNvPicPr>
          <p:nvPr/>
        </p:nvPicPr>
        <p:blipFill>
          <a:blip r:embed="rId4"/>
          <a:stretch>
            <a:fillRect/>
          </a:stretch>
        </p:blipFill>
        <p:spPr>
          <a:xfrm>
            <a:off x="2142104" y="599217"/>
            <a:ext cx="377797" cy="367855"/>
          </a:xfrm>
          <a:prstGeom prst="rect">
            <a:avLst/>
          </a:prstGeom>
        </p:spPr>
      </p:pic>
      <p:pic>
        <p:nvPicPr>
          <p:cNvPr id="11" name="Picture 10">
            <a:extLst>
              <a:ext uri="{FF2B5EF4-FFF2-40B4-BE49-F238E27FC236}">
                <a16:creationId xmlns:a16="http://schemas.microsoft.com/office/drawing/2014/main" id="{8596CBE9-7A96-453C-B598-D82DA020B746}"/>
              </a:ext>
            </a:extLst>
          </p:cNvPr>
          <p:cNvPicPr>
            <a:picLocks noChangeAspect="1"/>
          </p:cNvPicPr>
          <p:nvPr/>
        </p:nvPicPr>
        <p:blipFill>
          <a:blip r:embed="rId5"/>
          <a:stretch>
            <a:fillRect/>
          </a:stretch>
        </p:blipFill>
        <p:spPr>
          <a:xfrm>
            <a:off x="2167558" y="1635036"/>
            <a:ext cx="425056" cy="200567"/>
          </a:xfrm>
          <a:prstGeom prst="rect">
            <a:avLst/>
          </a:prstGeom>
        </p:spPr>
      </p:pic>
      <p:pic>
        <p:nvPicPr>
          <p:cNvPr id="13" name="Picture 12">
            <a:extLst>
              <a:ext uri="{FF2B5EF4-FFF2-40B4-BE49-F238E27FC236}">
                <a16:creationId xmlns:a16="http://schemas.microsoft.com/office/drawing/2014/main" id="{4CB7E242-E1FC-49FF-BC06-D512F472F9A6}"/>
              </a:ext>
            </a:extLst>
          </p:cNvPr>
          <p:cNvPicPr>
            <a:picLocks noChangeAspect="1"/>
          </p:cNvPicPr>
          <p:nvPr/>
        </p:nvPicPr>
        <p:blipFill>
          <a:blip r:embed="rId6"/>
          <a:stretch>
            <a:fillRect/>
          </a:stretch>
        </p:blipFill>
        <p:spPr>
          <a:xfrm>
            <a:off x="2155688" y="2610604"/>
            <a:ext cx="731738" cy="234879"/>
          </a:xfrm>
          <a:prstGeom prst="rect">
            <a:avLst/>
          </a:prstGeom>
        </p:spPr>
      </p:pic>
      <p:pic>
        <p:nvPicPr>
          <p:cNvPr id="18" name="Picture 17">
            <a:extLst>
              <a:ext uri="{FF2B5EF4-FFF2-40B4-BE49-F238E27FC236}">
                <a16:creationId xmlns:a16="http://schemas.microsoft.com/office/drawing/2014/main" id="{84B0B823-F5B3-4105-90C5-A53934862AA0}"/>
              </a:ext>
            </a:extLst>
          </p:cNvPr>
          <p:cNvPicPr>
            <a:picLocks noChangeAspect="1"/>
          </p:cNvPicPr>
          <p:nvPr/>
        </p:nvPicPr>
        <p:blipFill>
          <a:blip r:embed="rId7"/>
          <a:stretch>
            <a:fillRect/>
          </a:stretch>
        </p:blipFill>
        <p:spPr>
          <a:xfrm>
            <a:off x="2233364" y="5665112"/>
            <a:ext cx="573075" cy="344906"/>
          </a:xfrm>
          <a:prstGeom prst="rect">
            <a:avLst/>
          </a:prstGeom>
        </p:spPr>
      </p:pic>
      <p:pic>
        <p:nvPicPr>
          <p:cNvPr id="30" name="Picture 29">
            <a:extLst>
              <a:ext uri="{FF2B5EF4-FFF2-40B4-BE49-F238E27FC236}">
                <a16:creationId xmlns:a16="http://schemas.microsoft.com/office/drawing/2014/main" id="{8C969B13-BE01-4C51-B807-A7164E1317C0}"/>
              </a:ext>
            </a:extLst>
          </p:cNvPr>
          <p:cNvPicPr>
            <a:picLocks noChangeAspect="1"/>
          </p:cNvPicPr>
          <p:nvPr/>
        </p:nvPicPr>
        <p:blipFill>
          <a:blip r:embed="rId8"/>
          <a:stretch>
            <a:fillRect/>
          </a:stretch>
        </p:blipFill>
        <p:spPr>
          <a:xfrm>
            <a:off x="7954744" y="2642183"/>
            <a:ext cx="913547" cy="308716"/>
          </a:xfrm>
          <a:prstGeom prst="rect">
            <a:avLst/>
          </a:prstGeom>
        </p:spPr>
      </p:pic>
      <p:sp>
        <p:nvSpPr>
          <p:cNvPr id="2" name="TextBox 1">
            <a:extLst>
              <a:ext uri="{FF2B5EF4-FFF2-40B4-BE49-F238E27FC236}">
                <a16:creationId xmlns:a16="http://schemas.microsoft.com/office/drawing/2014/main" id="{EECBD3D7-1F7A-421B-9351-CECBCDABD930}"/>
              </a:ext>
            </a:extLst>
          </p:cNvPr>
          <p:cNvSpPr txBox="1"/>
          <p:nvPr/>
        </p:nvSpPr>
        <p:spPr>
          <a:xfrm>
            <a:off x="5599652" y="4073827"/>
            <a:ext cx="608414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a:ea typeface="+mn-ea"/>
                <a:cs typeface="+mn-cs"/>
              </a:rPr>
              <a:t>Teams uses machine learning to analyze, gain insights and improve the quality of calls. We use AutoML to significantly scale up the application of ML solutions by semi-automating model train tasks</a:t>
            </a:r>
          </a:p>
        </p:txBody>
      </p:sp>
      <p:sp>
        <p:nvSpPr>
          <p:cNvPr id="4" name="TextBox 3">
            <a:extLst>
              <a:ext uri="{FF2B5EF4-FFF2-40B4-BE49-F238E27FC236}">
                <a16:creationId xmlns:a16="http://schemas.microsoft.com/office/drawing/2014/main" id="{D03ED537-ADD1-49B2-855D-C97229A507EC}"/>
              </a:ext>
            </a:extLst>
          </p:cNvPr>
          <p:cNvSpPr txBox="1"/>
          <p:nvPr/>
        </p:nvSpPr>
        <p:spPr>
          <a:xfrm>
            <a:off x="5647359" y="2875758"/>
            <a:ext cx="6261988"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a:ea typeface="+mn-ea"/>
                <a:cs typeface="+mn-cs"/>
              </a:rPr>
              <a:t>We tried </a:t>
            </a:r>
            <a:r>
              <a:rPr kumimoji="0" lang="en-US" sz="1000" b="0" i="0" u="none" strike="noStrike" kern="1200" cap="none" spc="0" normalizeH="0" baseline="0" noProof="0" err="1">
                <a:ln>
                  <a:noFill/>
                </a:ln>
                <a:solidFill>
                  <a:srgbClr val="3C3C41"/>
                </a:solidFill>
                <a:effectLst/>
                <a:uLnTx/>
                <a:uFillTx/>
                <a:latin typeface="Segoe UI"/>
                <a:ea typeface="+mn-ea"/>
                <a:cs typeface="+mn-cs"/>
              </a:rPr>
              <a:t>AutoML</a:t>
            </a:r>
            <a:r>
              <a:rPr kumimoji="0" lang="en-US" sz="1000" b="0" i="0" u="none" strike="noStrike" kern="1200" cap="none" spc="0" normalizeH="0" baseline="0" noProof="0">
                <a:ln>
                  <a:noFill/>
                </a:ln>
                <a:solidFill>
                  <a:srgbClr val="3C3C41"/>
                </a:solidFill>
                <a:effectLst/>
                <a:uLnTx/>
                <a:uFillTx/>
                <a:latin typeface="Segoe UI"/>
                <a:ea typeface="+mn-ea"/>
                <a:cs typeface="+mn-cs"/>
              </a:rPr>
              <a:t> for aspect ratio model and pleased to see </a:t>
            </a:r>
            <a:r>
              <a:rPr kumimoji="0" lang="en-US" sz="1000" b="0" i="0" u="none" strike="noStrike" kern="1200" cap="none" spc="0" normalizeH="0" baseline="0" noProof="0" err="1">
                <a:ln>
                  <a:noFill/>
                </a:ln>
                <a:solidFill>
                  <a:srgbClr val="3C3C41"/>
                </a:solidFill>
                <a:effectLst/>
                <a:uLnTx/>
                <a:uFillTx/>
                <a:latin typeface="Segoe UI"/>
                <a:ea typeface="+mn-ea"/>
                <a:cs typeface="+mn-cs"/>
              </a:rPr>
              <a:t>AutoML</a:t>
            </a:r>
            <a:r>
              <a:rPr kumimoji="0" lang="en-US" sz="1000" b="0" i="0" u="none" strike="noStrike" kern="1200" cap="none" spc="0" normalizeH="0" baseline="0" noProof="0">
                <a:ln>
                  <a:noFill/>
                </a:ln>
                <a:solidFill>
                  <a:srgbClr val="3C3C41"/>
                </a:solidFill>
                <a:effectLst/>
                <a:uLnTx/>
                <a:uFillTx/>
                <a:latin typeface="Segoe UI"/>
                <a:ea typeface="+mn-ea"/>
                <a:cs typeface="+mn-cs"/>
              </a:rPr>
              <a:t> produced much better model than our baseline. We need to build almost 50 models and are looking forward to the productivity boost we will get by not hand tuning each one of them!</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F6FC6"/>
                </a:solidFill>
                <a:effectLst/>
                <a:uLnTx/>
                <a:uFillTx/>
                <a:latin typeface="Segoe UI"/>
                <a:ea typeface="+mn-ea"/>
                <a:cs typeface="+mn-cs"/>
              </a:rPr>
              <a:t>Saurabh Naik, Sr. Software Engineer</a:t>
            </a:r>
          </a:p>
        </p:txBody>
      </p:sp>
      <p:sp>
        <p:nvSpPr>
          <p:cNvPr id="7" name="Rectangle 6">
            <a:extLst>
              <a:ext uri="{FF2B5EF4-FFF2-40B4-BE49-F238E27FC236}">
                <a16:creationId xmlns:a16="http://schemas.microsoft.com/office/drawing/2014/main" id="{EC842433-E89B-4679-8B18-F6110387510E}"/>
              </a:ext>
            </a:extLst>
          </p:cNvPr>
          <p:cNvSpPr/>
          <p:nvPr/>
        </p:nvSpPr>
        <p:spPr>
          <a:xfrm>
            <a:off x="65432" y="929043"/>
            <a:ext cx="5202509" cy="66941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C3C41"/>
                </a:solidFill>
                <a:effectLst/>
                <a:uLnTx/>
                <a:uFillTx/>
                <a:latin typeface="Segoe UI"/>
                <a:ea typeface="+mn-ea"/>
                <a:cs typeface="+mn-cs"/>
              </a:rPr>
              <a:t>With one line of code, it runs through different algorithms within the prediction family and the different parameter (or variable) combos that previously were manually tested by the scientists. The power of the cloud comes in here. The results are comparable to what the data scientists produced.</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F6FC6"/>
                </a:solidFill>
                <a:effectLst/>
                <a:uLnTx/>
                <a:uFillTx/>
                <a:latin typeface="Segoe UI"/>
                <a:ea typeface="+mn-ea"/>
                <a:cs typeface="+mn-cs"/>
              </a:rPr>
              <a:t>Manish Naik, BP, Digital Innovation</a:t>
            </a:r>
          </a:p>
        </p:txBody>
      </p:sp>
      <p:sp>
        <p:nvSpPr>
          <p:cNvPr id="16" name="Rectangle 15">
            <a:extLst>
              <a:ext uri="{FF2B5EF4-FFF2-40B4-BE49-F238E27FC236}">
                <a16:creationId xmlns:a16="http://schemas.microsoft.com/office/drawing/2014/main" id="{70C26426-E38B-4066-9B37-6F7521CF5546}"/>
              </a:ext>
            </a:extLst>
          </p:cNvPr>
          <p:cNvSpPr/>
          <p:nvPr/>
        </p:nvSpPr>
        <p:spPr>
          <a:xfrm>
            <a:off x="89045" y="5919281"/>
            <a:ext cx="5206523" cy="86177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3C3C41"/>
                </a:solidFill>
                <a:effectLst/>
                <a:uLnTx/>
                <a:uFillTx/>
                <a:latin typeface="Segoe UI"/>
                <a:ea typeface="+mn-ea"/>
                <a:cs typeface="+mn-cs"/>
              </a:rPr>
              <a:t>AutoML</a:t>
            </a:r>
            <a:r>
              <a:rPr kumimoji="0" lang="en-US" sz="1000" b="0" i="0" u="none" strike="noStrike" kern="1200" cap="none" spc="0" normalizeH="0" baseline="0" noProof="0">
                <a:ln>
                  <a:noFill/>
                </a:ln>
                <a:solidFill>
                  <a:srgbClr val="3C3C41"/>
                </a:solidFill>
                <a:effectLst/>
                <a:uLnTx/>
                <a:uFillTx/>
                <a:latin typeface="Segoe UI"/>
                <a:ea typeface="+mn-ea"/>
                <a:cs typeface="+mn-cs"/>
              </a:rPr>
              <a:t> resulted in a significant improvement in model performance (1) Consistently produced better models than other automated ml libraries (TPOT) (2) Also outperformed hand-tuned models. </a:t>
            </a:r>
            <a:r>
              <a:rPr kumimoji="0" lang="en-US" sz="1000" b="0" i="0" u="none" strike="noStrike" kern="1200" cap="none" spc="0" normalizeH="0" baseline="0" noProof="0" err="1">
                <a:ln>
                  <a:noFill/>
                </a:ln>
                <a:solidFill>
                  <a:srgbClr val="3C3C41"/>
                </a:solidFill>
                <a:effectLst/>
                <a:uLnTx/>
                <a:uFillTx/>
                <a:latin typeface="Segoe UI"/>
                <a:ea typeface="+mn-ea"/>
                <a:cs typeface="+mn-cs"/>
              </a:rPr>
              <a:t>AutoML</a:t>
            </a:r>
            <a:r>
              <a:rPr kumimoji="0" lang="en-US" sz="1000" b="0" i="0" u="none" strike="noStrike" kern="1200" cap="none" spc="0" normalizeH="0" baseline="0" noProof="0">
                <a:ln>
                  <a:noFill/>
                </a:ln>
                <a:solidFill>
                  <a:srgbClr val="3C3C41"/>
                </a:solidFill>
                <a:effectLst/>
                <a:uLnTx/>
                <a:uFillTx/>
                <a:latin typeface="Segoe UI"/>
                <a:ea typeface="+mn-ea"/>
                <a:cs typeface="+mn-cs"/>
              </a:rPr>
              <a:t> explored a solution space larger than what was plausible to do manually</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F6FC6"/>
                </a:solidFill>
                <a:effectLst/>
                <a:uLnTx/>
                <a:uFillTx/>
                <a:latin typeface="Segoe UI"/>
                <a:ea typeface="+mn-ea"/>
                <a:cs typeface="+mn-cs"/>
              </a:rPr>
              <a:t>David Robinson, Devon Energy Data Scientist</a:t>
            </a:r>
          </a:p>
        </p:txBody>
      </p:sp>
      <p:sp>
        <p:nvSpPr>
          <p:cNvPr id="29" name="Title 7">
            <a:extLst>
              <a:ext uri="{FF2B5EF4-FFF2-40B4-BE49-F238E27FC236}">
                <a16:creationId xmlns:a16="http://schemas.microsoft.com/office/drawing/2014/main" id="{688567F5-A218-4285-ADDF-8C7FC1954EE8}"/>
              </a:ext>
            </a:extLst>
          </p:cNvPr>
          <p:cNvSpPr txBox="1">
            <a:spLocks/>
          </p:cNvSpPr>
          <p:nvPr/>
        </p:nvSpPr>
        <p:spPr>
          <a:xfrm>
            <a:off x="0" y="1"/>
            <a:ext cx="12192000" cy="515685"/>
          </a:xfrm>
          <a:prstGeom prst="rect">
            <a:avLst/>
          </a:prstGeom>
          <a:solidFill>
            <a:schemeClr val="accent1"/>
          </a:solidFill>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3C3C41"/>
                </a:solidFill>
                <a:effectLst/>
                <a:uLnTx/>
                <a:uFillTx/>
                <a:latin typeface="Segoe UI Semibold"/>
                <a:ea typeface="+mj-ea"/>
                <a:cs typeface="+mj-cs"/>
              </a:rPr>
              <a:t>Customer Testimonials</a:t>
            </a:r>
          </a:p>
        </p:txBody>
      </p:sp>
      <p:pic>
        <p:nvPicPr>
          <p:cNvPr id="1027" name="Picture 10" descr="image004">
            <a:extLst>
              <a:ext uri="{FF2B5EF4-FFF2-40B4-BE49-F238E27FC236}">
                <a16:creationId xmlns:a16="http://schemas.microsoft.com/office/drawing/2014/main" id="{8C64CA59-B307-4850-9E19-090A2C31330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06928" y="564404"/>
            <a:ext cx="1276350"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A666418F-2176-4D91-8F10-2B3E0AABFD60}"/>
              </a:ext>
            </a:extLst>
          </p:cNvPr>
          <p:cNvSpPr/>
          <p:nvPr/>
        </p:nvSpPr>
        <p:spPr>
          <a:xfrm>
            <a:off x="5647358" y="978759"/>
            <a:ext cx="6544641" cy="1681422"/>
          </a:xfrm>
          <a:prstGeom prst="rect">
            <a:avLst/>
          </a:prstGeom>
        </p:spPr>
        <p:txBody>
          <a:bodyPr wrap="square">
            <a:spAutoFit/>
          </a:bodyPr>
          <a:lstStyle/>
          <a:p>
            <a:pPr marL="0" marR="0" lvl="0" indent="0" algn="l" defTabSz="914400" rtl="0" eaLnBrk="1" fontAlgn="auto" latinLnBrk="0" hangingPunct="1">
              <a:lnSpc>
                <a:spcPct val="105000"/>
              </a:lnSpc>
              <a:spcBef>
                <a:spcPts val="0"/>
              </a:spcBef>
              <a:spcAft>
                <a:spcPts val="8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a:ea typeface="+mn-ea"/>
                <a:cs typeface="+mn-cs"/>
              </a:rPr>
              <a:t>The reason we see the sharp uplift in sales is the customers are getting content that really connects with them, and they're getting offers for things that are truly relevant and relevant at that moment in time…. Microsoft—they are really wanting to be our partners and were really going to help us on this journey, which was very differentiating </a:t>
            </a:r>
          </a:p>
          <a:p>
            <a:pPr marL="0" marR="0" lvl="0" indent="0" algn="r" defTabSz="914400" rtl="0" eaLnBrk="1" fontAlgn="auto" latinLnBrk="0" hangingPunct="1">
              <a:lnSpc>
                <a:spcPct val="105000"/>
              </a:lnSpc>
              <a:spcBef>
                <a:spcPts val="0"/>
              </a:spcBef>
              <a:spcAft>
                <a:spcPts val="800"/>
              </a:spcAft>
              <a:buClrTx/>
              <a:buSzTx/>
              <a:buFontTx/>
              <a:buNone/>
              <a:tabLst/>
              <a:defRPr/>
            </a:pPr>
            <a:r>
              <a:rPr kumimoji="0" lang="en-US" sz="1000" b="0" i="0" u="none" strike="noStrike" kern="1200" cap="none" spc="0" normalizeH="0" baseline="0" noProof="0">
                <a:ln>
                  <a:noFill/>
                </a:ln>
                <a:solidFill>
                  <a:srgbClr val="0F6FC6"/>
                </a:solidFill>
                <a:effectLst/>
                <a:uLnTx/>
                <a:uFillTx/>
                <a:latin typeface="Segoe UI"/>
                <a:ea typeface="+mn-ea"/>
                <a:cs typeface="+mn-cs"/>
              </a:rPr>
              <a:t>Daniel Humble, Chief Data and Analytics Officer, Walgreens Boots Alliance </a:t>
            </a:r>
          </a:p>
          <a:p>
            <a:pPr marL="0" marR="0" lvl="0" indent="0" algn="l" defTabSz="914400" rtl="0" eaLnBrk="1" fontAlgn="auto" latinLnBrk="0" hangingPunct="1">
              <a:lnSpc>
                <a:spcPct val="105000"/>
              </a:lnSpc>
              <a:spcBef>
                <a:spcPts val="0"/>
              </a:spcBef>
              <a:spcAft>
                <a:spcPts val="8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a:ea typeface="+mn-ea"/>
                <a:cs typeface="+mn-cs"/>
              </a:rPr>
              <a:t>If I have 200 models to train—I can just do this all at once. It can be farmed out to a huge computer cluster, and it can be done in minutes so I'm not waiting for days or setting experiments to run over the weekend anymore. </a:t>
            </a:r>
          </a:p>
          <a:p>
            <a:pPr marL="0" marR="0" lvl="0" indent="0" algn="r" defTabSz="914400" rtl="0" eaLnBrk="1" fontAlgn="auto" latinLnBrk="0" hangingPunct="1">
              <a:lnSpc>
                <a:spcPct val="105000"/>
              </a:lnSpc>
              <a:spcBef>
                <a:spcPts val="0"/>
              </a:spcBef>
              <a:spcAft>
                <a:spcPts val="800"/>
              </a:spcAft>
              <a:buClrTx/>
              <a:buSzTx/>
              <a:buFontTx/>
              <a:buNone/>
              <a:tabLst/>
              <a:defRPr/>
            </a:pPr>
            <a:r>
              <a:rPr kumimoji="0" lang="en-US" sz="1000" b="0" i="0" u="none" strike="noStrike" kern="1200" cap="none" spc="0" normalizeH="0" baseline="0" noProof="0">
                <a:ln>
                  <a:noFill/>
                </a:ln>
                <a:solidFill>
                  <a:srgbClr val="0F6FC6"/>
                </a:solidFill>
                <a:effectLst/>
                <a:uLnTx/>
                <a:uFillTx/>
                <a:latin typeface="Segoe UI"/>
                <a:ea typeface="+mn-ea"/>
                <a:cs typeface="+mn-cs"/>
              </a:rPr>
              <a:t>Dean </a:t>
            </a:r>
            <a:r>
              <a:rPr kumimoji="0" lang="en-US" sz="1000" b="0" i="0" u="none" strike="noStrike" kern="1200" cap="none" spc="0" normalizeH="0" baseline="0" noProof="0" err="1">
                <a:ln>
                  <a:noFill/>
                </a:ln>
                <a:solidFill>
                  <a:srgbClr val="0F6FC6"/>
                </a:solidFill>
                <a:effectLst/>
                <a:uLnTx/>
                <a:uFillTx/>
                <a:latin typeface="Segoe UI"/>
                <a:ea typeface="+mn-ea"/>
                <a:cs typeface="+mn-cs"/>
              </a:rPr>
              <a:t>Riddlesden</a:t>
            </a:r>
            <a:r>
              <a:rPr kumimoji="0" lang="en-US" sz="1000" b="0" i="0" u="none" strike="noStrike" kern="1200" cap="none" spc="0" normalizeH="0" baseline="0" noProof="0">
                <a:ln>
                  <a:noFill/>
                </a:ln>
                <a:solidFill>
                  <a:srgbClr val="0F6FC6"/>
                </a:solidFill>
                <a:effectLst/>
                <a:uLnTx/>
                <a:uFillTx/>
                <a:latin typeface="Segoe UI"/>
                <a:ea typeface="+mn-ea"/>
                <a:cs typeface="+mn-cs"/>
              </a:rPr>
              <a:t>, Senior Data Scientist, Walgreens Boots Alliance </a:t>
            </a:r>
          </a:p>
        </p:txBody>
      </p:sp>
      <p:sp>
        <p:nvSpPr>
          <p:cNvPr id="9" name="Rectangle 8">
            <a:extLst>
              <a:ext uri="{FF2B5EF4-FFF2-40B4-BE49-F238E27FC236}">
                <a16:creationId xmlns:a16="http://schemas.microsoft.com/office/drawing/2014/main" id="{B59798EC-917E-4E05-8BFB-A30E1499A266}"/>
              </a:ext>
            </a:extLst>
          </p:cNvPr>
          <p:cNvSpPr/>
          <p:nvPr/>
        </p:nvSpPr>
        <p:spPr>
          <a:xfrm>
            <a:off x="79971" y="3802750"/>
            <a:ext cx="5654138"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a:ea typeface="+mn-ea"/>
                <a:cs typeface="+mn-cs"/>
              </a:rPr>
              <a:t>In evaluating Azure Automated ML we discovered real potential in shortening the time to market for producing predictive models. The availability of the Automated ML UI also holds the promise of opening the ML space to non data science trained resources which in turn allows the democratizing of the predictive work without the pain of hiring expensive/ hard to retain staff.</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F6FC6"/>
              </a:solidFill>
              <a:effectLst/>
              <a:uLnTx/>
              <a:uFillTx/>
              <a:latin typeface="Segoe UI"/>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F6FC6"/>
                </a:solidFill>
                <a:effectLst/>
                <a:uLnTx/>
                <a:uFillTx/>
                <a:latin typeface="Segoe UI"/>
                <a:ea typeface="+mn-ea"/>
                <a:cs typeface="+mn-cs"/>
              </a:rPr>
              <a:t>Bogdan </a:t>
            </a:r>
            <a:r>
              <a:rPr kumimoji="0" lang="en-US" sz="1000" b="0" i="0" u="none" strike="noStrike" kern="1200" cap="none" spc="0" normalizeH="0" baseline="0" noProof="0" err="1">
                <a:ln>
                  <a:noFill/>
                </a:ln>
                <a:solidFill>
                  <a:srgbClr val="0F6FC6"/>
                </a:solidFill>
                <a:effectLst/>
                <a:uLnTx/>
                <a:uFillTx/>
                <a:latin typeface="Segoe UI"/>
                <a:ea typeface="+mn-ea"/>
                <a:cs typeface="+mn-cs"/>
              </a:rPr>
              <a:t>Rosca</a:t>
            </a:r>
            <a:r>
              <a:rPr kumimoji="0" lang="en-US" sz="1000" b="0" i="0" u="none" strike="noStrike" kern="1200" cap="none" spc="0" normalizeH="0" baseline="0" noProof="0">
                <a:ln>
                  <a:noFill/>
                </a:ln>
                <a:solidFill>
                  <a:srgbClr val="0F6FC6"/>
                </a:solidFill>
                <a:effectLst/>
                <a:uLnTx/>
                <a:uFillTx/>
                <a:latin typeface="Segoe UI"/>
                <a:ea typeface="+mn-ea"/>
                <a:cs typeface="+mn-cs"/>
              </a:rPr>
              <a:t>, Senior Director, Principal Information Architect</a:t>
            </a:r>
          </a:p>
        </p:txBody>
      </p:sp>
      <p:sp>
        <p:nvSpPr>
          <p:cNvPr id="10" name="Rectangle 9">
            <a:extLst>
              <a:ext uri="{FF2B5EF4-FFF2-40B4-BE49-F238E27FC236}">
                <a16:creationId xmlns:a16="http://schemas.microsoft.com/office/drawing/2014/main" id="{F60F2BDD-DCE4-4D43-A9DC-46B66DC2098A}"/>
              </a:ext>
            </a:extLst>
          </p:cNvPr>
          <p:cNvSpPr/>
          <p:nvPr/>
        </p:nvSpPr>
        <p:spPr>
          <a:xfrm>
            <a:off x="65432" y="5165192"/>
            <a:ext cx="5537786"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a:ea typeface="+mn-ea"/>
                <a:cs typeface="+mn-cs"/>
              </a:rPr>
              <a:t>We see advantages moving over to Azure </a:t>
            </a:r>
            <a:r>
              <a:rPr kumimoji="0" lang="en-US" sz="1000" b="0" i="0" u="none" strike="noStrike" kern="1200" cap="none" spc="0" normalizeH="0" baseline="0" noProof="0" err="1">
                <a:ln>
                  <a:noFill/>
                </a:ln>
                <a:solidFill>
                  <a:srgbClr val="3C3C41"/>
                </a:solidFill>
                <a:effectLst/>
                <a:uLnTx/>
                <a:uFillTx/>
                <a:latin typeface="Segoe UI"/>
                <a:ea typeface="+mn-ea"/>
                <a:cs typeface="+mn-cs"/>
              </a:rPr>
              <a:t>AutoML</a:t>
            </a:r>
            <a:r>
              <a:rPr kumimoji="0" lang="en-US" sz="1000" b="0" i="0" u="none" strike="noStrike" kern="1200" cap="none" spc="0" normalizeH="0" baseline="0" noProof="0">
                <a:ln>
                  <a:noFill/>
                </a:ln>
                <a:solidFill>
                  <a:srgbClr val="3C3C41"/>
                </a:solidFill>
                <a:effectLst/>
                <a:uLnTx/>
                <a:uFillTx/>
                <a:latin typeface="Segoe UI"/>
                <a:ea typeface="+mn-ea"/>
                <a:cs typeface="+mn-cs"/>
              </a:rPr>
              <a:t> because we think we will be able to increase our speed to create models significantly and do more with less in terms of labor hour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F6FC6"/>
                </a:solidFill>
                <a:effectLst/>
                <a:uLnTx/>
                <a:uFillTx/>
                <a:latin typeface="Segoe UI"/>
                <a:ea typeface="+mn-ea"/>
                <a:cs typeface="+mn-cs"/>
              </a:rPr>
              <a:t>Dan </a:t>
            </a:r>
            <a:r>
              <a:rPr kumimoji="0" lang="en-US" sz="1000" b="0" i="0" u="none" strike="noStrike" kern="1200" cap="none" spc="0" normalizeH="0" baseline="0" noProof="0" err="1">
                <a:ln>
                  <a:noFill/>
                </a:ln>
                <a:solidFill>
                  <a:srgbClr val="0F6FC6"/>
                </a:solidFill>
                <a:effectLst/>
                <a:uLnTx/>
                <a:uFillTx/>
                <a:latin typeface="Segoe UI"/>
                <a:ea typeface="+mn-ea"/>
                <a:cs typeface="+mn-cs"/>
              </a:rPr>
              <a:t>Metzendorf</a:t>
            </a:r>
            <a:r>
              <a:rPr kumimoji="0" lang="en-US" sz="1000" b="0" i="0" u="none" strike="noStrike" kern="1200" cap="none" spc="0" normalizeH="0" baseline="0" noProof="0">
                <a:ln>
                  <a:noFill/>
                </a:ln>
                <a:solidFill>
                  <a:srgbClr val="0F6FC6"/>
                </a:solidFill>
                <a:effectLst/>
                <a:uLnTx/>
                <a:uFillTx/>
                <a:latin typeface="Segoe UI"/>
                <a:ea typeface="+mn-ea"/>
                <a:cs typeface="+mn-cs"/>
              </a:rPr>
              <a:t>, Data Science Manager, The Sherwin Williams Company</a:t>
            </a:r>
          </a:p>
        </p:txBody>
      </p:sp>
      <p:pic>
        <p:nvPicPr>
          <p:cNvPr id="1030" name="Picture 9" descr="image006">
            <a:extLst>
              <a:ext uri="{FF2B5EF4-FFF2-40B4-BE49-F238E27FC236}">
                <a16:creationId xmlns:a16="http://schemas.microsoft.com/office/drawing/2014/main" id="{12F151AC-B814-4FC6-9492-3B30EC71A97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77106" y="4885521"/>
            <a:ext cx="298450"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2">
            <a:extLst>
              <a:ext uri="{FF2B5EF4-FFF2-40B4-BE49-F238E27FC236}">
                <a16:creationId xmlns:a16="http://schemas.microsoft.com/office/drawing/2014/main" id="{4D1E3F4A-38C1-4F43-9D6E-DB2CE2D9FE6E}"/>
              </a:ext>
            </a:extLst>
          </p:cNvPr>
          <p:cNvSpPr/>
          <p:nvPr/>
        </p:nvSpPr>
        <p:spPr>
          <a:xfrm>
            <a:off x="105195" y="1762712"/>
            <a:ext cx="5202509" cy="66941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C3C41"/>
                </a:solidFill>
                <a:effectLst/>
                <a:uLnTx/>
                <a:uFillTx/>
                <a:latin typeface="Segoe UI"/>
                <a:ea typeface="+mn-ea"/>
                <a:cs typeface="+mn-cs"/>
              </a:rPr>
              <a:t>Auto ML’s execution of different models was an impressive that enabled data scientists to work </a:t>
            </a:r>
            <a:r>
              <a:rPr kumimoji="0" lang="en-US" sz="900" b="0" i="0" u="none" strike="noStrike" kern="1200" cap="none" spc="0" normalizeH="0" baseline="0" noProof="0">
                <a:ln>
                  <a:noFill/>
                </a:ln>
                <a:solidFill>
                  <a:srgbClr val="FF0000"/>
                </a:solidFill>
                <a:effectLst/>
                <a:uLnTx/>
                <a:uFillTx/>
                <a:latin typeface="Segoe UI"/>
                <a:ea typeface="+mn-ea"/>
                <a:cs typeface="+mn-cs"/>
              </a:rPr>
              <a:t>iteratively</a:t>
            </a:r>
            <a:r>
              <a:rPr kumimoji="0" lang="en-US" sz="900" b="0" i="0" u="none" strike="noStrike" kern="1200" cap="none" spc="0" normalizeH="0" baseline="0" noProof="0">
                <a:ln>
                  <a:noFill/>
                </a:ln>
                <a:solidFill>
                  <a:srgbClr val="3C3C41"/>
                </a:solidFill>
                <a:effectLst/>
                <a:uLnTx/>
                <a:uFillTx/>
                <a:latin typeface="Segoe UI"/>
                <a:ea typeface="+mn-ea"/>
                <a:cs typeface="+mn-cs"/>
              </a:rPr>
              <a:t> on machine learning experiments to increase auction sales by 10% and optimize the time auction cars are kept in the showroom to less than 30 day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SG" sz="1000" b="0" i="0" u="none" strike="noStrike" kern="1200" cap="none" spc="0" normalizeH="0" baseline="0" noProof="0" err="1">
                <a:ln>
                  <a:noFill/>
                </a:ln>
                <a:solidFill>
                  <a:srgbClr val="0F6FC6"/>
                </a:solidFill>
                <a:effectLst/>
                <a:uLnTx/>
                <a:uFillTx/>
                <a:latin typeface="Segoe UI"/>
                <a:ea typeface="+mn-ea"/>
                <a:cs typeface="+mn-cs"/>
              </a:rPr>
              <a:t>Farika</a:t>
            </a:r>
            <a:r>
              <a:rPr kumimoji="0" lang="en-SG" sz="1000" b="0" i="0" u="none" strike="noStrike" kern="1200" cap="none" spc="0" normalizeH="0" baseline="0" noProof="0">
                <a:ln>
                  <a:noFill/>
                </a:ln>
                <a:solidFill>
                  <a:srgbClr val="0F6FC6"/>
                </a:solidFill>
                <a:effectLst/>
                <a:uLnTx/>
                <a:uFillTx/>
                <a:latin typeface="Segoe UI"/>
                <a:ea typeface="+mn-ea"/>
                <a:cs typeface="+mn-cs"/>
              </a:rPr>
              <a:t> Maharani, </a:t>
            </a:r>
            <a:r>
              <a:rPr kumimoji="0" lang="en-US" sz="1000" b="0" i="0" u="none" strike="noStrike" kern="1200" cap="none" spc="0" normalizeH="0" baseline="0" noProof="0">
                <a:ln>
                  <a:noFill/>
                </a:ln>
                <a:solidFill>
                  <a:srgbClr val="0F6FC6"/>
                </a:solidFill>
                <a:effectLst/>
                <a:uLnTx/>
                <a:uFillTx/>
                <a:latin typeface="Segoe UI"/>
                <a:ea typeface="+mn-ea"/>
                <a:cs typeface="+mn-cs"/>
              </a:rPr>
              <a:t>PT. </a:t>
            </a:r>
            <a:r>
              <a:rPr kumimoji="0" lang="en-US" sz="1000" b="0" i="0" u="none" strike="noStrike" kern="1200" cap="none" spc="0" normalizeH="0" baseline="0" noProof="0" err="1">
                <a:ln>
                  <a:noFill/>
                </a:ln>
                <a:solidFill>
                  <a:srgbClr val="0F6FC6"/>
                </a:solidFill>
                <a:effectLst/>
                <a:uLnTx/>
                <a:uFillTx/>
                <a:latin typeface="Segoe UI"/>
                <a:ea typeface="+mn-ea"/>
                <a:cs typeface="+mn-cs"/>
              </a:rPr>
              <a:t>Serasi</a:t>
            </a:r>
            <a:r>
              <a:rPr kumimoji="0" lang="en-US" sz="1000" b="0" i="0" u="none" strike="noStrike" kern="1200" cap="none" spc="0" normalizeH="0" baseline="0" noProof="0">
                <a:ln>
                  <a:noFill/>
                </a:ln>
                <a:solidFill>
                  <a:srgbClr val="0F6FC6"/>
                </a:solidFill>
                <a:effectLst/>
                <a:uLnTx/>
                <a:uFillTx/>
                <a:latin typeface="Segoe UI"/>
                <a:ea typeface="+mn-ea"/>
                <a:cs typeface="+mn-cs"/>
              </a:rPr>
              <a:t> </a:t>
            </a:r>
            <a:r>
              <a:rPr kumimoji="0" lang="en-US" sz="1000" b="0" i="0" u="none" strike="noStrike" kern="1200" cap="none" spc="0" normalizeH="0" baseline="0" noProof="0" err="1">
                <a:ln>
                  <a:noFill/>
                </a:ln>
                <a:solidFill>
                  <a:srgbClr val="0F6FC6"/>
                </a:solidFill>
                <a:effectLst/>
                <a:uLnTx/>
                <a:uFillTx/>
                <a:latin typeface="Segoe UI"/>
                <a:ea typeface="+mn-ea"/>
                <a:cs typeface="+mn-cs"/>
              </a:rPr>
              <a:t>Autoraya</a:t>
            </a:r>
            <a:r>
              <a:rPr kumimoji="0" lang="en-US" sz="1000" b="0" i="0" u="none" strike="noStrike" kern="1200" cap="none" spc="0" normalizeH="0" baseline="0" noProof="0">
                <a:ln>
                  <a:noFill/>
                </a:ln>
                <a:solidFill>
                  <a:srgbClr val="0F6FC6"/>
                </a:solidFill>
                <a:effectLst/>
                <a:uLnTx/>
                <a:uFillTx/>
                <a:latin typeface="Segoe UI"/>
                <a:ea typeface="+mn-ea"/>
                <a:cs typeface="+mn-cs"/>
              </a:rPr>
              <a:t>, </a:t>
            </a:r>
            <a:r>
              <a:rPr kumimoji="0" lang="en-SG" sz="1000" b="0" i="0" u="none" strike="noStrike" kern="1200" cap="none" spc="0" normalizeH="0" baseline="0" noProof="0">
                <a:ln>
                  <a:noFill/>
                </a:ln>
                <a:solidFill>
                  <a:srgbClr val="0F6FC6"/>
                </a:solidFill>
                <a:effectLst/>
                <a:uLnTx/>
                <a:uFillTx/>
                <a:latin typeface="Segoe UI"/>
                <a:ea typeface="+mn-ea"/>
                <a:cs typeface="+mn-cs"/>
              </a:rPr>
              <a:t>Data Platform Supervisor</a:t>
            </a:r>
            <a:endParaRPr kumimoji="0" lang="en-US" sz="1000" b="0" i="0" u="none" strike="noStrike" kern="1200" cap="none" spc="0" normalizeH="0" baseline="0" noProof="0">
              <a:ln>
                <a:noFill/>
              </a:ln>
              <a:solidFill>
                <a:srgbClr val="0F6FC6"/>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342B023F-A325-4F41-AAEA-1978E2D36E18}"/>
              </a:ext>
            </a:extLst>
          </p:cNvPr>
          <p:cNvSpPr/>
          <p:nvPr/>
        </p:nvSpPr>
        <p:spPr>
          <a:xfrm>
            <a:off x="105195" y="2740847"/>
            <a:ext cx="5242272" cy="86177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a:ea typeface="+mn-ea"/>
                <a:cs typeface="+mn-cs"/>
              </a:rPr>
              <a:t>The CBRE AI and Data Engineering Team have successfully deployed a complete Azure Machine Learning model to their new API gateway leveraging the Azure </a:t>
            </a:r>
            <a:r>
              <a:rPr kumimoji="0" lang="en-US" sz="1000" b="0" i="0" u="none" strike="noStrike" kern="1200" cap="none" spc="0" normalizeH="0" baseline="0" noProof="0" err="1">
                <a:ln>
                  <a:noFill/>
                </a:ln>
                <a:solidFill>
                  <a:srgbClr val="3C3C41"/>
                </a:solidFill>
                <a:effectLst/>
                <a:uLnTx/>
                <a:uFillTx/>
                <a:latin typeface="Segoe UI"/>
                <a:ea typeface="+mn-ea"/>
                <a:cs typeface="+mn-cs"/>
              </a:rPr>
              <a:t>AutoML</a:t>
            </a:r>
            <a:r>
              <a:rPr kumimoji="0" lang="en-US" sz="1000" b="0" i="0" u="none" strike="noStrike" kern="1200" cap="none" spc="0" normalizeH="0" baseline="0" noProof="0">
                <a:ln>
                  <a:noFill/>
                </a:ln>
                <a:solidFill>
                  <a:srgbClr val="3C3C41"/>
                </a:solidFill>
                <a:effectLst/>
                <a:uLnTx/>
                <a:uFillTx/>
                <a:latin typeface="Segoe UI"/>
                <a:ea typeface="+mn-ea"/>
                <a:cs typeface="+mn-cs"/>
              </a:rPr>
              <a:t> solution in Azure Databricks. The API Gateway plus the model deployment goes into production this March.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F6FC6"/>
                </a:solidFill>
                <a:effectLst/>
                <a:uLnTx/>
                <a:uFillTx/>
                <a:latin typeface="Segoe UI"/>
                <a:ea typeface="+mn-ea"/>
                <a:cs typeface="+mn-cs"/>
              </a:rPr>
              <a:t>Francis </a:t>
            </a:r>
            <a:r>
              <a:rPr kumimoji="0" lang="en-US" sz="1000" b="0" i="0" u="none" strike="noStrike" kern="1200" cap="none" spc="0" normalizeH="0" baseline="0" noProof="0" err="1">
                <a:ln>
                  <a:noFill/>
                </a:ln>
                <a:solidFill>
                  <a:srgbClr val="0F6FC6"/>
                </a:solidFill>
                <a:effectLst/>
                <a:uLnTx/>
                <a:uFillTx/>
                <a:latin typeface="Segoe UI"/>
                <a:ea typeface="+mn-ea"/>
                <a:cs typeface="+mn-cs"/>
              </a:rPr>
              <a:t>Dogbey</a:t>
            </a:r>
            <a:r>
              <a:rPr kumimoji="0" lang="en-US" sz="1000" b="0" i="0" u="none" strike="noStrike" kern="1200" cap="none" spc="0" normalizeH="0" baseline="0" noProof="0">
                <a:ln>
                  <a:noFill/>
                </a:ln>
                <a:solidFill>
                  <a:srgbClr val="0F6FC6"/>
                </a:solidFill>
                <a:effectLst/>
                <a:uLnTx/>
                <a:uFillTx/>
                <a:latin typeface="Segoe UI"/>
                <a:ea typeface="+mn-ea"/>
                <a:cs typeface="+mn-cs"/>
              </a:rPr>
              <a:t>, Microsoft CSA</a:t>
            </a:r>
          </a:p>
        </p:txBody>
      </p:sp>
      <p:pic>
        <p:nvPicPr>
          <p:cNvPr id="25" name="Picture 8" descr="image008">
            <a:extLst>
              <a:ext uri="{FF2B5EF4-FFF2-40B4-BE49-F238E27FC236}">
                <a16:creationId xmlns:a16="http://schemas.microsoft.com/office/drawing/2014/main" id="{AAE547D1-79B1-4F09-837D-4D3C2BCCD63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42811" y="3520342"/>
            <a:ext cx="1047750"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683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96DDBC4-D523-4012-B10B-5D86458F9884}"/>
              </a:ext>
            </a:extLst>
          </p:cNvPr>
          <p:cNvSpPr>
            <a:spLocks noGrp="1"/>
          </p:cNvSpPr>
          <p:nvPr>
            <p:ph type="title"/>
          </p:nvPr>
        </p:nvSpPr>
        <p:spPr>
          <a:xfrm>
            <a:off x="1593671" y="3586942"/>
            <a:ext cx="9004658" cy="828148"/>
          </a:xfrm>
        </p:spPr>
        <p:txBody>
          <a:bodyPr anchor="ctr"/>
          <a:lstStyle/>
          <a:p>
            <a:pPr algn="ctr"/>
            <a:r>
              <a:rPr lang="en-US"/>
              <a:t>What’s new?</a:t>
            </a:r>
          </a:p>
        </p:txBody>
      </p:sp>
      <p:grpSp>
        <p:nvGrpSpPr>
          <p:cNvPr id="5" name="Group 4">
            <a:extLst>
              <a:ext uri="{FF2B5EF4-FFF2-40B4-BE49-F238E27FC236}">
                <a16:creationId xmlns:a16="http://schemas.microsoft.com/office/drawing/2014/main" id="{5725A2C8-9704-514C-A56C-D5B15A87D0FE}"/>
              </a:ext>
            </a:extLst>
          </p:cNvPr>
          <p:cNvGrpSpPr/>
          <p:nvPr/>
        </p:nvGrpSpPr>
        <p:grpSpPr>
          <a:xfrm>
            <a:off x="5388502" y="2147901"/>
            <a:ext cx="1414996" cy="1123157"/>
            <a:chOff x="4223626" y="2353385"/>
            <a:chExt cx="1173971" cy="931848"/>
          </a:xfrm>
        </p:grpSpPr>
        <p:grpSp>
          <p:nvGrpSpPr>
            <p:cNvPr id="6" name="Group 5">
              <a:extLst>
                <a:ext uri="{FF2B5EF4-FFF2-40B4-BE49-F238E27FC236}">
                  <a16:creationId xmlns:a16="http://schemas.microsoft.com/office/drawing/2014/main" id="{32B248E1-D684-8F49-A820-F2C65837B4E4}"/>
                </a:ext>
              </a:extLst>
            </p:cNvPr>
            <p:cNvGrpSpPr/>
            <p:nvPr/>
          </p:nvGrpSpPr>
          <p:grpSpPr>
            <a:xfrm>
              <a:off x="4273550" y="2402418"/>
              <a:ext cx="1079500" cy="840315"/>
              <a:chOff x="4273550" y="2402418"/>
              <a:chExt cx="1079500" cy="840315"/>
            </a:xfrm>
          </p:grpSpPr>
          <p:cxnSp>
            <p:nvCxnSpPr>
              <p:cNvPr id="15" name="Straight Connector 14">
                <a:extLst>
                  <a:ext uri="{FF2B5EF4-FFF2-40B4-BE49-F238E27FC236}">
                    <a16:creationId xmlns:a16="http://schemas.microsoft.com/office/drawing/2014/main" id="{A95E64BC-0BFE-0E44-A9CE-2D6482AF8641}"/>
                  </a:ext>
                </a:extLst>
              </p:cNvPr>
              <p:cNvCxnSpPr>
                <a:cxnSpLocks/>
              </p:cNvCxnSpPr>
              <p:nvPr/>
            </p:nvCxnSpPr>
            <p:spPr>
              <a:xfrm>
                <a:off x="4997450" y="2413000"/>
                <a:ext cx="355600" cy="232833"/>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 name="Straight Connector 15">
                <a:extLst>
                  <a:ext uri="{FF2B5EF4-FFF2-40B4-BE49-F238E27FC236}">
                    <a16:creationId xmlns:a16="http://schemas.microsoft.com/office/drawing/2014/main" id="{65CF55B8-06F9-DF47-B04A-6CFBF1AE2889}"/>
                  </a:ext>
                </a:extLst>
              </p:cNvPr>
              <p:cNvCxnSpPr>
                <a:cxnSpLocks/>
              </p:cNvCxnSpPr>
              <p:nvPr/>
            </p:nvCxnSpPr>
            <p:spPr>
              <a:xfrm>
                <a:off x="4997450" y="2413000"/>
                <a:ext cx="296333" cy="721783"/>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7" name="Straight Connector 16">
                <a:extLst>
                  <a:ext uri="{FF2B5EF4-FFF2-40B4-BE49-F238E27FC236}">
                    <a16:creationId xmlns:a16="http://schemas.microsoft.com/office/drawing/2014/main" id="{AA0A3CDC-A6D9-E74F-9380-44E9395F34FC}"/>
                  </a:ext>
                </a:extLst>
              </p:cNvPr>
              <p:cNvCxnSpPr>
                <a:cxnSpLocks/>
              </p:cNvCxnSpPr>
              <p:nvPr/>
            </p:nvCxnSpPr>
            <p:spPr>
              <a:xfrm flipV="1">
                <a:off x="4762500" y="3143250"/>
                <a:ext cx="520700" cy="86783"/>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8" name="Straight Connector 17">
                <a:extLst>
                  <a:ext uri="{FF2B5EF4-FFF2-40B4-BE49-F238E27FC236}">
                    <a16:creationId xmlns:a16="http://schemas.microsoft.com/office/drawing/2014/main" id="{F06365D7-6E28-AE4C-9E62-C842364A95D8}"/>
                  </a:ext>
                </a:extLst>
              </p:cNvPr>
              <p:cNvCxnSpPr>
                <a:cxnSpLocks/>
              </p:cNvCxnSpPr>
              <p:nvPr/>
            </p:nvCxnSpPr>
            <p:spPr>
              <a:xfrm flipV="1">
                <a:off x="5039783" y="2641600"/>
                <a:ext cx="300567" cy="241300"/>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 name="Straight Connector 18">
                <a:extLst>
                  <a:ext uri="{FF2B5EF4-FFF2-40B4-BE49-F238E27FC236}">
                    <a16:creationId xmlns:a16="http://schemas.microsoft.com/office/drawing/2014/main" id="{C57EF3EB-CCBD-BB42-9A38-2B4D023C5539}"/>
                  </a:ext>
                </a:extLst>
              </p:cNvPr>
              <p:cNvCxnSpPr>
                <a:cxnSpLocks/>
              </p:cNvCxnSpPr>
              <p:nvPr/>
            </p:nvCxnSpPr>
            <p:spPr>
              <a:xfrm flipV="1">
                <a:off x="4413250" y="2413001"/>
                <a:ext cx="571500" cy="126999"/>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 name="Straight Connector 19">
                <a:extLst>
                  <a:ext uri="{FF2B5EF4-FFF2-40B4-BE49-F238E27FC236}">
                    <a16:creationId xmlns:a16="http://schemas.microsoft.com/office/drawing/2014/main" id="{B3DC11BA-6C68-744E-90A0-E93DC87F2249}"/>
                  </a:ext>
                </a:extLst>
              </p:cNvPr>
              <p:cNvCxnSpPr>
                <a:cxnSpLocks/>
              </p:cNvCxnSpPr>
              <p:nvPr/>
            </p:nvCxnSpPr>
            <p:spPr>
              <a:xfrm flipV="1">
                <a:off x="4703233" y="2450099"/>
                <a:ext cx="251425" cy="248651"/>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1" name="Straight Connector 20">
                <a:extLst>
                  <a:ext uri="{FF2B5EF4-FFF2-40B4-BE49-F238E27FC236}">
                    <a16:creationId xmlns:a16="http://schemas.microsoft.com/office/drawing/2014/main" id="{BF2FD355-0DD5-6347-8583-22DEDC7A67AE}"/>
                  </a:ext>
                </a:extLst>
              </p:cNvPr>
              <p:cNvCxnSpPr>
                <a:cxnSpLocks/>
              </p:cNvCxnSpPr>
              <p:nvPr/>
            </p:nvCxnSpPr>
            <p:spPr>
              <a:xfrm flipV="1">
                <a:off x="4762500" y="2402418"/>
                <a:ext cx="232833" cy="821265"/>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 name="Straight Connector 21">
                <a:extLst>
                  <a:ext uri="{FF2B5EF4-FFF2-40B4-BE49-F238E27FC236}">
                    <a16:creationId xmlns:a16="http://schemas.microsoft.com/office/drawing/2014/main" id="{B54D5BEE-ED87-0F4A-91F4-F589C52F3FFA}"/>
                  </a:ext>
                </a:extLst>
              </p:cNvPr>
              <p:cNvCxnSpPr>
                <a:cxnSpLocks/>
              </p:cNvCxnSpPr>
              <p:nvPr/>
            </p:nvCxnSpPr>
            <p:spPr>
              <a:xfrm flipH="1" flipV="1">
                <a:off x="4273550" y="2984500"/>
                <a:ext cx="495300" cy="251883"/>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3" name="Straight Connector 22">
                <a:extLst>
                  <a:ext uri="{FF2B5EF4-FFF2-40B4-BE49-F238E27FC236}">
                    <a16:creationId xmlns:a16="http://schemas.microsoft.com/office/drawing/2014/main" id="{775B5FD0-E472-774D-8457-251D5C31DEFD}"/>
                  </a:ext>
                </a:extLst>
              </p:cNvPr>
              <p:cNvCxnSpPr>
                <a:cxnSpLocks/>
              </p:cNvCxnSpPr>
              <p:nvPr/>
            </p:nvCxnSpPr>
            <p:spPr>
              <a:xfrm flipH="1" flipV="1">
                <a:off x="4417483" y="2537884"/>
                <a:ext cx="647700" cy="338666"/>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 name="Straight Connector 23">
                <a:extLst>
                  <a:ext uri="{FF2B5EF4-FFF2-40B4-BE49-F238E27FC236}">
                    <a16:creationId xmlns:a16="http://schemas.microsoft.com/office/drawing/2014/main" id="{79BE64EB-1B1D-734F-91BA-A2C994661A20}"/>
                  </a:ext>
                </a:extLst>
              </p:cNvPr>
              <p:cNvCxnSpPr>
                <a:cxnSpLocks/>
              </p:cNvCxnSpPr>
              <p:nvPr/>
            </p:nvCxnSpPr>
            <p:spPr>
              <a:xfrm flipV="1">
                <a:off x="4277783" y="2874433"/>
                <a:ext cx="770467" cy="107950"/>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 name="Straight Connector 24">
                <a:extLst>
                  <a:ext uri="{FF2B5EF4-FFF2-40B4-BE49-F238E27FC236}">
                    <a16:creationId xmlns:a16="http://schemas.microsoft.com/office/drawing/2014/main" id="{AAAEFE72-548A-2E43-BB04-B5A224779E14}"/>
                  </a:ext>
                </a:extLst>
              </p:cNvPr>
              <p:cNvCxnSpPr>
                <a:cxnSpLocks/>
              </p:cNvCxnSpPr>
              <p:nvPr/>
            </p:nvCxnSpPr>
            <p:spPr>
              <a:xfrm flipH="1" flipV="1">
                <a:off x="4413250" y="2531533"/>
                <a:ext cx="353483" cy="698500"/>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6" name="Straight Connector 25">
                <a:extLst>
                  <a:ext uri="{FF2B5EF4-FFF2-40B4-BE49-F238E27FC236}">
                    <a16:creationId xmlns:a16="http://schemas.microsoft.com/office/drawing/2014/main" id="{46620B28-E1A8-0145-B566-BB6FB62D4072}"/>
                  </a:ext>
                </a:extLst>
              </p:cNvPr>
              <p:cNvCxnSpPr>
                <a:cxnSpLocks/>
              </p:cNvCxnSpPr>
              <p:nvPr/>
            </p:nvCxnSpPr>
            <p:spPr>
              <a:xfrm flipH="1" flipV="1">
                <a:off x="4715933" y="2698750"/>
                <a:ext cx="50800" cy="543983"/>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7" name="Straight Connector 26">
                <a:extLst>
                  <a:ext uri="{FF2B5EF4-FFF2-40B4-BE49-F238E27FC236}">
                    <a16:creationId xmlns:a16="http://schemas.microsoft.com/office/drawing/2014/main" id="{3D90210E-CA50-2949-8BA1-D02C7702496A}"/>
                  </a:ext>
                </a:extLst>
              </p:cNvPr>
              <p:cNvCxnSpPr>
                <a:cxnSpLocks/>
              </p:cNvCxnSpPr>
              <p:nvPr/>
            </p:nvCxnSpPr>
            <p:spPr>
              <a:xfrm flipH="1" flipV="1">
                <a:off x="5052483" y="2899834"/>
                <a:ext cx="234950" cy="218016"/>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 name="Straight Connector 27">
                <a:extLst>
                  <a:ext uri="{FF2B5EF4-FFF2-40B4-BE49-F238E27FC236}">
                    <a16:creationId xmlns:a16="http://schemas.microsoft.com/office/drawing/2014/main" id="{00A598E5-D697-AC4F-907C-88735AEF8062}"/>
                  </a:ext>
                </a:extLst>
              </p:cNvPr>
              <p:cNvCxnSpPr>
                <a:cxnSpLocks/>
              </p:cNvCxnSpPr>
              <p:nvPr/>
            </p:nvCxnSpPr>
            <p:spPr>
              <a:xfrm flipV="1">
                <a:off x="4762500" y="2876550"/>
                <a:ext cx="292101" cy="340783"/>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7" name="Oval 19">
              <a:extLst>
                <a:ext uri="{FF2B5EF4-FFF2-40B4-BE49-F238E27FC236}">
                  <a16:creationId xmlns:a16="http://schemas.microsoft.com/office/drawing/2014/main" id="{A515C96F-58BF-ED47-88CE-CA70963A1F2C}"/>
                </a:ext>
              </a:extLst>
            </p:cNvPr>
            <p:cNvSpPr>
              <a:spLocks noChangeArrowheads="1"/>
            </p:cNvSpPr>
            <p:nvPr/>
          </p:nvSpPr>
          <p:spPr bwMode="auto">
            <a:xfrm>
              <a:off x="4938065" y="2353385"/>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961">
                <a:gradFill>
                  <a:gsLst>
                    <a:gs pos="0">
                      <a:schemeClr val="tx1"/>
                    </a:gs>
                    <a:gs pos="100000">
                      <a:schemeClr val="tx1"/>
                    </a:gs>
                  </a:gsLst>
                  <a:lin ang="5400000" scaled="1"/>
                </a:gradFill>
              </a:endParaRPr>
            </a:p>
          </p:txBody>
        </p:sp>
        <p:sp useBgFill="1">
          <p:nvSpPr>
            <p:cNvPr id="8" name="Oval 19">
              <a:extLst>
                <a:ext uri="{FF2B5EF4-FFF2-40B4-BE49-F238E27FC236}">
                  <a16:creationId xmlns:a16="http://schemas.microsoft.com/office/drawing/2014/main" id="{7425EA27-1C1A-CA4B-B840-2589BC42C205}"/>
                </a:ext>
              </a:extLst>
            </p:cNvPr>
            <p:cNvSpPr>
              <a:spLocks noChangeArrowheads="1"/>
            </p:cNvSpPr>
            <p:nvPr/>
          </p:nvSpPr>
          <p:spPr bwMode="auto">
            <a:xfrm>
              <a:off x="5284290" y="2582712"/>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961">
                <a:gradFill>
                  <a:gsLst>
                    <a:gs pos="0">
                      <a:schemeClr val="tx1"/>
                    </a:gs>
                    <a:gs pos="100000">
                      <a:schemeClr val="tx1"/>
                    </a:gs>
                  </a:gsLst>
                  <a:lin ang="5400000" scaled="1"/>
                </a:gradFill>
              </a:endParaRPr>
            </a:p>
          </p:txBody>
        </p:sp>
        <p:sp useBgFill="1">
          <p:nvSpPr>
            <p:cNvPr id="9" name="Oval 19">
              <a:extLst>
                <a:ext uri="{FF2B5EF4-FFF2-40B4-BE49-F238E27FC236}">
                  <a16:creationId xmlns:a16="http://schemas.microsoft.com/office/drawing/2014/main" id="{170B9D61-514A-E34C-B4BC-91D1F4FD6C15}"/>
                </a:ext>
              </a:extLst>
            </p:cNvPr>
            <p:cNvSpPr>
              <a:spLocks noChangeArrowheads="1"/>
            </p:cNvSpPr>
            <p:nvPr/>
          </p:nvSpPr>
          <p:spPr bwMode="auto">
            <a:xfrm>
              <a:off x="4992571" y="2824202"/>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961">
                <a:gradFill>
                  <a:gsLst>
                    <a:gs pos="0">
                      <a:schemeClr val="tx1"/>
                    </a:gs>
                    <a:gs pos="100000">
                      <a:schemeClr val="tx1"/>
                    </a:gs>
                  </a:gsLst>
                  <a:lin ang="5400000" scaled="1"/>
                </a:gradFill>
              </a:endParaRPr>
            </a:p>
          </p:txBody>
        </p:sp>
        <p:sp useBgFill="1">
          <p:nvSpPr>
            <p:cNvPr id="10" name="Oval 19">
              <a:extLst>
                <a:ext uri="{FF2B5EF4-FFF2-40B4-BE49-F238E27FC236}">
                  <a16:creationId xmlns:a16="http://schemas.microsoft.com/office/drawing/2014/main" id="{E1691540-0A1F-D841-9621-83573E1931E1}"/>
                </a:ext>
              </a:extLst>
            </p:cNvPr>
            <p:cNvSpPr>
              <a:spLocks noChangeArrowheads="1"/>
            </p:cNvSpPr>
            <p:nvPr/>
          </p:nvSpPr>
          <p:spPr bwMode="auto">
            <a:xfrm>
              <a:off x="5227637" y="3071688"/>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961">
                <a:gradFill>
                  <a:gsLst>
                    <a:gs pos="0">
                      <a:schemeClr val="tx1"/>
                    </a:gs>
                    <a:gs pos="100000">
                      <a:schemeClr val="tx1"/>
                    </a:gs>
                  </a:gsLst>
                  <a:lin ang="5400000" scaled="1"/>
                </a:gradFill>
              </a:endParaRPr>
            </a:p>
          </p:txBody>
        </p:sp>
        <p:sp useBgFill="1">
          <p:nvSpPr>
            <p:cNvPr id="11" name="Oval 19">
              <a:extLst>
                <a:ext uri="{FF2B5EF4-FFF2-40B4-BE49-F238E27FC236}">
                  <a16:creationId xmlns:a16="http://schemas.microsoft.com/office/drawing/2014/main" id="{0EAA5D1A-B071-5C4F-BCC6-1E54C8D4D3EF}"/>
                </a:ext>
              </a:extLst>
            </p:cNvPr>
            <p:cNvSpPr>
              <a:spLocks noChangeArrowheads="1"/>
            </p:cNvSpPr>
            <p:nvPr/>
          </p:nvSpPr>
          <p:spPr bwMode="auto">
            <a:xfrm>
              <a:off x="4703544" y="3171926"/>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961">
                <a:gradFill>
                  <a:gsLst>
                    <a:gs pos="0">
                      <a:schemeClr val="tx1"/>
                    </a:gs>
                    <a:gs pos="100000">
                      <a:schemeClr val="tx1"/>
                    </a:gs>
                  </a:gsLst>
                  <a:lin ang="5400000" scaled="1"/>
                </a:gradFill>
              </a:endParaRPr>
            </a:p>
          </p:txBody>
        </p:sp>
        <p:sp useBgFill="1">
          <p:nvSpPr>
            <p:cNvPr id="12" name="Oval 19">
              <a:extLst>
                <a:ext uri="{FF2B5EF4-FFF2-40B4-BE49-F238E27FC236}">
                  <a16:creationId xmlns:a16="http://schemas.microsoft.com/office/drawing/2014/main" id="{650B2524-0148-CD43-B9BE-D8BB98FE6141}"/>
                </a:ext>
              </a:extLst>
            </p:cNvPr>
            <p:cNvSpPr>
              <a:spLocks noChangeArrowheads="1"/>
            </p:cNvSpPr>
            <p:nvPr/>
          </p:nvSpPr>
          <p:spPr bwMode="auto">
            <a:xfrm>
              <a:off x="4223626" y="2924064"/>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961">
                <a:gradFill>
                  <a:gsLst>
                    <a:gs pos="0">
                      <a:schemeClr val="tx1"/>
                    </a:gs>
                    <a:gs pos="100000">
                      <a:schemeClr val="tx1"/>
                    </a:gs>
                  </a:gsLst>
                  <a:lin ang="5400000" scaled="1"/>
                </a:gradFill>
              </a:endParaRPr>
            </a:p>
          </p:txBody>
        </p:sp>
        <p:sp useBgFill="1">
          <p:nvSpPr>
            <p:cNvPr id="13" name="Oval 19">
              <a:extLst>
                <a:ext uri="{FF2B5EF4-FFF2-40B4-BE49-F238E27FC236}">
                  <a16:creationId xmlns:a16="http://schemas.microsoft.com/office/drawing/2014/main" id="{DE0C8D3D-B686-7A40-B416-38267A1DE390}"/>
                </a:ext>
              </a:extLst>
            </p:cNvPr>
            <p:cNvSpPr>
              <a:spLocks noChangeArrowheads="1"/>
            </p:cNvSpPr>
            <p:nvPr/>
          </p:nvSpPr>
          <p:spPr bwMode="auto">
            <a:xfrm>
              <a:off x="4655543" y="2638231"/>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961">
                <a:gradFill>
                  <a:gsLst>
                    <a:gs pos="0">
                      <a:schemeClr val="tx1"/>
                    </a:gs>
                    <a:gs pos="100000">
                      <a:schemeClr val="tx1"/>
                    </a:gs>
                  </a:gsLst>
                  <a:lin ang="5400000" scaled="1"/>
                </a:gradFill>
              </a:endParaRPr>
            </a:p>
          </p:txBody>
        </p:sp>
        <p:sp useBgFill="1">
          <p:nvSpPr>
            <p:cNvPr id="14" name="Oval 19">
              <a:extLst>
                <a:ext uri="{FF2B5EF4-FFF2-40B4-BE49-F238E27FC236}">
                  <a16:creationId xmlns:a16="http://schemas.microsoft.com/office/drawing/2014/main" id="{F12ACFC8-4B29-A149-954C-89F50C36C236}"/>
                </a:ext>
              </a:extLst>
            </p:cNvPr>
            <p:cNvSpPr>
              <a:spLocks noChangeArrowheads="1"/>
            </p:cNvSpPr>
            <p:nvPr/>
          </p:nvSpPr>
          <p:spPr bwMode="auto">
            <a:xfrm>
              <a:off x="4363387" y="2482918"/>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961">
                <a:gradFill>
                  <a:gsLst>
                    <a:gs pos="0">
                      <a:schemeClr val="tx1"/>
                    </a:gs>
                    <a:gs pos="100000">
                      <a:schemeClr val="tx1"/>
                    </a:gs>
                  </a:gsLst>
                  <a:lin ang="5400000" scaled="1"/>
                </a:gradFill>
              </a:endParaRPr>
            </a:p>
          </p:txBody>
        </p:sp>
      </p:grpSp>
    </p:spTree>
    <p:custDataLst>
      <p:tags r:id="rId1"/>
    </p:custDataLst>
    <p:extLst>
      <p:ext uri="{BB962C8B-B14F-4D97-AF65-F5344CB8AC3E}">
        <p14:creationId xmlns:p14="http://schemas.microsoft.com/office/powerpoint/2010/main" val="76105715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ACEF8D-CC65-4753-A9D8-F9BDD6D23F4D}"/>
              </a:ext>
            </a:extLst>
          </p:cNvPr>
          <p:cNvSpPr>
            <a:spLocks noGrp="1"/>
          </p:cNvSpPr>
          <p:nvPr>
            <p:ph type="title"/>
          </p:nvPr>
        </p:nvSpPr>
        <p:spPr>
          <a:xfrm>
            <a:off x="455995" y="620428"/>
            <a:ext cx="11306469" cy="397545"/>
          </a:xfrm>
        </p:spPr>
        <p:txBody>
          <a:bodyPr/>
          <a:lstStyle/>
          <a:p>
            <a:r>
              <a:rPr lang="en-US" sz="2700" dirty="0">
                <a:cs typeface="Segoe UI"/>
              </a:rPr>
              <a:t>Latest announcements </a:t>
            </a:r>
            <a:r>
              <a:rPr lang="en-US" sz="1800" dirty="0">
                <a:cs typeface="Segoe UI"/>
              </a:rPr>
              <a:t>(</a:t>
            </a:r>
            <a:r>
              <a:rPr lang="en-US" sz="1800" dirty="0">
                <a:cs typeface="Segoe UI"/>
                <a:hlinkClick r:id="rId2"/>
              </a:rPr>
              <a:t>Blog post with all the announcements</a:t>
            </a:r>
            <a:r>
              <a:rPr lang="en-US" sz="1800" dirty="0">
                <a:cs typeface="Segoe UI"/>
              </a:rPr>
              <a:t>)</a:t>
            </a:r>
            <a:endParaRPr lang="en-US" dirty="0">
              <a:cs typeface="Segoe UI"/>
            </a:endParaRPr>
          </a:p>
        </p:txBody>
      </p:sp>
      <p:sp>
        <p:nvSpPr>
          <p:cNvPr id="3" name="Text Placeholder 2">
            <a:extLst>
              <a:ext uri="{FF2B5EF4-FFF2-40B4-BE49-F238E27FC236}">
                <a16:creationId xmlns:a16="http://schemas.microsoft.com/office/drawing/2014/main" id="{2DFC278F-9265-4575-B100-A6B6B030B805}"/>
              </a:ext>
            </a:extLst>
          </p:cNvPr>
          <p:cNvSpPr>
            <a:spLocks noGrp="1"/>
          </p:cNvSpPr>
          <p:nvPr>
            <p:ph type="body" sz="quarter" idx="10"/>
          </p:nvPr>
        </p:nvSpPr>
        <p:spPr>
          <a:xfrm>
            <a:off x="455995" y="1922802"/>
            <a:ext cx="5579045" cy="307777"/>
          </a:xfrm>
        </p:spPr>
        <p:txBody>
          <a:bodyPr/>
          <a:lstStyle/>
          <a:p>
            <a:r>
              <a:rPr lang="en-US" sz="2400" dirty="0"/>
              <a:t>Automated ML Updates</a:t>
            </a:r>
          </a:p>
        </p:txBody>
      </p:sp>
      <p:sp>
        <p:nvSpPr>
          <p:cNvPr id="4" name="Text Placeholder 3">
            <a:extLst>
              <a:ext uri="{FF2B5EF4-FFF2-40B4-BE49-F238E27FC236}">
                <a16:creationId xmlns:a16="http://schemas.microsoft.com/office/drawing/2014/main" id="{EC4B6311-B763-4926-9A8B-7AE81AAE8640}"/>
              </a:ext>
            </a:extLst>
          </p:cNvPr>
          <p:cNvSpPr>
            <a:spLocks noGrp="1"/>
          </p:cNvSpPr>
          <p:nvPr>
            <p:ph type="body" sz="quarter" idx="11"/>
          </p:nvPr>
        </p:nvSpPr>
        <p:spPr>
          <a:xfrm>
            <a:off x="455994" y="2453597"/>
            <a:ext cx="5579045" cy="692818"/>
          </a:xfrm>
        </p:spPr>
        <p:txBody>
          <a:bodyPr/>
          <a:lstStyle/>
          <a:p>
            <a:pPr>
              <a:lnSpc>
                <a:spcPct val="150000"/>
              </a:lnSpc>
            </a:pPr>
            <a:r>
              <a:rPr lang="en-US" sz="1600" dirty="0">
                <a:hlinkClick r:id="rId2"/>
              </a:rPr>
              <a:t>Link</a:t>
            </a:r>
            <a:endParaRPr lang="en-US" sz="1600" dirty="0"/>
          </a:p>
          <a:p>
            <a:pPr>
              <a:lnSpc>
                <a:spcPct val="150000"/>
              </a:lnSpc>
            </a:pPr>
            <a:r>
              <a:rPr lang="en-US" sz="1600" dirty="0"/>
              <a:t>Managed </a:t>
            </a:r>
            <a:r>
              <a:rPr lang="en-US" sz="1600" dirty="0">
                <a:hlinkClick r:id="rId3"/>
              </a:rPr>
              <a:t>Endpoint</a:t>
            </a:r>
            <a:endParaRPr lang="en-US" sz="1600" dirty="0"/>
          </a:p>
        </p:txBody>
      </p:sp>
      <p:sp>
        <p:nvSpPr>
          <p:cNvPr id="6" name="Footer Placeholder 5">
            <a:extLst>
              <a:ext uri="{FF2B5EF4-FFF2-40B4-BE49-F238E27FC236}">
                <a16:creationId xmlns:a16="http://schemas.microsoft.com/office/drawing/2014/main" id="{18680C4D-BD09-4002-BBB5-A70DF8D081A6}"/>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pic>
        <p:nvPicPr>
          <p:cNvPr id="12" name="Picture 11" descr="A screenshot of a cell phone&#10;&#10;Description automatically generated">
            <a:extLst>
              <a:ext uri="{FF2B5EF4-FFF2-40B4-BE49-F238E27FC236}">
                <a16:creationId xmlns:a16="http://schemas.microsoft.com/office/drawing/2014/main" id="{C36F8888-2B87-49F4-AA91-E3C6490212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63910" y="1549509"/>
            <a:ext cx="8394936" cy="4288812"/>
          </a:xfrm>
          <a:prstGeom prst="rect">
            <a:avLst/>
          </a:prstGeom>
        </p:spPr>
      </p:pic>
    </p:spTree>
    <p:extLst>
      <p:ext uri="{BB962C8B-B14F-4D97-AF65-F5344CB8AC3E}">
        <p14:creationId xmlns:p14="http://schemas.microsoft.com/office/powerpoint/2010/main" val="26906307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8D201-DE7F-495C-8627-12EC5D0ED883}"/>
              </a:ext>
            </a:extLst>
          </p:cNvPr>
          <p:cNvSpPr>
            <a:spLocks noGrp="1"/>
          </p:cNvSpPr>
          <p:nvPr>
            <p:ph type="title"/>
          </p:nvPr>
        </p:nvSpPr>
        <p:spPr>
          <a:xfrm>
            <a:off x="2370667" y="2187743"/>
            <a:ext cx="5293449" cy="2482515"/>
          </a:xfrm>
        </p:spPr>
        <p:txBody>
          <a:bodyPr vert="horz" lIns="91440" tIns="45720" rIns="91440" bIns="45720" rtlCol="0" anchor="ctr">
            <a:normAutofit/>
          </a:bodyPr>
          <a:lstStyle/>
          <a:p>
            <a:r>
              <a:rPr lang="en-US" sz="6000" kern="1200">
                <a:solidFill>
                  <a:schemeClr val="tx1"/>
                </a:solidFill>
                <a:latin typeface="+mj-lt"/>
                <a:ea typeface="+mj-ea"/>
                <a:cs typeface="+mj-cs"/>
              </a:rPr>
              <a:t>Workshop</a:t>
            </a:r>
          </a:p>
        </p:txBody>
      </p:sp>
      <p:pic>
        <p:nvPicPr>
          <p:cNvPr id="6" name="Graphic 5" descr="Tools">
            <a:extLst>
              <a:ext uri="{FF2B5EF4-FFF2-40B4-BE49-F238E27FC236}">
                <a16:creationId xmlns:a16="http://schemas.microsoft.com/office/drawing/2014/main" id="{0AE5B8E7-EE72-4312-9D83-67C9FD03DEB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8201" y="2743201"/>
            <a:ext cx="1371600" cy="1371600"/>
          </a:xfrm>
          <a:prstGeom prst="rect">
            <a:avLst/>
          </a:prstGeom>
        </p:spPr>
      </p:pic>
      <p:pic>
        <p:nvPicPr>
          <p:cNvPr id="8" name="Graphic 7">
            <a:extLst>
              <a:ext uri="{FF2B5EF4-FFF2-40B4-BE49-F238E27FC236}">
                <a16:creationId xmlns:a16="http://schemas.microsoft.com/office/drawing/2014/main" id="{FE8A7746-BAF7-4F00-9FF4-F20B5B6C990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alphaModFix amt="15000"/>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41431" y="816337"/>
            <a:ext cx="5225327" cy="5225327"/>
          </a:xfrm>
          <a:prstGeom prst="rect">
            <a:avLst/>
          </a:prstGeom>
        </p:spPr>
      </p:pic>
      <p:sp>
        <p:nvSpPr>
          <p:cNvPr id="5" name="Title 1">
            <a:extLst>
              <a:ext uri="{FF2B5EF4-FFF2-40B4-BE49-F238E27FC236}">
                <a16:creationId xmlns:a16="http://schemas.microsoft.com/office/drawing/2014/main" id="{1E313945-25F8-4A7F-AD9D-AA6AE197ADF4}"/>
              </a:ext>
            </a:extLst>
          </p:cNvPr>
          <p:cNvSpPr txBox="1">
            <a:spLocks/>
          </p:cNvSpPr>
          <p:nvPr/>
        </p:nvSpPr>
        <p:spPr>
          <a:xfrm>
            <a:off x="2538618" y="3769713"/>
            <a:ext cx="7450666" cy="690175"/>
          </a:xfrm>
          <a:prstGeom prst="rect">
            <a:avLst/>
          </a:prstGeom>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6000"/>
              <a:t>Prerequisites</a:t>
            </a:r>
          </a:p>
          <a:p>
            <a:r>
              <a:rPr lang="en-US" sz="6000"/>
              <a:t>1. Azure Subscription </a:t>
            </a:r>
          </a:p>
          <a:p>
            <a:r>
              <a:rPr lang="en-US" sz="6000"/>
              <a:t>2. Azure ML workspace</a:t>
            </a:r>
          </a:p>
        </p:txBody>
      </p:sp>
    </p:spTree>
    <p:extLst>
      <p:ext uri="{BB962C8B-B14F-4D97-AF65-F5344CB8AC3E}">
        <p14:creationId xmlns:p14="http://schemas.microsoft.com/office/powerpoint/2010/main" val="1863646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8D201-DE7F-495C-8627-12EC5D0ED883}"/>
              </a:ext>
            </a:extLst>
          </p:cNvPr>
          <p:cNvSpPr>
            <a:spLocks noGrp="1"/>
          </p:cNvSpPr>
          <p:nvPr>
            <p:ph type="title"/>
          </p:nvPr>
        </p:nvSpPr>
        <p:spPr>
          <a:xfrm>
            <a:off x="161106" y="616404"/>
            <a:ext cx="5483914" cy="6151545"/>
          </a:xfrm>
        </p:spPr>
        <p:txBody>
          <a:bodyPr vert="horz" lIns="91440" tIns="45720" rIns="91440" bIns="45720" rtlCol="0" anchor="t">
            <a:normAutofit fontScale="90000"/>
          </a:bodyPr>
          <a:lstStyle/>
          <a:p>
            <a:r>
              <a:rPr lang="en-US" sz="1600" dirty="0"/>
              <a:t>1. Go to Medium location: </a:t>
            </a:r>
            <a:r>
              <a:rPr lang="en-US" sz="1600" dirty="0">
                <a:hlinkClick r:id="rId3"/>
              </a:rPr>
              <a:t>OpenHack</a:t>
            </a:r>
            <a:br>
              <a:rPr lang="en-US" sz="1600" dirty="0"/>
            </a:br>
            <a:r>
              <a:rPr lang="en-US" sz="1600" dirty="0"/>
              <a:t>2. Git hub </a:t>
            </a:r>
            <a:r>
              <a:rPr lang="en-US" sz="1600" dirty="0">
                <a:hlinkClick r:id="rId4"/>
              </a:rPr>
              <a:t>link</a:t>
            </a:r>
            <a:br>
              <a:rPr lang="en-US" sz="1600" dirty="0"/>
            </a:br>
            <a:br>
              <a:rPr lang="en-US" sz="1600" dirty="0"/>
            </a:br>
            <a:br>
              <a:rPr lang="en-US" sz="1600" dirty="0"/>
            </a:br>
            <a:r>
              <a:rPr lang="en-US" sz="1600" dirty="0"/>
              <a:t>Agenda:</a:t>
            </a:r>
            <a:br>
              <a:rPr lang="en-US" sz="1600" dirty="0"/>
            </a:br>
            <a:br>
              <a:rPr lang="en-US" sz="1600" dirty="0"/>
            </a:br>
            <a:r>
              <a:rPr lang="en-US" sz="1600" dirty="0"/>
              <a:t>Introduction</a:t>
            </a:r>
            <a:br>
              <a:rPr lang="en-US" sz="1600" dirty="0"/>
            </a:br>
            <a:r>
              <a:rPr lang="en-US" sz="1600" dirty="0"/>
              <a:t>Azure Machine learning Intro — 1 hour</a:t>
            </a:r>
            <a:br>
              <a:rPr lang="en-US" sz="1600" dirty="0"/>
            </a:br>
            <a:r>
              <a:rPr lang="en-US" sz="1600" dirty="0"/>
              <a:t>OpenHack use case introduction — 15 mins</a:t>
            </a:r>
            <a:br>
              <a:rPr lang="en-US" sz="1600" dirty="0"/>
            </a:br>
            <a:r>
              <a:rPr lang="en-US" sz="1600" dirty="0"/>
              <a:t>OpenHack – 4 Hours</a:t>
            </a:r>
            <a:br>
              <a:rPr lang="en-US" sz="1600" dirty="0"/>
            </a:br>
            <a:r>
              <a:rPr lang="en-US" sz="1600" dirty="0"/>
              <a:t>Take Break when experimentation starts</a:t>
            </a:r>
            <a:br>
              <a:rPr lang="en-US" sz="1600" dirty="0"/>
            </a:br>
            <a:r>
              <a:rPr lang="en-US" sz="1600" dirty="0"/>
              <a:t>Deploy model — 1 hour</a:t>
            </a:r>
            <a:br>
              <a:rPr lang="en-US" sz="1600" dirty="0"/>
            </a:br>
            <a:r>
              <a:rPr lang="en-US" sz="1600" dirty="0"/>
              <a:t>Clean up — 15 minutes</a:t>
            </a:r>
            <a:br>
              <a:rPr lang="en-US" dirty="0"/>
            </a:br>
            <a:br>
              <a:rPr lang="en-US" dirty="0"/>
            </a:br>
            <a:br>
              <a:rPr lang="en-US" sz="1800" dirty="0"/>
            </a:br>
            <a:r>
              <a:rPr lang="en-US" sz="1800" dirty="0"/>
              <a:t>Note: When experiment is submitted will take a long time to run since automated machine learning runs about 50 or more algorithm to provide us results.</a:t>
            </a:r>
            <a:br>
              <a:rPr lang="en-US" sz="1800" dirty="0"/>
            </a:br>
            <a:r>
              <a:rPr lang="en-US" sz="1800" dirty="0"/>
              <a:t>Deploying to REST API as ACI or AKS will also take about 15 to 30 minutes. Some time delete and recreate will be needed but as the instructor for details</a:t>
            </a:r>
            <a:br>
              <a:rPr lang="en-US" sz="1600" dirty="0"/>
            </a:br>
            <a:br>
              <a:rPr lang="en-US" sz="1600" dirty="0"/>
            </a:br>
            <a:br>
              <a:rPr lang="en-US" sz="1600" dirty="0"/>
            </a:br>
            <a:br>
              <a:rPr lang="en-US" sz="1600" dirty="0"/>
            </a:br>
            <a:br>
              <a:rPr lang="en-US" sz="1600" dirty="0"/>
            </a:br>
            <a:br>
              <a:rPr lang="en-US" sz="1600" dirty="0"/>
            </a:br>
            <a:br>
              <a:rPr lang="en-US" sz="1600" dirty="0"/>
            </a:br>
            <a:br>
              <a:rPr lang="en-US" sz="1600" dirty="0"/>
            </a:br>
            <a:endParaRPr lang="en-US" sz="1600" kern="1200" dirty="0"/>
          </a:p>
        </p:txBody>
      </p:sp>
      <p:sp>
        <p:nvSpPr>
          <p:cNvPr id="6" name="Title 1">
            <a:extLst>
              <a:ext uri="{FF2B5EF4-FFF2-40B4-BE49-F238E27FC236}">
                <a16:creationId xmlns:a16="http://schemas.microsoft.com/office/drawing/2014/main" id="{605DD532-CBAB-4964-B769-C9A28F423158}"/>
              </a:ext>
            </a:extLst>
          </p:cNvPr>
          <p:cNvSpPr txBox="1">
            <a:spLocks/>
          </p:cNvSpPr>
          <p:nvPr/>
        </p:nvSpPr>
        <p:spPr>
          <a:xfrm>
            <a:off x="5666957" y="637620"/>
            <a:ext cx="6309324" cy="6151545"/>
          </a:xfrm>
          <a:prstGeom prst="rect">
            <a:avLst/>
          </a:prstGeom>
        </p:spPr>
        <p:txBody>
          <a:bodyPr vert="horz" lIns="91440" tIns="45720" rIns="91440" bIns="45720" rtlCol="0" anchor="t">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br>
              <a:rPr kumimoji="0" lang="en-US" sz="1600" b="0" i="0" u="none" strike="noStrike" kern="1200" cap="none" spc="0" normalizeH="0" baseline="0" noProof="0" dirty="0">
                <a:ln>
                  <a:noFill/>
                </a:ln>
                <a:solidFill>
                  <a:prstClr val="black"/>
                </a:solidFill>
                <a:effectLst/>
                <a:uLnTx/>
                <a:uFillTx/>
                <a:latin typeface="Calibri Light" panose="020F0302020204030204"/>
                <a:ea typeface="+mj-ea"/>
                <a:cs typeface="+mj-cs"/>
              </a:rPr>
            </a:br>
            <a:br>
              <a:rPr kumimoji="0" lang="en-US" sz="1600" b="0" i="0" u="none" strike="noStrike" kern="1200" cap="none" spc="0" normalizeH="0" baseline="0" noProof="0" dirty="0">
                <a:ln>
                  <a:noFill/>
                </a:ln>
                <a:solidFill>
                  <a:prstClr val="black"/>
                </a:solidFill>
                <a:effectLst/>
                <a:uLnTx/>
                <a:uFillTx/>
                <a:latin typeface="Calibri Light" panose="020F0302020204030204"/>
                <a:ea typeface="+mj-ea"/>
                <a:cs typeface="+mj-cs"/>
              </a:rPr>
            </a:br>
            <a:endParaRPr kumimoji="0" lang="en-US" sz="1600" b="0"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cxnSp>
        <p:nvCxnSpPr>
          <p:cNvPr id="15" name="Straight Connector 14">
            <a:extLst>
              <a:ext uri="{FF2B5EF4-FFF2-40B4-BE49-F238E27FC236}">
                <a16:creationId xmlns:a16="http://schemas.microsoft.com/office/drawing/2014/main" id="{6FA85116-FAC6-48F6-B427-0085C8BAFCC6}"/>
              </a:ext>
            </a:extLst>
          </p:cNvPr>
          <p:cNvCxnSpPr>
            <a:cxnSpLocks/>
          </p:cNvCxnSpPr>
          <p:nvPr/>
        </p:nvCxnSpPr>
        <p:spPr>
          <a:xfrm flipH="1">
            <a:off x="5623332" y="307910"/>
            <a:ext cx="21688" cy="6460039"/>
          </a:xfrm>
          <a:prstGeom prst="line">
            <a:avLst/>
          </a:prstGeom>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BB52DA1F-AE1A-491F-A3A0-6346659DBBF6}"/>
              </a:ext>
            </a:extLst>
          </p:cNvPr>
          <p:cNvSpPr txBox="1"/>
          <p:nvPr/>
        </p:nvSpPr>
        <p:spPr>
          <a:xfrm>
            <a:off x="0" y="-19623"/>
            <a:ext cx="12192000" cy="369332"/>
          </a:xfrm>
          <a:prstGeom prst="rect">
            <a:avLst/>
          </a:prstGeom>
          <a:solidFill>
            <a:schemeClr val="accent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Workshop Lab Instructions</a:t>
            </a:r>
          </a:p>
        </p:txBody>
      </p:sp>
    </p:spTree>
    <p:extLst>
      <p:ext uri="{BB962C8B-B14F-4D97-AF65-F5344CB8AC3E}">
        <p14:creationId xmlns:p14="http://schemas.microsoft.com/office/powerpoint/2010/main" val="2296510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EF197D-1CF6-49B0-8189-8E16E9C2FFDE}"/>
              </a:ext>
            </a:extLst>
          </p:cNvPr>
          <p:cNvSpPr>
            <a:spLocks noGrp="1"/>
          </p:cNvSpPr>
          <p:nvPr>
            <p:ph type="title" idx="4294967295"/>
          </p:nvPr>
        </p:nvSpPr>
        <p:spPr>
          <a:xfrm>
            <a:off x="500312" y="1327392"/>
            <a:ext cx="4427654" cy="624073"/>
          </a:xfrm>
        </p:spPr>
        <p:txBody>
          <a:bodyPr/>
          <a:lstStyle/>
          <a:p>
            <a:r>
              <a:rPr lang="en-US"/>
              <a:t>Resources</a:t>
            </a:r>
            <a:br>
              <a:rPr lang="en-US"/>
            </a:br>
            <a:r>
              <a:rPr lang="en-US" sz="1765" u="sng">
                <a:solidFill>
                  <a:srgbClr val="0563C1"/>
                </a:solidFill>
                <a:latin typeface="Calibri" panose="020F0502020204030204" pitchFamily="34" charset="0"/>
                <a:ea typeface="Calibri" panose="020F0502020204030204" pitchFamily="34" charset="0"/>
                <a:hlinkClick r:id="rId4"/>
              </a:rPr>
              <a:t>http://aka.ms/amlfree</a:t>
            </a:r>
            <a:br>
              <a:rPr lang="en-US">
                <a:latin typeface="Calibri" panose="020F0502020204030204" pitchFamily="34" charset="0"/>
                <a:ea typeface="Calibri" panose="020F0502020204030204" pitchFamily="34" charset="0"/>
              </a:rPr>
            </a:br>
            <a:endParaRPr lang="en-US"/>
          </a:p>
        </p:txBody>
      </p:sp>
      <p:pic>
        <p:nvPicPr>
          <p:cNvPr id="6" name="Picture 5">
            <a:extLst>
              <a:ext uri="{FF2B5EF4-FFF2-40B4-BE49-F238E27FC236}">
                <a16:creationId xmlns:a16="http://schemas.microsoft.com/office/drawing/2014/main" id="{EEB2421C-269D-4099-B48D-4992D0277BBC}"/>
              </a:ext>
            </a:extLst>
          </p:cNvPr>
          <p:cNvPicPr>
            <a:picLocks noChangeAspect="1"/>
          </p:cNvPicPr>
          <p:nvPr/>
        </p:nvPicPr>
        <p:blipFill>
          <a:blip r:embed="rId5"/>
          <a:stretch>
            <a:fillRect/>
          </a:stretch>
        </p:blipFill>
        <p:spPr>
          <a:xfrm>
            <a:off x="5334974" y="487"/>
            <a:ext cx="6857027" cy="6857027"/>
          </a:xfrm>
          <a:prstGeom prst="rect">
            <a:avLst/>
          </a:prstGeom>
        </p:spPr>
      </p:pic>
      <p:pic>
        <p:nvPicPr>
          <p:cNvPr id="2052" name="Picture 4" descr="Image result for microsoft logo"/>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30799" y="6368596"/>
            <a:ext cx="1130452" cy="3691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4FD9F40E-C7A6-4499-9CB0-1171AA2A46F7}"/>
              </a:ext>
            </a:extLst>
          </p:cNvPr>
          <p:cNvSpPr/>
          <p:nvPr/>
        </p:nvSpPr>
        <p:spPr>
          <a:xfrm>
            <a:off x="307910" y="2522037"/>
            <a:ext cx="5241667" cy="3861826"/>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Learn more : </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hlinkClick r:id="rId7"/>
              </a:rPr>
              <a:t>https://aka.ms/automatedmldocs</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Notebook Samples : </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hlinkClick r:id="rId8"/>
              </a:rPr>
              <a:t>https://aka.ms/automatedmlsamples</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log Post : </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hlinkClick r:id="rId9"/>
              </a:rPr>
              <a:t>https://aka.ms/AutomatedML</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roduct Feedback : </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hlinkClick r:id="rId10"/>
              </a:rPr>
              <a:t>AskAutomatedML@microsoft.com </a:t>
            </a:r>
            <a:endParaRPr kumimoji="0" lang="en-US" sz="1600" b="0" i="0" u="none" strike="noStrike" kern="1200" cap="none" spc="0" normalizeH="0" baseline="0" noProof="0" dirty="0">
              <a:ln>
                <a:noFill/>
              </a:ln>
              <a:solidFill>
                <a:srgbClr val="50E6FF"/>
              </a:solidFill>
              <a:effectLst/>
              <a:uLnTx/>
              <a:uFillTx/>
              <a:latin typeface="Calibri" panose="020F0502020204030204" pitchFamily="34" charset="0"/>
              <a:ea typeface="+mn-ea"/>
              <a:cs typeface="Calibri" panose="020F0502020204030204" pitchFamily="34" charset="0"/>
            </a:endParaRPr>
          </a:p>
          <a:p>
            <a:pPr lvl="0" defTabSz="914367">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Workplace Safety</a:t>
            </a:r>
            <a:r>
              <a:rPr lang="en-US" sz="1600" dirty="0">
                <a:solidFill>
                  <a:prstClr val="black"/>
                </a:solidFill>
                <a:latin typeface="Calibri" panose="020F0502020204030204" pitchFamily="34" charset="0"/>
                <a:cs typeface="Calibri" panose="020F0502020204030204" pitchFamily="34" charset="0"/>
              </a:rPr>
              <a:t>: </a:t>
            </a:r>
            <a:r>
              <a:rPr lang="en-US" sz="1600" dirty="0">
                <a:solidFill>
                  <a:prstClr val="black"/>
                </a:solidFill>
                <a:latin typeface="Calibri" panose="020F0502020204030204" pitchFamily="34" charset="0"/>
                <a:cs typeface="Calibri" panose="020F0502020204030204" pitchFamily="34" charset="0"/>
                <a:hlinkClick r:id="rId11"/>
              </a:rPr>
              <a:t>https://github.com/balakreshnan/WorkplaceSafety</a:t>
            </a:r>
            <a:endParaRPr lang="en-US" sz="1600" dirty="0">
              <a:solidFill>
                <a:prstClr val="black"/>
              </a:solidFill>
              <a:latin typeface="Calibri" panose="020F0502020204030204" pitchFamily="34" charset="0"/>
              <a:cs typeface="Calibri" panose="020F0502020204030204" pitchFamily="34" charset="0"/>
            </a:endParaRPr>
          </a:p>
          <a:p>
            <a:pPr lvl="0" defTabSz="914367">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vid 19 Social Distancing:</a:t>
            </a:r>
          </a:p>
          <a:p>
            <a:pPr lvl="0" defTabSz="914367">
              <a:defRPr/>
            </a:pPr>
            <a:r>
              <a:rPr lang="en-US" sz="1600" dirty="0">
                <a:hlinkClick r:id="rId12"/>
              </a:rPr>
              <a:t>sdd/covidproject.md at master · </a:t>
            </a:r>
            <a:r>
              <a:rPr lang="en-US" sz="1600" dirty="0" err="1">
                <a:hlinkClick r:id="rId12"/>
              </a:rPr>
              <a:t>balakreshnan</a:t>
            </a:r>
            <a:r>
              <a:rPr lang="en-US" sz="1600" dirty="0">
                <a:hlinkClick r:id="rId12"/>
              </a:rPr>
              <a:t>/</a:t>
            </a:r>
            <a:r>
              <a:rPr lang="en-US" sz="1600" dirty="0" err="1">
                <a:hlinkClick r:id="rId12"/>
              </a:rPr>
              <a:t>sdd</a:t>
            </a:r>
            <a:r>
              <a:rPr lang="en-US" sz="1600" dirty="0">
                <a:hlinkClick r:id="rId12"/>
              </a:rPr>
              <a:t> (github.com)</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p>
          <a:p>
            <a:pPr lvl="0" defTabSz="914367">
              <a:defRPr/>
            </a:pPr>
            <a:r>
              <a:rPr lang="en-US" sz="1600" dirty="0">
                <a:solidFill>
                  <a:prstClr val="black"/>
                </a:solidFill>
                <a:latin typeface="Calibri" panose="020F0502020204030204" pitchFamily="34" charset="0"/>
                <a:cs typeface="Calibri" panose="020F0502020204030204" pitchFamily="34" charset="0"/>
              </a:rPr>
              <a:t>AI and Big Data:</a:t>
            </a:r>
          </a:p>
          <a:p>
            <a:pPr lvl="0" defTabSz="914367">
              <a:defRPr/>
            </a:pPr>
            <a:r>
              <a:rPr lang="en-US" sz="1600" dirty="0">
                <a:hlinkClick r:id="rId13"/>
              </a:rPr>
              <a:t>AzurePercept/synapseint.md at main · </a:t>
            </a:r>
            <a:r>
              <a:rPr lang="en-US" sz="1600" dirty="0" err="1">
                <a:hlinkClick r:id="rId13"/>
              </a:rPr>
              <a:t>balakreshnan</a:t>
            </a:r>
            <a:r>
              <a:rPr lang="en-US" sz="1600" dirty="0">
                <a:hlinkClick r:id="rId13"/>
              </a:rPr>
              <a:t>/</a:t>
            </a:r>
            <a:r>
              <a:rPr lang="en-US" sz="1600" dirty="0" err="1">
                <a:hlinkClick r:id="rId13"/>
              </a:rPr>
              <a:t>AzurePercept</a:t>
            </a:r>
            <a:r>
              <a:rPr lang="en-US" sz="1600" dirty="0">
                <a:hlinkClick r:id="rId13"/>
              </a:rPr>
              <a:t> (github.com)</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p:txBody>
      </p:sp>
    </p:spTree>
    <p:custDataLst>
      <p:tags r:id="rId1"/>
    </p:custDataLst>
    <p:extLst>
      <p:ext uri="{BB962C8B-B14F-4D97-AF65-F5344CB8AC3E}">
        <p14:creationId xmlns:p14="http://schemas.microsoft.com/office/powerpoint/2010/main" val="384062373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EF197D-1CF6-49B0-8189-8E16E9C2FFDE}"/>
              </a:ext>
            </a:extLst>
          </p:cNvPr>
          <p:cNvSpPr>
            <a:spLocks noGrp="1"/>
          </p:cNvSpPr>
          <p:nvPr>
            <p:ph type="title" idx="4294967295"/>
          </p:nvPr>
        </p:nvSpPr>
        <p:spPr>
          <a:xfrm>
            <a:off x="500312" y="1327392"/>
            <a:ext cx="4427654" cy="624073"/>
          </a:xfrm>
        </p:spPr>
        <p:txBody>
          <a:bodyPr/>
          <a:lstStyle/>
          <a:p>
            <a:r>
              <a:rPr lang="en-US" dirty="0"/>
              <a:t>Resources</a:t>
            </a:r>
            <a:br>
              <a:rPr lang="en-US" dirty="0"/>
            </a:br>
            <a:endParaRPr lang="en-US" dirty="0"/>
          </a:p>
        </p:txBody>
      </p:sp>
      <p:pic>
        <p:nvPicPr>
          <p:cNvPr id="6" name="Picture 5">
            <a:extLst>
              <a:ext uri="{FF2B5EF4-FFF2-40B4-BE49-F238E27FC236}">
                <a16:creationId xmlns:a16="http://schemas.microsoft.com/office/drawing/2014/main" id="{EEB2421C-269D-4099-B48D-4992D0277BBC}"/>
              </a:ext>
            </a:extLst>
          </p:cNvPr>
          <p:cNvPicPr>
            <a:picLocks noChangeAspect="1"/>
          </p:cNvPicPr>
          <p:nvPr/>
        </p:nvPicPr>
        <p:blipFill>
          <a:blip r:embed="rId4"/>
          <a:stretch>
            <a:fillRect/>
          </a:stretch>
        </p:blipFill>
        <p:spPr>
          <a:xfrm>
            <a:off x="5334974" y="487"/>
            <a:ext cx="6857027" cy="6857027"/>
          </a:xfrm>
          <a:prstGeom prst="rect">
            <a:avLst/>
          </a:prstGeom>
        </p:spPr>
      </p:pic>
      <p:pic>
        <p:nvPicPr>
          <p:cNvPr id="2052" name="Picture 4" descr="Image result for microsoft logo"/>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30799" y="6368596"/>
            <a:ext cx="1130452" cy="3691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4FD9F40E-C7A6-4499-9CB0-1171AA2A46F7}"/>
              </a:ext>
            </a:extLst>
          </p:cNvPr>
          <p:cNvSpPr/>
          <p:nvPr/>
        </p:nvSpPr>
        <p:spPr>
          <a:xfrm>
            <a:off x="307910" y="2522037"/>
            <a:ext cx="5241667" cy="2138278"/>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pPr algn="l"/>
            <a:r>
              <a:rPr lang="en-US" sz="1600" b="0" i="0" dirty="0">
                <a:solidFill>
                  <a:srgbClr val="505050"/>
                </a:solidFill>
                <a:effectLst/>
                <a:latin typeface="NexusSerif"/>
                <a:hlinkClick r:id="rId6"/>
              </a:rPr>
              <a:t>PPE Compliance Detection using Artificial Intelligence in Learning Factories</a:t>
            </a:r>
            <a:endParaRPr lang="en-US" sz="1600" b="0" i="0" dirty="0">
              <a:solidFill>
                <a:srgbClr val="505050"/>
              </a:solidFill>
              <a:effectLst/>
              <a:latin typeface="NexusSerif"/>
            </a:endParaRPr>
          </a:p>
          <a:p>
            <a:r>
              <a:rPr lang="en-US" sz="1600" b="0" i="0" dirty="0">
                <a:solidFill>
                  <a:srgbClr val="222222"/>
                </a:solidFill>
                <a:effectLst/>
                <a:latin typeface="NexusSerifWebPro"/>
                <a:hlinkClick r:id="rId7"/>
              </a:rPr>
              <a:t>A Collaboratively Developed Platform to Introduce Fundamentals of IoT and </a:t>
            </a:r>
            <a:r>
              <a:rPr lang="en-US" sz="1600" b="0" i="0" dirty="0" err="1">
                <a:solidFill>
                  <a:srgbClr val="222222"/>
                </a:solidFill>
                <a:effectLst/>
                <a:latin typeface="NexusSerifWebPro"/>
                <a:hlinkClick r:id="rId7"/>
              </a:rPr>
              <a:t>IIoT</a:t>
            </a:r>
            <a:endParaRPr lang="en-US" sz="1600" b="0" i="0" dirty="0">
              <a:solidFill>
                <a:srgbClr val="222222"/>
              </a:solidFill>
              <a:effectLst/>
              <a:latin typeface="NexusSerifWebPro"/>
            </a:endParaRPr>
          </a:p>
          <a:p>
            <a:pPr algn="l"/>
            <a:endParaRPr lang="en-US" sz="1600" b="0" i="0" dirty="0">
              <a:solidFill>
                <a:srgbClr val="505050"/>
              </a:solidFill>
              <a:effectLst/>
              <a:latin typeface="NexusSerif"/>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p:txBody>
      </p:sp>
    </p:spTree>
    <p:custDataLst>
      <p:tags r:id="rId1"/>
    </p:custDataLst>
    <p:extLst>
      <p:ext uri="{BB962C8B-B14F-4D97-AF65-F5344CB8AC3E}">
        <p14:creationId xmlns:p14="http://schemas.microsoft.com/office/powerpoint/2010/main" val="71805603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084B9-E37E-4841-ADE3-D1614D06A84A}"/>
              </a:ext>
            </a:extLst>
          </p:cNvPr>
          <p:cNvSpPr>
            <a:spLocks noGrp="1"/>
          </p:cNvSpPr>
          <p:nvPr>
            <p:ph type="title"/>
          </p:nvPr>
        </p:nvSpPr>
        <p:spPr>
          <a:xfrm>
            <a:off x="275098" y="3368992"/>
            <a:ext cx="8132296" cy="1108586"/>
          </a:xfrm>
        </p:spPr>
        <p:txBody>
          <a:bodyPr>
            <a:normAutofit/>
          </a:bodyPr>
          <a:lstStyle/>
          <a:p>
            <a:pPr algn="ctr"/>
            <a:r>
              <a:rPr lang="en-US" sz="3600" dirty="0"/>
              <a:t>Thank You</a:t>
            </a:r>
          </a:p>
        </p:txBody>
      </p:sp>
    </p:spTree>
    <p:custDataLst>
      <p:tags r:id="rId1"/>
    </p:custDataLst>
    <p:extLst>
      <p:ext uri="{BB962C8B-B14F-4D97-AF65-F5344CB8AC3E}">
        <p14:creationId xmlns:p14="http://schemas.microsoft.com/office/powerpoint/2010/main" val="415433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0759" y="278441"/>
            <a:ext cx="11652805" cy="899303"/>
          </a:xfrm>
        </p:spPr>
        <p:txBody>
          <a:bodyPr>
            <a:normAutofit/>
          </a:bodyPr>
          <a:lstStyle/>
          <a:p>
            <a:r>
              <a:rPr lang="en-US" sz="4312" dirty="0"/>
              <a:t>Machine Learning / Predictive Analytics</a:t>
            </a:r>
          </a:p>
        </p:txBody>
      </p:sp>
      <p:grpSp>
        <p:nvGrpSpPr>
          <p:cNvPr id="5" name="Group 4"/>
          <p:cNvGrpSpPr/>
          <p:nvPr/>
        </p:nvGrpSpPr>
        <p:grpSpPr>
          <a:xfrm>
            <a:off x="5645795" y="2309766"/>
            <a:ext cx="5837869" cy="4365264"/>
            <a:chOff x="5794287" y="1685556"/>
            <a:chExt cx="5837869" cy="4365264"/>
          </a:xfrm>
        </p:grpSpPr>
        <p:pic>
          <p:nvPicPr>
            <p:cNvPr id="42" name="Picture 41"/>
            <p:cNvPicPr>
              <a:picLocks/>
            </p:cNvPicPr>
            <p:nvPr/>
          </p:nvPicPr>
          <p:blipFill rotWithShape="1">
            <a:blip r:embed="rId3" cstate="print">
              <a:extLst>
                <a:ext uri="{28A0092B-C50C-407E-A947-70E740481C1C}">
                  <a14:useLocalDpi xmlns:a14="http://schemas.microsoft.com/office/drawing/2010/main" val="0"/>
                </a:ext>
              </a:extLst>
            </a:blip>
            <a:srcRect r="16953"/>
            <a:stretch/>
          </p:blipFill>
          <p:spPr>
            <a:xfrm>
              <a:off x="5801011" y="3157242"/>
              <a:ext cx="1389097" cy="1389097"/>
            </a:xfrm>
            <a:prstGeom prst="rect">
              <a:avLst/>
            </a:prstGeom>
          </p:spPr>
        </p:pic>
        <p:sp>
          <p:nvSpPr>
            <p:cNvPr id="66" name="Rectangle 65"/>
            <p:cNvSpPr/>
            <p:nvPr/>
          </p:nvSpPr>
          <p:spPr bwMode="auto">
            <a:xfrm>
              <a:off x="5802637" y="3853426"/>
              <a:ext cx="1373711" cy="709241"/>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71" tIns="91374" rIns="91371" bIns="91374" numCol="1" rtlCol="0" anchor="b" anchorCtr="0" compatLnSpc="1">
              <a:prstTxWarp prst="textNoShape">
                <a:avLst/>
              </a:prstTxWarp>
            </a:bodyPr>
            <a:lstStyle/>
            <a:p>
              <a:pPr marL="0" marR="0" lvl="0" indent="0" algn="l" defTabSz="912417" rtl="0" eaLnBrk="1" fontAlgn="auto" latinLnBrk="0" hangingPunct="1">
                <a:lnSpc>
                  <a:spcPct val="100000"/>
                </a:lnSpc>
                <a:spcBef>
                  <a:spcPts val="0"/>
                </a:spcBef>
                <a:spcAft>
                  <a:spcPts val="600"/>
                </a:spcAft>
                <a:buClrTx/>
                <a:buSzTx/>
                <a:buFontTx/>
                <a:buNone/>
                <a:tabLst/>
                <a:defRPr/>
              </a:pPr>
              <a:r>
                <a:rPr kumimoji="0" lang="en-US" sz="1199" b="0" i="0" u="none" strike="noStrike" kern="1200" cap="none" spc="0" normalizeH="0" baseline="0" noProof="0" dirty="0">
                  <a:ln>
                    <a:noFill/>
                  </a:ln>
                  <a:solidFill>
                    <a:srgbClr val="FFFFFF"/>
                  </a:solidFill>
                  <a:effectLst/>
                  <a:uLnTx/>
                  <a:uFillTx/>
                  <a:latin typeface="Calibri" panose="020F0502020204030204"/>
                  <a:ea typeface="+mn-ea"/>
                  <a:cs typeface="Segoe UI" pitchFamily="34" charset="0"/>
                </a:rPr>
                <a:t>Vision Analytics</a:t>
              </a:r>
            </a:p>
          </p:txBody>
        </p:sp>
        <p:grpSp>
          <p:nvGrpSpPr>
            <p:cNvPr id="46" name="Group 45"/>
            <p:cNvGrpSpPr/>
            <p:nvPr/>
          </p:nvGrpSpPr>
          <p:grpSpPr>
            <a:xfrm>
              <a:off x="8765481" y="1685556"/>
              <a:ext cx="1389298" cy="1390784"/>
              <a:chOff x="9073554" y="1626527"/>
              <a:chExt cx="1314695" cy="1316102"/>
            </a:xfrm>
          </p:grpSpPr>
          <p:pic>
            <p:nvPicPr>
              <p:cNvPr id="47" name="Picture 48"/>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9073556" y="1626527"/>
                <a:ext cx="1314693" cy="1314555"/>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47"/>
              <p:cNvSpPr/>
              <p:nvPr/>
            </p:nvSpPr>
            <p:spPr bwMode="auto">
              <a:xfrm>
                <a:off x="9073554" y="2271474"/>
                <a:ext cx="1309442" cy="671155"/>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71" tIns="91374" rIns="91371" bIns="91374" numCol="1" rtlCol="0" anchor="b" anchorCtr="0" compatLnSpc="1">
                <a:prstTxWarp prst="textNoShape">
                  <a:avLst/>
                </a:prstTxWarp>
              </a:bodyPr>
              <a:lstStyle/>
              <a:p>
                <a:pPr marL="0" marR="0" lvl="0" indent="0" algn="l" defTabSz="912417" rtl="0" eaLnBrk="1" fontAlgn="auto" latinLnBrk="0" hangingPunct="1">
                  <a:lnSpc>
                    <a:spcPct val="100000"/>
                  </a:lnSpc>
                  <a:spcBef>
                    <a:spcPts val="0"/>
                  </a:spcBef>
                  <a:spcAft>
                    <a:spcPts val="600"/>
                  </a:spcAft>
                  <a:buClrTx/>
                  <a:buSzTx/>
                  <a:buFontTx/>
                  <a:buNone/>
                  <a:tabLst/>
                  <a:defRPr/>
                </a:pPr>
                <a:r>
                  <a:rPr kumimoji="0" lang="en-US" sz="1199" b="0" i="0" u="none" strike="noStrike" kern="1200" cap="none" spc="0" normalizeH="0" baseline="0" noProof="0" dirty="0">
                    <a:ln>
                      <a:noFill/>
                    </a:ln>
                    <a:solidFill>
                      <a:srgbClr val="FFFFFF"/>
                    </a:solidFill>
                    <a:effectLst/>
                    <a:uLnTx/>
                    <a:uFillTx/>
                    <a:latin typeface="Calibri" panose="020F0502020204030204"/>
                    <a:ea typeface="+mn-ea"/>
                    <a:cs typeface="Segoe UI" pitchFamily="34" charset="0"/>
                  </a:rPr>
                  <a:t>Recommenda-tion engines</a:t>
                </a:r>
              </a:p>
            </p:txBody>
          </p:sp>
        </p:grpSp>
        <p:grpSp>
          <p:nvGrpSpPr>
            <p:cNvPr id="49" name="Group 48"/>
            <p:cNvGrpSpPr/>
            <p:nvPr/>
          </p:nvGrpSpPr>
          <p:grpSpPr>
            <a:xfrm>
              <a:off x="5794288" y="4649999"/>
              <a:ext cx="1393144" cy="1383892"/>
              <a:chOff x="4847927" y="4443150"/>
              <a:chExt cx="1318335" cy="1309580"/>
            </a:xfrm>
          </p:grpSpPr>
          <p:pic>
            <p:nvPicPr>
              <p:cNvPr id="50" name="Picture 42"/>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4847927" y="4443150"/>
                <a:ext cx="1314189" cy="1309580"/>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p:cNvSpPr/>
              <p:nvPr/>
            </p:nvSpPr>
            <p:spPr bwMode="auto">
              <a:xfrm>
                <a:off x="4856820" y="5081437"/>
                <a:ext cx="1309442"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71" tIns="91374" rIns="91371" bIns="91374" numCol="1" rtlCol="0" anchor="b" anchorCtr="0" compatLnSpc="1">
                <a:prstTxWarp prst="textNoShape">
                  <a:avLst/>
                </a:prstTxWarp>
              </a:bodyPr>
              <a:lstStyle/>
              <a:p>
                <a:pPr marL="0" marR="0" lvl="0" indent="0" algn="l" defTabSz="912417" rtl="0" eaLnBrk="1" fontAlgn="auto" latinLnBrk="0" hangingPunct="1">
                  <a:lnSpc>
                    <a:spcPct val="100000"/>
                  </a:lnSpc>
                  <a:spcBef>
                    <a:spcPts val="0"/>
                  </a:spcBef>
                  <a:spcAft>
                    <a:spcPts val="600"/>
                  </a:spcAft>
                  <a:buClrTx/>
                  <a:buSzTx/>
                  <a:buFontTx/>
                  <a:buNone/>
                  <a:tabLst/>
                  <a:defRPr/>
                </a:pPr>
                <a:r>
                  <a:rPr kumimoji="0" lang="en-US" sz="1199" b="0" i="0" u="none" strike="noStrike" kern="1200" cap="none" spc="0" normalizeH="0" baseline="0" noProof="0" dirty="0">
                    <a:ln>
                      <a:noFill/>
                    </a:ln>
                    <a:solidFill>
                      <a:srgbClr val="FFFFFF"/>
                    </a:solidFill>
                    <a:effectLst/>
                    <a:uLnTx/>
                    <a:uFillTx/>
                    <a:latin typeface="Calibri" panose="020F0502020204030204"/>
                    <a:ea typeface="+mn-ea"/>
                    <a:cs typeface="Segoe UI" pitchFamily="34" charset="0"/>
                  </a:rPr>
                  <a:t>Advertising analysis</a:t>
                </a:r>
              </a:p>
            </p:txBody>
          </p:sp>
        </p:grpSp>
        <p:grpSp>
          <p:nvGrpSpPr>
            <p:cNvPr id="55" name="Group 54"/>
            <p:cNvGrpSpPr/>
            <p:nvPr/>
          </p:nvGrpSpPr>
          <p:grpSpPr>
            <a:xfrm>
              <a:off x="7275358" y="3171881"/>
              <a:ext cx="1390400" cy="1389151"/>
              <a:chOff x="6257888" y="3035861"/>
              <a:chExt cx="1315739" cy="1314556"/>
            </a:xfrm>
          </p:grpSpPr>
          <p:pic>
            <p:nvPicPr>
              <p:cNvPr id="56" name="Picture 30"/>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6257888" y="3035861"/>
                <a:ext cx="1309442" cy="1309442"/>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p:cNvSpPr/>
              <p:nvPr/>
            </p:nvSpPr>
            <p:spPr bwMode="auto">
              <a:xfrm>
                <a:off x="6264185" y="3679261"/>
                <a:ext cx="1309442"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71" tIns="91374" rIns="91371" bIns="91374" numCol="1" rtlCol="0" anchor="b" anchorCtr="0" compatLnSpc="1">
                <a:prstTxWarp prst="textNoShape">
                  <a:avLst/>
                </a:prstTxWarp>
              </a:bodyPr>
              <a:lstStyle/>
              <a:p>
                <a:pPr marL="0" marR="0" lvl="0" indent="0" algn="l" defTabSz="912417" rtl="0" eaLnBrk="1" fontAlgn="auto" latinLnBrk="0" hangingPunct="1">
                  <a:lnSpc>
                    <a:spcPct val="100000"/>
                  </a:lnSpc>
                  <a:spcBef>
                    <a:spcPts val="0"/>
                  </a:spcBef>
                  <a:spcAft>
                    <a:spcPts val="600"/>
                  </a:spcAft>
                  <a:buClrTx/>
                  <a:buSzTx/>
                  <a:buFontTx/>
                  <a:buNone/>
                  <a:tabLst/>
                  <a:defRPr/>
                </a:pPr>
                <a:r>
                  <a:rPr kumimoji="0" lang="en-US" sz="1199" b="0" i="0" u="none" strike="noStrike" kern="1200" cap="none" spc="0" normalizeH="0" baseline="0" noProof="0" dirty="0">
                    <a:ln>
                      <a:noFill/>
                    </a:ln>
                    <a:solidFill>
                      <a:srgbClr val="FFFFFF"/>
                    </a:solidFill>
                    <a:effectLst/>
                    <a:uLnTx/>
                    <a:uFillTx/>
                    <a:latin typeface="Calibri" panose="020F0502020204030204"/>
                    <a:ea typeface="+mn-ea"/>
                    <a:cs typeface="Segoe UI" pitchFamily="34" charset="0"/>
                  </a:rPr>
                  <a:t>Weather forecasting for business planning</a:t>
                </a:r>
              </a:p>
            </p:txBody>
          </p:sp>
        </p:grpSp>
        <p:grpSp>
          <p:nvGrpSpPr>
            <p:cNvPr id="58" name="Group 57"/>
            <p:cNvGrpSpPr/>
            <p:nvPr/>
          </p:nvGrpSpPr>
          <p:grpSpPr>
            <a:xfrm>
              <a:off x="7278686" y="1685556"/>
              <a:ext cx="1383747" cy="1390784"/>
              <a:chOff x="6257884" y="1626527"/>
              <a:chExt cx="1309443" cy="1316102"/>
            </a:xfrm>
          </p:grpSpPr>
          <p:pic>
            <p:nvPicPr>
              <p:cNvPr id="59" name="Picture 18"/>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6257884" y="1626527"/>
                <a:ext cx="1309440" cy="1314555"/>
              </a:xfrm>
              <a:prstGeom prst="rect">
                <a:avLst/>
              </a:prstGeom>
              <a:noFill/>
              <a:effectLst/>
              <a:extLst>
                <a:ext uri="{909E8E84-426E-40DD-AFC4-6F175D3DCCD1}">
                  <a14:hiddenFill xmlns:a14="http://schemas.microsoft.com/office/drawing/2010/main">
                    <a:solidFill>
                      <a:srgbClr val="FFFFFF"/>
                    </a:solidFill>
                  </a14:hiddenFill>
                </a:ext>
              </a:extLst>
            </p:spPr>
          </p:pic>
          <p:sp>
            <p:nvSpPr>
              <p:cNvPr id="60" name="Rectangle 59"/>
              <p:cNvSpPr/>
              <p:nvPr/>
            </p:nvSpPr>
            <p:spPr bwMode="auto">
              <a:xfrm>
                <a:off x="6257885" y="2271474"/>
                <a:ext cx="1309442" cy="671155"/>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71" tIns="91374" rIns="91371" bIns="91374" numCol="1" rtlCol="0" anchor="b" anchorCtr="0" compatLnSpc="1">
                <a:prstTxWarp prst="textNoShape">
                  <a:avLst/>
                </a:prstTxWarp>
              </a:bodyPr>
              <a:lstStyle/>
              <a:p>
                <a:pPr marL="0" marR="0" lvl="0" indent="0" algn="l" defTabSz="912417" rtl="0" eaLnBrk="1" fontAlgn="auto" latinLnBrk="0" hangingPunct="1">
                  <a:lnSpc>
                    <a:spcPct val="100000"/>
                  </a:lnSpc>
                  <a:spcBef>
                    <a:spcPts val="0"/>
                  </a:spcBef>
                  <a:spcAft>
                    <a:spcPts val="600"/>
                  </a:spcAft>
                  <a:buClrTx/>
                  <a:buSzTx/>
                  <a:buFontTx/>
                  <a:buNone/>
                  <a:tabLst/>
                  <a:defRPr/>
                </a:pPr>
                <a:r>
                  <a:rPr kumimoji="0" lang="en-US" sz="1199" b="0" i="0" u="none" strike="noStrike" kern="1200" cap="none" spc="0" normalizeH="0" baseline="0" noProof="0" dirty="0">
                    <a:ln>
                      <a:noFill/>
                    </a:ln>
                    <a:solidFill>
                      <a:srgbClr val="FFFFFF"/>
                    </a:solidFill>
                    <a:effectLst/>
                    <a:uLnTx/>
                    <a:uFillTx/>
                    <a:latin typeface="Calibri" panose="020F0502020204030204"/>
                    <a:ea typeface="+mn-ea"/>
                    <a:cs typeface="Segoe UI" pitchFamily="34" charset="0"/>
                  </a:rPr>
                  <a:t>Social network analysis</a:t>
                </a:r>
              </a:p>
            </p:txBody>
          </p:sp>
        </p:grpSp>
        <p:grpSp>
          <p:nvGrpSpPr>
            <p:cNvPr id="67" name="Group 66"/>
            <p:cNvGrpSpPr/>
            <p:nvPr/>
          </p:nvGrpSpPr>
          <p:grpSpPr>
            <a:xfrm>
              <a:off x="8765748" y="3171880"/>
              <a:ext cx="1388763" cy="1389150"/>
              <a:chOff x="4847927" y="1626527"/>
              <a:chExt cx="1314190" cy="1314555"/>
            </a:xfrm>
          </p:grpSpPr>
          <p:pic>
            <p:nvPicPr>
              <p:cNvPr id="68" name="Picture 6"/>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4847927" y="1626527"/>
                <a:ext cx="1314189" cy="1314555"/>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p:cNvSpPr/>
              <p:nvPr/>
            </p:nvSpPr>
            <p:spPr bwMode="auto">
              <a:xfrm>
                <a:off x="4852675" y="2266227"/>
                <a:ext cx="1309442" cy="671155"/>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71" tIns="91374" rIns="91371" bIns="91374" numCol="1" rtlCol="0" anchor="b" anchorCtr="0" compatLnSpc="1">
                <a:prstTxWarp prst="textNoShape">
                  <a:avLst/>
                </a:prstTxWarp>
              </a:bodyPr>
              <a:lstStyle/>
              <a:p>
                <a:pPr marL="0" marR="0" lvl="0" indent="0" algn="l" defTabSz="912417" rtl="0" eaLnBrk="1" fontAlgn="auto" latinLnBrk="0" hangingPunct="1">
                  <a:lnSpc>
                    <a:spcPct val="100000"/>
                  </a:lnSpc>
                  <a:spcBef>
                    <a:spcPts val="0"/>
                  </a:spcBef>
                  <a:spcAft>
                    <a:spcPts val="600"/>
                  </a:spcAft>
                  <a:buClrTx/>
                  <a:buSzTx/>
                  <a:buFontTx/>
                  <a:buNone/>
                  <a:tabLst/>
                  <a:defRPr/>
                </a:pPr>
                <a:r>
                  <a:rPr kumimoji="0" lang="en-US" sz="1199" b="0" i="0" u="none" strike="noStrike" kern="1200" cap="none" spc="0" normalizeH="0" baseline="0" noProof="0" dirty="0">
                    <a:ln>
                      <a:noFill/>
                    </a:ln>
                    <a:solidFill>
                      <a:srgbClr val="FFFFFF"/>
                    </a:solidFill>
                    <a:effectLst/>
                    <a:uLnTx/>
                    <a:uFillTx/>
                    <a:latin typeface="Calibri" panose="020F0502020204030204"/>
                    <a:ea typeface="+mn-ea"/>
                    <a:cs typeface="Segoe UI" pitchFamily="34" charset="0"/>
                  </a:rPr>
                  <a:t>Legal </a:t>
                </a:r>
                <a:br>
                  <a:rPr kumimoji="0" lang="en-US" sz="1199" b="0" i="0" u="none" strike="noStrike" kern="1200" cap="none" spc="0" normalizeH="0" baseline="0" noProof="0" dirty="0">
                    <a:ln>
                      <a:noFill/>
                    </a:ln>
                    <a:solidFill>
                      <a:srgbClr val="FFFFFF"/>
                    </a:solidFill>
                    <a:effectLst/>
                    <a:uLnTx/>
                    <a:uFillTx/>
                    <a:latin typeface="Calibri" panose="020F0502020204030204"/>
                    <a:ea typeface="+mn-ea"/>
                    <a:cs typeface="Segoe UI" pitchFamily="34" charset="0"/>
                  </a:rPr>
                </a:br>
                <a:r>
                  <a:rPr kumimoji="0" lang="en-US" sz="1199" b="0" i="0" u="none" strike="noStrike" kern="1200" cap="none" spc="0" normalizeH="0" baseline="0" noProof="0" dirty="0">
                    <a:ln>
                      <a:noFill/>
                    </a:ln>
                    <a:solidFill>
                      <a:srgbClr val="FFFFFF"/>
                    </a:solidFill>
                    <a:effectLst/>
                    <a:uLnTx/>
                    <a:uFillTx/>
                    <a:latin typeface="Calibri" panose="020F0502020204030204"/>
                    <a:ea typeface="+mn-ea"/>
                    <a:cs typeface="Segoe UI" pitchFamily="34" charset="0"/>
                  </a:rPr>
                  <a:t>discovery and document archiving</a:t>
                </a:r>
              </a:p>
            </p:txBody>
          </p:sp>
        </p:grpSp>
        <p:grpSp>
          <p:nvGrpSpPr>
            <p:cNvPr id="70" name="Group 69"/>
            <p:cNvGrpSpPr/>
            <p:nvPr/>
          </p:nvGrpSpPr>
          <p:grpSpPr>
            <a:xfrm>
              <a:off x="7273124" y="4650000"/>
              <a:ext cx="1394871" cy="1398055"/>
              <a:chOff x="7655192" y="4434401"/>
              <a:chExt cx="1319970" cy="1322982"/>
            </a:xfrm>
          </p:grpSpPr>
          <p:pic>
            <p:nvPicPr>
              <p:cNvPr id="71" name="Picture 70"/>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655192" y="4434401"/>
                <a:ext cx="1317345" cy="1317345"/>
              </a:xfrm>
              <a:prstGeom prst="rect">
                <a:avLst/>
              </a:prstGeom>
            </p:spPr>
          </p:pic>
          <p:sp>
            <p:nvSpPr>
              <p:cNvPr id="72" name="Rectangle 71"/>
              <p:cNvSpPr/>
              <p:nvPr/>
            </p:nvSpPr>
            <p:spPr bwMode="auto">
              <a:xfrm>
                <a:off x="7665720" y="5086227"/>
                <a:ext cx="1309442"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71" tIns="91374" rIns="91371" bIns="91374" numCol="1" rtlCol="0" anchor="b" anchorCtr="0" compatLnSpc="1">
                <a:prstTxWarp prst="textNoShape">
                  <a:avLst/>
                </a:prstTxWarp>
              </a:bodyPr>
              <a:lstStyle/>
              <a:p>
                <a:pPr marL="0" marR="0" lvl="0" indent="0" algn="l" defTabSz="912417" rtl="0" eaLnBrk="1" fontAlgn="auto" latinLnBrk="0" hangingPunct="1">
                  <a:lnSpc>
                    <a:spcPct val="100000"/>
                  </a:lnSpc>
                  <a:spcBef>
                    <a:spcPts val="0"/>
                  </a:spcBef>
                  <a:spcAft>
                    <a:spcPts val="600"/>
                  </a:spcAft>
                  <a:buClrTx/>
                  <a:buSzTx/>
                  <a:buFontTx/>
                  <a:buNone/>
                  <a:tabLst/>
                  <a:defRPr/>
                </a:pPr>
                <a:r>
                  <a:rPr kumimoji="0" lang="en-US" sz="1199" b="0" i="0" u="none" strike="noStrike" kern="1200" cap="none" spc="0" normalizeH="0" baseline="0" noProof="0" dirty="0">
                    <a:ln>
                      <a:noFill/>
                    </a:ln>
                    <a:solidFill>
                      <a:srgbClr val="FFFFFF"/>
                    </a:solidFill>
                    <a:effectLst/>
                    <a:uLnTx/>
                    <a:uFillTx/>
                    <a:latin typeface="Calibri" panose="020F0502020204030204"/>
                    <a:ea typeface="+mn-ea"/>
                    <a:cs typeface="Segoe UI" pitchFamily="34" charset="0"/>
                  </a:rPr>
                  <a:t>Pricing analysis</a:t>
                </a:r>
              </a:p>
            </p:txBody>
          </p:sp>
        </p:grpSp>
        <p:grpSp>
          <p:nvGrpSpPr>
            <p:cNvPr id="73" name="Group 72"/>
            <p:cNvGrpSpPr/>
            <p:nvPr/>
          </p:nvGrpSpPr>
          <p:grpSpPr>
            <a:xfrm>
              <a:off x="8765998" y="4649999"/>
              <a:ext cx="1388265" cy="1383892"/>
              <a:chOff x="2033233" y="4443150"/>
              <a:chExt cx="1313718" cy="1309580"/>
            </a:xfrm>
          </p:grpSpPr>
          <p:pic>
            <p:nvPicPr>
              <p:cNvPr id="74" name="Picture 34"/>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2033233" y="4443150"/>
                <a:ext cx="1309442" cy="1309580"/>
              </a:xfrm>
              <a:prstGeom prst="rect">
                <a:avLst/>
              </a:prstGeom>
              <a:noFill/>
              <a:effectLst/>
              <a:extLst>
                <a:ext uri="{909E8E84-426E-40DD-AFC4-6F175D3DCCD1}">
                  <a14:hiddenFill xmlns:a14="http://schemas.microsoft.com/office/drawing/2010/main">
                    <a:solidFill>
                      <a:srgbClr val="FFFFFF"/>
                    </a:solidFill>
                  </a14:hiddenFill>
                </a:ext>
              </a:extLst>
            </p:spPr>
          </p:pic>
          <p:sp>
            <p:nvSpPr>
              <p:cNvPr id="75" name="Rectangle 74"/>
              <p:cNvSpPr/>
              <p:nvPr/>
            </p:nvSpPr>
            <p:spPr bwMode="auto">
              <a:xfrm>
                <a:off x="2037509" y="5081438"/>
                <a:ext cx="1309442"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71" tIns="91374" rIns="91371" bIns="91374" numCol="1" rtlCol="0" anchor="b" anchorCtr="0" compatLnSpc="1">
                <a:prstTxWarp prst="textNoShape">
                  <a:avLst/>
                </a:prstTxWarp>
              </a:bodyPr>
              <a:lstStyle/>
              <a:p>
                <a:pPr marL="0" marR="0" lvl="0" indent="0" algn="l" defTabSz="912417" rtl="0" eaLnBrk="1" fontAlgn="auto" latinLnBrk="0" hangingPunct="1">
                  <a:lnSpc>
                    <a:spcPct val="100000"/>
                  </a:lnSpc>
                  <a:spcBef>
                    <a:spcPts val="0"/>
                  </a:spcBef>
                  <a:spcAft>
                    <a:spcPts val="600"/>
                  </a:spcAft>
                  <a:buClrTx/>
                  <a:buSzTx/>
                  <a:buFontTx/>
                  <a:buNone/>
                  <a:tabLst/>
                  <a:defRPr/>
                </a:pPr>
                <a:r>
                  <a:rPr kumimoji="0" lang="en-US" sz="1199" b="0" i="0" u="none" strike="noStrike" kern="1200" cap="none" spc="0" normalizeH="0" baseline="0" noProof="0" dirty="0">
                    <a:ln>
                      <a:noFill/>
                    </a:ln>
                    <a:solidFill>
                      <a:srgbClr val="FFFFFF"/>
                    </a:solidFill>
                    <a:effectLst/>
                    <a:uLnTx/>
                    <a:uFillTx/>
                    <a:latin typeface="Calibri" panose="020F0502020204030204"/>
                    <a:ea typeface="+mn-ea"/>
                    <a:cs typeface="Segoe UI" pitchFamily="34" charset="0"/>
                  </a:rPr>
                  <a:t>Fraud </a:t>
                </a:r>
                <a:br>
                  <a:rPr kumimoji="0" lang="en-US" sz="1199" b="0" i="0" u="none" strike="noStrike" kern="1200" cap="none" spc="0" normalizeH="0" baseline="0" noProof="0" dirty="0">
                    <a:ln>
                      <a:noFill/>
                    </a:ln>
                    <a:solidFill>
                      <a:srgbClr val="FFFFFF"/>
                    </a:solidFill>
                    <a:effectLst/>
                    <a:uLnTx/>
                    <a:uFillTx/>
                    <a:latin typeface="Calibri" panose="020F0502020204030204"/>
                    <a:ea typeface="+mn-ea"/>
                    <a:cs typeface="Segoe UI" pitchFamily="34" charset="0"/>
                  </a:rPr>
                </a:br>
                <a:r>
                  <a:rPr kumimoji="0" lang="en-US" sz="1199" b="0" i="0" u="none" strike="noStrike" kern="1200" cap="none" spc="0" normalizeH="0" baseline="0" noProof="0" dirty="0">
                    <a:ln>
                      <a:noFill/>
                    </a:ln>
                    <a:solidFill>
                      <a:srgbClr val="FFFFFF"/>
                    </a:solidFill>
                    <a:effectLst/>
                    <a:uLnTx/>
                    <a:uFillTx/>
                    <a:latin typeface="Calibri" panose="020F0502020204030204"/>
                    <a:ea typeface="+mn-ea"/>
                    <a:cs typeface="Segoe UI" pitchFamily="34" charset="0"/>
                  </a:rPr>
                  <a:t>detection</a:t>
                </a:r>
              </a:p>
            </p:txBody>
          </p:sp>
        </p:grpSp>
        <p:grpSp>
          <p:nvGrpSpPr>
            <p:cNvPr id="76" name="Group 75"/>
            <p:cNvGrpSpPr/>
            <p:nvPr/>
          </p:nvGrpSpPr>
          <p:grpSpPr>
            <a:xfrm>
              <a:off x="5794287" y="1685556"/>
              <a:ext cx="1388266" cy="1389150"/>
              <a:chOff x="2033234" y="3035862"/>
              <a:chExt cx="1313719" cy="1314555"/>
            </a:xfrm>
          </p:grpSpPr>
          <p:pic>
            <p:nvPicPr>
              <p:cNvPr id="77" name="Picture 16"/>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2033234" y="3035862"/>
                <a:ext cx="1309444" cy="1314555"/>
              </a:xfrm>
              <a:prstGeom prst="rect">
                <a:avLst/>
              </a:prstGeom>
              <a:noFill/>
              <a:extLst>
                <a:ext uri="{909E8E84-426E-40DD-AFC4-6F175D3DCCD1}">
                  <a14:hiddenFill xmlns:a14="http://schemas.microsoft.com/office/drawing/2010/main">
                    <a:solidFill>
                      <a:srgbClr val="FFFFFF"/>
                    </a:solidFill>
                  </a14:hiddenFill>
                </a:ext>
              </a:extLst>
            </p:spPr>
          </p:pic>
          <p:sp>
            <p:nvSpPr>
              <p:cNvPr id="78" name="Rectangle 77"/>
              <p:cNvSpPr/>
              <p:nvPr/>
            </p:nvSpPr>
            <p:spPr bwMode="auto">
              <a:xfrm>
                <a:off x="2037511" y="3679261"/>
                <a:ext cx="1309442" cy="671155"/>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71" tIns="91374" rIns="91371" bIns="91374" numCol="1" rtlCol="0" anchor="b" anchorCtr="0" compatLnSpc="1">
                <a:prstTxWarp prst="textNoShape">
                  <a:avLst/>
                </a:prstTxWarp>
              </a:bodyPr>
              <a:lstStyle/>
              <a:p>
                <a:pPr marL="0" marR="0" lvl="0" indent="0" algn="l" defTabSz="912417" rtl="0" eaLnBrk="1" fontAlgn="auto" latinLnBrk="0" hangingPunct="1">
                  <a:lnSpc>
                    <a:spcPct val="100000"/>
                  </a:lnSpc>
                  <a:spcBef>
                    <a:spcPts val="0"/>
                  </a:spcBef>
                  <a:spcAft>
                    <a:spcPts val="600"/>
                  </a:spcAft>
                  <a:buClrTx/>
                  <a:buSzTx/>
                  <a:buFontTx/>
                  <a:buNone/>
                  <a:tabLst/>
                  <a:defRPr/>
                </a:pPr>
                <a:r>
                  <a:rPr kumimoji="0" lang="en-US" sz="1199" b="0" i="0" u="none" strike="noStrike" kern="1200" cap="none" spc="0" normalizeH="0" baseline="0" noProof="0" dirty="0">
                    <a:ln>
                      <a:noFill/>
                    </a:ln>
                    <a:solidFill>
                      <a:srgbClr val="FFFFFF"/>
                    </a:solidFill>
                    <a:effectLst/>
                    <a:uLnTx/>
                    <a:uFillTx/>
                    <a:latin typeface="Calibri" panose="020F0502020204030204"/>
                    <a:ea typeface="+mn-ea"/>
                    <a:cs typeface="Segoe UI" pitchFamily="34" charset="0"/>
                  </a:rPr>
                  <a:t>Churn </a:t>
                </a:r>
                <a:br>
                  <a:rPr kumimoji="0" lang="en-US" sz="1199" b="0" i="0" u="none" strike="noStrike" kern="1200" cap="none" spc="0" normalizeH="0" baseline="0" noProof="0" dirty="0">
                    <a:ln>
                      <a:noFill/>
                    </a:ln>
                    <a:solidFill>
                      <a:srgbClr val="FFFFFF"/>
                    </a:solidFill>
                    <a:effectLst/>
                    <a:uLnTx/>
                    <a:uFillTx/>
                    <a:latin typeface="Calibri" panose="020F0502020204030204"/>
                    <a:ea typeface="+mn-ea"/>
                    <a:cs typeface="Segoe UI" pitchFamily="34" charset="0"/>
                  </a:rPr>
                </a:br>
                <a:r>
                  <a:rPr kumimoji="0" lang="en-US" sz="1199" b="0" i="0" u="none" strike="noStrike" kern="1200" cap="none" spc="0" normalizeH="0" baseline="0" noProof="0" dirty="0">
                    <a:ln>
                      <a:noFill/>
                    </a:ln>
                    <a:solidFill>
                      <a:srgbClr val="FFFFFF"/>
                    </a:solidFill>
                    <a:effectLst/>
                    <a:uLnTx/>
                    <a:uFillTx/>
                    <a:latin typeface="Calibri" panose="020F0502020204030204"/>
                    <a:ea typeface="+mn-ea"/>
                    <a:cs typeface="Segoe UI" pitchFamily="34" charset="0"/>
                  </a:rPr>
                  <a:t>analysis</a:t>
                </a:r>
              </a:p>
            </p:txBody>
          </p:sp>
        </p:grpSp>
        <p:grpSp>
          <p:nvGrpSpPr>
            <p:cNvPr id="79" name="Group 78"/>
            <p:cNvGrpSpPr/>
            <p:nvPr/>
          </p:nvGrpSpPr>
          <p:grpSpPr>
            <a:xfrm>
              <a:off x="10240947" y="3171882"/>
              <a:ext cx="1390320" cy="1383891"/>
              <a:chOff x="6257884" y="4443151"/>
              <a:chExt cx="1315662" cy="1309579"/>
            </a:xfrm>
          </p:grpSpPr>
          <p:pic>
            <p:nvPicPr>
              <p:cNvPr id="80" name="Picture 44"/>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6257884" y="4443151"/>
                <a:ext cx="1309440" cy="1309441"/>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bwMode="auto">
              <a:xfrm>
                <a:off x="6264104" y="5081574"/>
                <a:ext cx="1309442"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71" tIns="91374" rIns="91371" bIns="91374" numCol="1" rtlCol="0" anchor="b" anchorCtr="0" compatLnSpc="1">
                <a:prstTxWarp prst="textNoShape">
                  <a:avLst/>
                </a:prstTxWarp>
              </a:bodyPr>
              <a:lstStyle/>
              <a:p>
                <a:pPr marL="0" marR="0" lvl="0" indent="0" algn="l" defTabSz="912417" rtl="0" eaLnBrk="1" fontAlgn="auto" latinLnBrk="0" hangingPunct="1">
                  <a:lnSpc>
                    <a:spcPct val="100000"/>
                  </a:lnSpc>
                  <a:spcBef>
                    <a:spcPts val="0"/>
                  </a:spcBef>
                  <a:spcAft>
                    <a:spcPts val="600"/>
                  </a:spcAft>
                  <a:buClrTx/>
                  <a:buSzTx/>
                  <a:buFontTx/>
                  <a:buNone/>
                  <a:tabLst/>
                  <a:defRPr/>
                </a:pPr>
                <a:r>
                  <a:rPr kumimoji="0" lang="en-US" sz="1199" b="0" i="0" u="none" strike="noStrike" kern="1200" cap="none" spc="0" normalizeH="0" baseline="0" noProof="0" dirty="0">
                    <a:ln>
                      <a:noFill/>
                    </a:ln>
                    <a:solidFill>
                      <a:srgbClr val="FFFFFF"/>
                    </a:solidFill>
                    <a:effectLst/>
                    <a:uLnTx/>
                    <a:uFillTx/>
                    <a:latin typeface="Calibri" panose="020F0502020204030204"/>
                    <a:ea typeface="+mn-ea"/>
                    <a:cs typeface="Segoe UI" pitchFamily="34" charset="0"/>
                  </a:rPr>
                  <a:t>Equipment monitoring</a:t>
                </a:r>
              </a:p>
            </p:txBody>
          </p:sp>
        </p:grpSp>
        <p:grpSp>
          <p:nvGrpSpPr>
            <p:cNvPr id="82" name="Group 81"/>
            <p:cNvGrpSpPr/>
            <p:nvPr/>
          </p:nvGrpSpPr>
          <p:grpSpPr>
            <a:xfrm>
              <a:off x="10240058" y="1685556"/>
              <a:ext cx="1392098" cy="1392098"/>
              <a:chOff x="3415767" y="3035860"/>
              <a:chExt cx="1317345" cy="1317345"/>
            </a:xfrm>
          </p:grpSpPr>
          <p:pic>
            <p:nvPicPr>
              <p:cNvPr id="83" name="Picture 82"/>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3415767" y="3035860"/>
                <a:ext cx="1317345" cy="1317345"/>
              </a:xfrm>
              <a:prstGeom prst="rect">
                <a:avLst/>
              </a:prstGeom>
            </p:spPr>
          </p:pic>
          <p:sp>
            <p:nvSpPr>
              <p:cNvPr id="84" name="Rectangle 83"/>
              <p:cNvSpPr/>
              <p:nvPr/>
            </p:nvSpPr>
            <p:spPr bwMode="auto">
              <a:xfrm>
                <a:off x="3426810" y="3681079"/>
                <a:ext cx="1299946"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71" tIns="91374" rIns="91371" bIns="91374" numCol="1" rtlCol="0" anchor="b" anchorCtr="0" compatLnSpc="1">
                <a:prstTxWarp prst="textNoShape">
                  <a:avLst/>
                </a:prstTxWarp>
              </a:bodyPr>
              <a:lstStyle/>
              <a:p>
                <a:pPr marL="0" marR="0" lvl="0" indent="0" algn="l" defTabSz="912417" rtl="0" eaLnBrk="1" fontAlgn="auto" latinLnBrk="0" hangingPunct="1">
                  <a:lnSpc>
                    <a:spcPct val="100000"/>
                  </a:lnSpc>
                  <a:spcBef>
                    <a:spcPts val="0"/>
                  </a:spcBef>
                  <a:spcAft>
                    <a:spcPts val="600"/>
                  </a:spcAft>
                  <a:buClrTx/>
                  <a:buSzTx/>
                  <a:buFontTx/>
                  <a:buNone/>
                  <a:tabLst/>
                  <a:defRPr/>
                </a:pPr>
                <a:r>
                  <a:rPr kumimoji="0" lang="en-US" sz="1199" b="0" i="0" u="none" strike="noStrike" kern="1200" cap="none" spc="0" normalizeH="0" baseline="0" noProof="0" dirty="0">
                    <a:ln>
                      <a:noFill/>
                    </a:ln>
                    <a:solidFill>
                      <a:srgbClr val="FFFFFF"/>
                    </a:solidFill>
                    <a:effectLst/>
                    <a:uLnTx/>
                    <a:uFillTx/>
                    <a:latin typeface="Calibri" panose="020F0502020204030204"/>
                    <a:ea typeface="+mn-ea"/>
                    <a:cs typeface="Segoe UI" pitchFamily="34" charset="0"/>
                  </a:rPr>
                  <a:t>Location-based tracking and services</a:t>
                </a:r>
              </a:p>
            </p:txBody>
          </p:sp>
        </p:grpSp>
        <p:grpSp>
          <p:nvGrpSpPr>
            <p:cNvPr id="85" name="Group 84"/>
            <p:cNvGrpSpPr/>
            <p:nvPr/>
          </p:nvGrpSpPr>
          <p:grpSpPr>
            <a:xfrm>
              <a:off x="10240058" y="4650001"/>
              <a:ext cx="1392098" cy="1400819"/>
              <a:chOff x="9065651" y="3038545"/>
              <a:chExt cx="1317345" cy="1325598"/>
            </a:xfrm>
          </p:grpSpPr>
          <p:pic>
            <p:nvPicPr>
              <p:cNvPr id="86" name="Picture 85"/>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9065651" y="3038545"/>
                <a:ext cx="1317345" cy="1317345"/>
              </a:xfrm>
              <a:prstGeom prst="rect">
                <a:avLst/>
              </a:prstGeom>
            </p:spPr>
          </p:pic>
          <p:sp>
            <p:nvSpPr>
              <p:cNvPr id="87" name="Rectangle 86"/>
              <p:cNvSpPr/>
              <p:nvPr/>
            </p:nvSpPr>
            <p:spPr bwMode="auto">
              <a:xfrm>
                <a:off x="9083049" y="3692987"/>
                <a:ext cx="1299946"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71" tIns="91374" rIns="91371" bIns="91374" numCol="1" rtlCol="0" anchor="b" anchorCtr="0" compatLnSpc="1">
                <a:prstTxWarp prst="textNoShape">
                  <a:avLst/>
                </a:prstTxWarp>
              </a:bodyPr>
              <a:lstStyle/>
              <a:p>
                <a:pPr marL="0" marR="0" lvl="0" indent="0" algn="l" defTabSz="912417" rtl="0" eaLnBrk="1" fontAlgn="auto" latinLnBrk="0" hangingPunct="1">
                  <a:lnSpc>
                    <a:spcPct val="100000"/>
                  </a:lnSpc>
                  <a:spcBef>
                    <a:spcPts val="0"/>
                  </a:spcBef>
                  <a:spcAft>
                    <a:spcPts val="600"/>
                  </a:spcAft>
                  <a:buClrTx/>
                  <a:buSzTx/>
                  <a:buFontTx/>
                  <a:buNone/>
                  <a:tabLst/>
                  <a:defRPr/>
                </a:pPr>
                <a:r>
                  <a:rPr kumimoji="0" lang="en-US" sz="1199" b="0" i="0" u="none" strike="noStrike" kern="1200" cap="none" spc="0" normalizeH="0" baseline="0" noProof="0" dirty="0">
                    <a:ln>
                      <a:noFill/>
                    </a:ln>
                    <a:solidFill>
                      <a:srgbClr val="FFFFFF"/>
                    </a:solidFill>
                    <a:effectLst/>
                    <a:uLnTx/>
                    <a:uFillTx/>
                    <a:latin typeface="Calibri" panose="020F0502020204030204"/>
                    <a:ea typeface="+mn-ea"/>
                    <a:cs typeface="Segoe UI" pitchFamily="34" charset="0"/>
                  </a:rPr>
                  <a:t>Personalized Insurance</a:t>
                </a:r>
              </a:p>
            </p:txBody>
          </p:sp>
        </p:grpSp>
      </p:grpSp>
      <p:sp>
        <p:nvSpPr>
          <p:cNvPr id="89" name="Title 2"/>
          <p:cNvSpPr txBox="1">
            <a:spLocks/>
          </p:cNvSpPr>
          <p:nvPr/>
        </p:nvSpPr>
        <p:spPr bwMode="ltGray">
          <a:xfrm>
            <a:off x="548265" y="1748953"/>
            <a:ext cx="4419146" cy="436781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2">
              <a:alpha val="92000"/>
            </a:schemeClr>
          </a:solidFill>
          <a:ln>
            <a:noFill/>
          </a:ln>
        </p:spPr>
        <p:txBody>
          <a:bodyPr vert="horz" wrap="square" lIns="268857" tIns="896191" rIns="448096" bIns="896191"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marR="0" lvl="0" indent="0" algn="l" defTabSz="932742" rtl="0" eaLnBrk="1" fontAlgn="auto" latinLnBrk="0" hangingPunct="1">
              <a:lnSpc>
                <a:spcPct val="90000"/>
              </a:lnSpc>
              <a:spcBef>
                <a:spcPts val="1176"/>
              </a:spcBef>
              <a:spcAft>
                <a:spcPts val="0"/>
              </a:spcAft>
              <a:buClrTx/>
              <a:buSzTx/>
              <a:buFontTx/>
              <a:buNone/>
              <a:tabLst/>
              <a:defRPr/>
            </a:pPr>
            <a:r>
              <a:rPr kumimoji="0" lang="en-IN" sz="2352" b="0" i="0" u="none" strike="noStrike" kern="0" cap="none" spc="0" normalizeH="0" baseline="0" noProof="0" dirty="0">
                <a:ln w="3175">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Machine learning &amp; predictive analytics are core capabilities that are needed throughout your business</a:t>
            </a:r>
          </a:p>
        </p:txBody>
      </p:sp>
    </p:spTree>
    <p:extLst>
      <p:ext uri="{BB962C8B-B14F-4D97-AF65-F5344CB8AC3E}">
        <p14:creationId xmlns:p14="http://schemas.microsoft.com/office/powerpoint/2010/main" val="9386863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chine Learning Overview</a:t>
            </a:r>
          </a:p>
        </p:txBody>
      </p:sp>
      <p:sp>
        <p:nvSpPr>
          <p:cNvPr id="3" name="Content Placeholder 2"/>
          <p:cNvSpPr>
            <a:spLocks noGrp="1"/>
          </p:cNvSpPr>
          <p:nvPr>
            <p:ph sz="quarter" idx="10"/>
          </p:nvPr>
        </p:nvSpPr>
        <p:spPr>
          <a:xfrm>
            <a:off x="379413" y="878305"/>
            <a:ext cx="9423806" cy="5800309"/>
          </a:xfrm>
        </p:spPr>
        <p:txBody>
          <a:bodyPr/>
          <a:lstStyle/>
          <a:p>
            <a:r>
              <a:rPr lang="en-US" sz="2400" dirty="0"/>
              <a:t>Formal definition: “A computer program is said to learn from experience E with respect to some class of tasks T and performance measure P, if its performance at tasks in T, as measured by P, improves with experience E” - </a:t>
            </a:r>
            <a:r>
              <a:rPr lang="en-US" sz="1400" i="1" dirty="0"/>
              <a:t>Tom M. Mitchell</a:t>
            </a:r>
            <a:endParaRPr lang="en-US" sz="2400" i="1" dirty="0"/>
          </a:p>
          <a:p>
            <a:r>
              <a:rPr lang="en-US" sz="2400" dirty="0"/>
              <a:t>Another definition: “The goal of machine learning is to program computers to use </a:t>
            </a:r>
            <a:r>
              <a:rPr lang="en-US" sz="2400" dirty="0">
                <a:solidFill>
                  <a:srgbClr val="FF0000"/>
                </a:solidFill>
              </a:rPr>
              <a:t>example data </a:t>
            </a:r>
            <a:r>
              <a:rPr lang="en-US" sz="2400" dirty="0"/>
              <a:t>or </a:t>
            </a:r>
            <a:r>
              <a:rPr lang="en-US" sz="2400" dirty="0">
                <a:solidFill>
                  <a:schemeClr val="tx2"/>
                </a:solidFill>
              </a:rPr>
              <a:t>past experience</a:t>
            </a:r>
            <a:r>
              <a:rPr lang="en-US" sz="2400" dirty="0"/>
              <a:t> to solve a given problem.” – </a:t>
            </a:r>
            <a:r>
              <a:rPr lang="en-US" sz="1400" i="1" dirty="0"/>
              <a:t>Introduction to Machine Learning, 2</a:t>
            </a:r>
            <a:r>
              <a:rPr lang="en-US" sz="1400" i="1" baseline="30000" dirty="0"/>
              <a:t>nd</a:t>
            </a:r>
            <a:r>
              <a:rPr lang="en-US" sz="1400" i="1" dirty="0"/>
              <a:t> Edition, MIT Press</a:t>
            </a:r>
          </a:p>
          <a:p>
            <a:r>
              <a:rPr lang="en-US" sz="2400" dirty="0"/>
              <a:t>ML often involves two primary techniques: </a:t>
            </a:r>
          </a:p>
          <a:p>
            <a:pPr lvl="1"/>
            <a:r>
              <a:rPr lang="en-US" sz="2000" dirty="0">
                <a:solidFill>
                  <a:schemeClr val="accent1"/>
                </a:solidFill>
              </a:rPr>
              <a:t>Supervised Learning</a:t>
            </a:r>
            <a:r>
              <a:rPr lang="en-US" sz="2000" dirty="0"/>
              <a:t>: Finding the mapping between inputs and outputs using correct values to “train” a model</a:t>
            </a:r>
          </a:p>
          <a:p>
            <a:pPr lvl="1"/>
            <a:r>
              <a:rPr lang="en-US" sz="2000" dirty="0">
                <a:solidFill>
                  <a:schemeClr val="accent2"/>
                </a:solidFill>
              </a:rPr>
              <a:t>Unsupervised Learning</a:t>
            </a:r>
            <a:r>
              <a:rPr lang="en-US" sz="2000" dirty="0"/>
              <a:t>: Finding patterns in the input data </a:t>
            </a:r>
            <a:r>
              <a:rPr lang="en-US" sz="1600" dirty="0">
                <a:solidFill>
                  <a:schemeClr val="accent2"/>
                </a:solidFill>
              </a:rPr>
              <a:t>(similar to </a:t>
            </a:r>
            <a:r>
              <a:rPr lang="en-US" sz="1600" i="1" dirty="0">
                <a:solidFill>
                  <a:schemeClr val="accent2"/>
                </a:solidFill>
              </a:rPr>
              <a:t>Density Estimates </a:t>
            </a:r>
            <a:r>
              <a:rPr lang="en-US" sz="1600" dirty="0">
                <a:solidFill>
                  <a:schemeClr val="accent2"/>
                </a:solidFill>
              </a:rPr>
              <a:t>in Statistics)</a:t>
            </a:r>
          </a:p>
        </p:txBody>
      </p:sp>
    </p:spTree>
    <p:extLst>
      <p:ext uri="{BB962C8B-B14F-4D97-AF65-F5344CB8AC3E}">
        <p14:creationId xmlns:p14="http://schemas.microsoft.com/office/powerpoint/2010/main" val="362740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9514" y="182216"/>
            <a:ext cx="11524432" cy="696090"/>
          </a:xfrm>
        </p:spPr>
        <p:txBody>
          <a:bodyPr/>
          <a:lstStyle/>
          <a:p>
            <a:r>
              <a:rPr lang="en-US" dirty="0"/>
              <a:t>Machine Learning</a:t>
            </a:r>
          </a:p>
        </p:txBody>
      </p:sp>
      <p:sp>
        <p:nvSpPr>
          <p:cNvPr id="3" name="Content Placeholder 2"/>
          <p:cNvSpPr>
            <a:spLocks noGrp="1"/>
          </p:cNvSpPr>
          <p:nvPr>
            <p:ph sz="quarter" idx="10"/>
          </p:nvPr>
        </p:nvSpPr>
        <p:spPr>
          <a:xfrm>
            <a:off x="379413" y="878305"/>
            <a:ext cx="9414292" cy="5841809"/>
          </a:xfrm>
        </p:spPr>
        <p:txBody>
          <a:bodyPr/>
          <a:lstStyle/>
          <a:p>
            <a:pPr marL="0" indent="0">
              <a:buNone/>
            </a:pPr>
            <a:r>
              <a:rPr lang="en-US" sz="2800" dirty="0"/>
              <a:t>Data: </a:t>
            </a:r>
          </a:p>
          <a:p>
            <a:pPr marL="0" indent="0">
              <a:buNone/>
            </a:pPr>
            <a:r>
              <a:rPr lang="en-US" dirty="0">
                <a:solidFill>
                  <a:schemeClr val="accent1"/>
                </a:solidFill>
              </a:rPr>
              <a:t>A B C D E F G H I J K L M N O P Q R S T U V W X Y Z</a:t>
            </a:r>
          </a:p>
          <a:p>
            <a:pPr marL="0" indent="0">
              <a:buNone/>
            </a:pPr>
            <a:endParaRPr lang="en-US" sz="2800" dirty="0"/>
          </a:p>
          <a:p>
            <a:pPr marL="0" indent="0">
              <a:buNone/>
            </a:pPr>
            <a:r>
              <a:rPr lang="en-US" sz="2800" dirty="0"/>
              <a:t>Rules, or Algorithms:</a:t>
            </a:r>
          </a:p>
          <a:p>
            <a:pPr marL="0" indent="0">
              <a:buNone/>
            </a:pPr>
            <a:r>
              <a:rPr lang="en-US" sz="2800" i="1" dirty="0">
                <a:solidFill>
                  <a:schemeClr val="accent1"/>
                </a:solidFill>
              </a:rPr>
              <a:t>about, Learning, language – </a:t>
            </a:r>
            <a:r>
              <a:rPr lang="en-US" sz="2800" dirty="0">
                <a:solidFill>
                  <a:schemeClr val="accent3">
                    <a:lumMod val="75000"/>
                  </a:schemeClr>
                </a:solidFill>
              </a:rPr>
              <a:t>Spelling and sounding builds words</a:t>
            </a:r>
          </a:p>
          <a:p>
            <a:pPr marL="0" indent="0">
              <a:buNone/>
            </a:pPr>
            <a:r>
              <a:rPr lang="en-US" sz="2800" dirty="0">
                <a:solidFill>
                  <a:schemeClr val="accent1"/>
                </a:solidFill>
              </a:rPr>
              <a:t>Learning about language. – </a:t>
            </a:r>
            <a:r>
              <a:rPr lang="en-US" sz="2800" dirty="0">
                <a:solidFill>
                  <a:schemeClr val="accent3">
                    <a:lumMod val="75000"/>
                  </a:schemeClr>
                </a:solidFill>
              </a:rPr>
              <a:t>Words build sentences</a:t>
            </a:r>
          </a:p>
          <a:p>
            <a:pPr marL="0" indent="0">
              <a:buNone/>
            </a:pPr>
            <a:endParaRPr lang="en-US" sz="2800" dirty="0"/>
          </a:p>
          <a:p>
            <a:pPr marL="0" indent="0">
              <a:buNone/>
            </a:pPr>
            <a:r>
              <a:rPr lang="en-US" sz="2800" dirty="0"/>
              <a:t>Learning, or Abstraction:</a:t>
            </a:r>
          </a:p>
          <a:p>
            <a:pPr marL="0" indent="0">
              <a:buNone/>
            </a:pPr>
            <a:r>
              <a:rPr lang="en-US" sz="2800" dirty="0">
                <a:solidFill>
                  <a:schemeClr val="accent1"/>
                </a:solidFill>
              </a:rPr>
              <a:t>Any new understanding proceeds from previous knowledge.</a:t>
            </a:r>
          </a:p>
        </p:txBody>
      </p:sp>
    </p:spTree>
    <p:extLst>
      <p:ext uri="{BB962C8B-B14F-4D97-AF65-F5344CB8AC3E}">
        <p14:creationId xmlns:p14="http://schemas.microsoft.com/office/powerpoint/2010/main" val="4107914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wipe(left)">
                                      <p:cBhvr>
                                        <p:cTn id="7" dur="1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animEffect transition="in" filter="fade">
                                      <p:cBhvr>
                                        <p:cTn id="15" dur="500"/>
                                        <p:tgtEl>
                                          <p:spTgt spid="3">
                                            <p:txEl>
                                              <p:pRg st="4" end="4"/>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5" end="5"/>
                                            </p:txEl>
                                          </p:spTgt>
                                        </p:tgtEl>
                                        <p:attrNameLst>
                                          <p:attrName>style.visibility</p:attrName>
                                        </p:attrNameLst>
                                      </p:cBhvr>
                                      <p:to>
                                        <p:strVal val="visible"/>
                                      </p:to>
                                    </p:set>
                                    <p:animEffect transition="in" filter="fade">
                                      <p:cBhvr>
                                        <p:cTn id="20" dur="500"/>
                                        <p:tgtEl>
                                          <p:spTgt spid="3">
                                            <p:txEl>
                                              <p:pRg st="5" end="5"/>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animEffect transition="in" filter="fade">
                                      <p:cBhvr>
                                        <p:cTn id="25" dur="500"/>
                                        <p:tgtEl>
                                          <p:spTgt spid="3">
                                            <p:txEl>
                                              <p:pRg st="7" end="7"/>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
                                            <p:txEl>
                                              <p:pRg st="8" end="8"/>
                                            </p:txEl>
                                          </p:spTgt>
                                        </p:tgtEl>
                                        <p:attrNameLst>
                                          <p:attrName>style.visibility</p:attrName>
                                        </p:attrNameLst>
                                      </p:cBhvr>
                                      <p:to>
                                        <p:strVal val="visible"/>
                                      </p:to>
                                    </p:set>
                                    <p:animEffect transition="in" filter="fade">
                                      <p:cBhvr>
                                        <p:cTn id="28"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2"/>
          <p:cNvSpPr txBox="1">
            <a:spLocks/>
          </p:cNvSpPr>
          <p:nvPr/>
        </p:nvSpPr>
        <p:spPr>
          <a:xfrm>
            <a:off x="267046" y="1166608"/>
            <a:ext cx="8738974" cy="5424790"/>
          </a:xfrm>
          <a:prstGeom prst="rect">
            <a:avLst/>
          </a:prstGeom>
        </p:spPr>
        <p:txBody>
          <a:bodyPr>
            <a:normAutofit fontScale="92500"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4214" b="0" i="0" u="none" strike="noStrike" kern="1200" cap="none" spc="0" normalizeH="0" baseline="0" noProof="0" dirty="0">
                <a:ln>
                  <a:noFill/>
                </a:ln>
                <a:solidFill>
                  <a:srgbClr val="505050">
                    <a:lumMod val="75000"/>
                  </a:srgbClr>
                </a:solidFill>
                <a:effectLst/>
                <a:uLnTx/>
                <a:uFillTx/>
                <a:latin typeface="Segoe UI Light"/>
                <a:ea typeface="+mn-ea"/>
                <a:cs typeface="+mn-cs"/>
              </a:rPr>
              <a:t>Split into two main categories:</a:t>
            </a:r>
          </a:p>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528" b="0" i="0" u="none" strike="noStrike" kern="1200" cap="none" spc="0" normalizeH="0" baseline="0" noProof="0" dirty="0">
              <a:ln>
                <a:noFill/>
              </a:ln>
              <a:solidFill>
                <a:srgbClr val="002864"/>
              </a:solidFill>
              <a:effectLst/>
              <a:uLnTx/>
              <a:uFillTx/>
              <a:latin typeface="Segoe UI Light"/>
              <a:ea typeface="+mn-ea"/>
              <a:cs typeface="+mn-cs"/>
            </a:endParaRP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136" b="0" i="0" u="none" strike="noStrike" kern="1200" cap="none" spc="0" normalizeH="0" baseline="0" noProof="0" dirty="0">
                <a:ln>
                  <a:noFill/>
                </a:ln>
                <a:solidFill>
                  <a:srgbClr val="0070C0"/>
                </a:solidFill>
                <a:effectLst/>
                <a:uLnTx/>
                <a:uFillTx/>
                <a:latin typeface="Segoe UI"/>
                <a:ea typeface="+mn-ea"/>
                <a:cs typeface="+mn-cs"/>
              </a:rPr>
              <a:t>Supervised learning</a:t>
            </a:r>
          </a:p>
          <a:p>
            <a:pPr marL="784187" marR="0" lvl="2"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745" b="0" i="0" u="none" strike="noStrike" kern="1200" cap="none" spc="0" normalizeH="0" baseline="0" noProof="0" dirty="0">
                <a:ln>
                  <a:noFill/>
                </a:ln>
                <a:solidFill>
                  <a:srgbClr val="0070C0"/>
                </a:solidFill>
                <a:effectLst/>
                <a:uLnTx/>
                <a:uFillTx/>
                <a:latin typeface="Segoe UI"/>
                <a:ea typeface="+mn-ea"/>
                <a:cs typeface="+mn-cs"/>
              </a:rPr>
              <a:t>Predicting the future</a:t>
            </a:r>
          </a:p>
          <a:p>
            <a:pPr marL="784187" marR="0" lvl="2"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745" b="0" i="0" u="none" strike="noStrike" kern="1200" cap="none" spc="0" normalizeH="0" baseline="0" noProof="0" dirty="0">
                <a:ln>
                  <a:noFill/>
                </a:ln>
                <a:solidFill>
                  <a:srgbClr val="0070C0"/>
                </a:solidFill>
                <a:effectLst/>
                <a:uLnTx/>
                <a:uFillTx/>
                <a:latin typeface="Segoe UI"/>
                <a:ea typeface="+mn-ea"/>
                <a:cs typeface="+mn-cs"/>
              </a:rPr>
              <a:t>Learn from known past examples to predict future</a:t>
            </a:r>
          </a:p>
          <a:p>
            <a:pPr marL="784187" marR="0" lvl="2"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745" b="0" i="0" u="none" strike="noStrike" kern="1200" cap="none" spc="0" normalizeH="0" baseline="0" noProof="0" dirty="0">
                <a:ln>
                  <a:noFill/>
                </a:ln>
                <a:solidFill>
                  <a:srgbClr val="0070C0"/>
                </a:solidFill>
                <a:effectLst/>
                <a:uLnTx/>
                <a:uFillTx/>
                <a:latin typeface="Segoe UI"/>
                <a:ea typeface="+mn-ea"/>
                <a:cs typeface="+mn-cs"/>
              </a:rPr>
              <a:t>Labels provided</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136" b="0" i="0" u="none" strike="noStrike" kern="1200" cap="none" spc="0" normalizeH="0" baseline="0" noProof="0" dirty="0">
              <a:ln>
                <a:noFill/>
              </a:ln>
              <a:solidFill>
                <a:srgbClr val="002864"/>
              </a:solidFill>
              <a:effectLst/>
              <a:uLnTx/>
              <a:uFillTx/>
              <a:latin typeface="Segoe UI"/>
              <a:ea typeface="+mn-ea"/>
              <a:cs typeface="+mn-cs"/>
            </a:endParaRP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136" b="0" i="0" u="none" strike="noStrike" kern="1200" cap="none" spc="0" normalizeH="0" baseline="0" noProof="0" dirty="0">
                <a:ln>
                  <a:noFill/>
                </a:ln>
                <a:solidFill>
                  <a:srgbClr val="7030A0"/>
                </a:solidFill>
                <a:effectLst/>
                <a:uLnTx/>
                <a:uFillTx/>
                <a:latin typeface="Segoe UI"/>
                <a:ea typeface="+mn-ea"/>
                <a:cs typeface="+mn-cs"/>
              </a:rPr>
              <a:t>Unsupervised learning</a:t>
            </a:r>
          </a:p>
          <a:p>
            <a:pPr marL="784187" marR="0" lvl="2"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745" b="0" i="0" u="none" strike="noStrike" kern="1200" cap="none" spc="0" normalizeH="0" baseline="0" noProof="0" dirty="0">
                <a:ln>
                  <a:noFill/>
                </a:ln>
                <a:solidFill>
                  <a:srgbClr val="7030A0"/>
                </a:solidFill>
                <a:effectLst/>
                <a:uLnTx/>
                <a:uFillTx/>
                <a:latin typeface="Segoe UI"/>
                <a:ea typeface="+mn-ea"/>
                <a:cs typeface="+mn-cs"/>
              </a:rPr>
              <a:t>Making sense of data</a:t>
            </a:r>
          </a:p>
          <a:p>
            <a:pPr marL="784187" marR="0" lvl="2"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745" b="0" i="0" u="none" strike="noStrike" kern="1200" cap="none" spc="0" normalizeH="0" baseline="0" noProof="0" dirty="0">
                <a:ln>
                  <a:noFill/>
                </a:ln>
                <a:solidFill>
                  <a:srgbClr val="7030A0"/>
                </a:solidFill>
                <a:effectLst/>
                <a:uLnTx/>
                <a:uFillTx/>
                <a:latin typeface="Segoe UI"/>
                <a:ea typeface="+mn-ea"/>
                <a:cs typeface="+mn-cs"/>
              </a:rPr>
              <a:t>Understanding the past</a:t>
            </a:r>
          </a:p>
          <a:p>
            <a:pPr marL="784187" marR="0" lvl="2"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745" b="0" i="0" u="none" strike="noStrike" kern="1200" cap="none" spc="0" normalizeH="0" baseline="0" noProof="0" dirty="0">
                <a:ln>
                  <a:noFill/>
                </a:ln>
                <a:solidFill>
                  <a:srgbClr val="7030A0"/>
                </a:solidFill>
                <a:effectLst/>
                <a:uLnTx/>
                <a:uFillTx/>
                <a:latin typeface="Segoe UI"/>
                <a:ea typeface="+mn-ea"/>
                <a:cs typeface="+mn-cs"/>
              </a:rPr>
              <a:t>Learning the structure of data</a:t>
            </a:r>
          </a:p>
          <a:p>
            <a:pPr marL="784187" marR="0" lvl="2"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745" b="0" i="0" u="none" strike="noStrike" kern="1200" cap="none" spc="0" normalizeH="0" baseline="0" noProof="0" dirty="0">
                <a:ln>
                  <a:noFill/>
                </a:ln>
                <a:solidFill>
                  <a:srgbClr val="7030A0"/>
                </a:solidFill>
                <a:effectLst/>
                <a:uLnTx/>
                <a:uFillTx/>
                <a:latin typeface="Segoe UI"/>
                <a:ea typeface="+mn-ea"/>
                <a:cs typeface="+mn-cs"/>
              </a:rPr>
              <a:t>Labels no provided</a:t>
            </a:r>
          </a:p>
        </p:txBody>
      </p:sp>
      <p:sp>
        <p:nvSpPr>
          <p:cNvPr id="3" name="Title 1"/>
          <p:cNvSpPr txBox="1">
            <a:spLocks/>
          </p:cNvSpPr>
          <p:nvPr/>
        </p:nvSpPr>
        <p:spPr>
          <a:xfrm>
            <a:off x="1" y="487"/>
            <a:ext cx="11425090" cy="881854"/>
          </a:xfrm>
          <a:prstGeom prst="rect">
            <a:avLst/>
          </a:prstGeom>
        </p:spPr>
        <p:txBody>
          <a:bodyPr vert="horz" wrap="square" lIns="143428" tIns="89642" rIns="143428" bIns="89642" rtlCol="0" anchor="t">
            <a:noAutofit/>
          </a:bodyPr>
          <a:lstStyle>
            <a:lvl1pPr>
              <a:lnSpc>
                <a:spcPct val="90000"/>
              </a:lnSpc>
              <a:spcBef>
                <a:spcPct val="0"/>
              </a:spcBef>
              <a:buNone/>
              <a:defRPr lang="en-US" sz="4400" b="0" cap="none" spc="-102" baseline="0" dirty="0" smtClean="0">
                <a:ln w="3175">
                  <a:noFill/>
                </a:ln>
                <a:solidFill>
                  <a:schemeClr val="tx1">
                    <a:lumMod val="75000"/>
                  </a:schemeClr>
                </a:solidFill>
                <a:effectLst/>
                <a:latin typeface="+mj-lt"/>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dirty="0">
                <a:ln w="3175">
                  <a:noFill/>
                </a:ln>
                <a:solidFill>
                  <a:srgbClr val="505050">
                    <a:lumMod val="75000"/>
                  </a:srgbClr>
                </a:solidFill>
                <a:effectLst/>
                <a:uLnTx/>
                <a:uFillTx/>
                <a:latin typeface="Segoe UI Light"/>
                <a:ea typeface="+mn-ea"/>
                <a:cs typeface="Segoe UI" pitchFamily="34" charset="0"/>
              </a:rPr>
              <a:t>Machine Learning Algorithms</a:t>
            </a:r>
          </a:p>
        </p:txBody>
      </p:sp>
      <p:pic>
        <p:nvPicPr>
          <p:cNvPr id="4" name="Picture 3"/>
          <p:cNvPicPr>
            <a:picLocks noChangeAspect="1"/>
          </p:cNvPicPr>
          <p:nvPr/>
        </p:nvPicPr>
        <p:blipFill>
          <a:blip r:embed="rId3"/>
          <a:stretch>
            <a:fillRect/>
          </a:stretch>
        </p:blipFill>
        <p:spPr>
          <a:xfrm>
            <a:off x="10370851" y="2085422"/>
            <a:ext cx="1209795" cy="1951515"/>
          </a:xfrm>
          <a:prstGeom prst="rect">
            <a:avLst/>
          </a:prstGeom>
        </p:spPr>
      </p:pic>
      <p:pic>
        <p:nvPicPr>
          <p:cNvPr id="5" name="Picture 4"/>
          <p:cNvPicPr>
            <a:picLocks noChangeAspect="1"/>
          </p:cNvPicPr>
          <p:nvPr/>
        </p:nvPicPr>
        <p:blipFill>
          <a:blip r:embed="rId4"/>
          <a:stretch>
            <a:fillRect/>
          </a:stretch>
        </p:blipFill>
        <p:spPr>
          <a:xfrm flipH="1">
            <a:off x="10482673" y="4859584"/>
            <a:ext cx="1015550" cy="1496955"/>
          </a:xfrm>
          <a:prstGeom prst="rect">
            <a:avLst/>
          </a:prstGeom>
        </p:spPr>
      </p:pic>
      <p:pic>
        <p:nvPicPr>
          <p:cNvPr id="8" name="Picture 7"/>
          <p:cNvPicPr>
            <a:picLocks noChangeAspect="1"/>
          </p:cNvPicPr>
          <p:nvPr/>
        </p:nvPicPr>
        <p:blipFill>
          <a:blip r:embed="rId5"/>
          <a:stretch>
            <a:fillRect/>
          </a:stretch>
        </p:blipFill>
        <p:spPr>
          <a:xfrm>
            <a:off x="9502835" y="1556983"/>
            <a:ext cx="691090" cy="1312437"/>
          </a:xfrm>
          <a:prstGeom prst="rect">
            <a:avLst/>
          </a:prstGeom>
        </p:spPr>
      </p:pic>
      <p:pic>
        <p:nvPicPr>
          <p:cNvPr id="9" name="Picture 8"/>
          <p:cNvPicPr>
            <a:picLocks noChangeAspect="1"/>
          </p:cNvPicPr>
          <p:nvPr/>
        </p:nvPicPr>
        <p:blipFill>
          <a:blip r:embed="rId5"/>
          <a:stretch>
            <a:fillRect/>
          </a:stretch>
        </p:blipFill>
        <p:spPr>
          <a:xfrm>
            <a:off x="9495840" y="4572235"/>
            <a:ext cx="691090" cy="1312437"/>
          </a:xfrm>
          <a:prstGeom prst="rect">
            <a:avLst/>
          </a:prstGeom>
        </p:spPr>
      </p:pic>
    </p:spTree>
    <p:extLst>
      <p:ext uri="{BB962C8B-B14F-4D97-AF65-F5344CB8AC3E}">
        <p14:creationId xmlns:p14="http://schemas.microsoft.com/office/powerpoint/2010/main" val="9936270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3632"/>
            <a:ext cx="11653523" cy="899537"/>
          </a:xfrm>
        </p:spPr>
        <p:txBody>
          <a:bodyPr vert="horz" wrap="square" lIns="143428" tIns="89642" rIns="143428" bIns="89642" rtlCol="0" anchor="t">
            <a:noAutofit/>
          </a:bodyPr>
          <a:lstStyle/>
          <a:p>
            <a:r>
              <a:rPr lang="en-US" sz="4313" dirty="0">
                <a:solidFill>
                  <a:schemeClr val="tx1">
                    <a:lumMod val="75000"/>
                  </a:schemeClr>
                </a:solidFill>
              </a:rPr>
              <a:t>Machine Learning Capabilities</a:t>
            </a:r>
          </a:p>
        </p:txBody>
      </p:sp>
      <p:sp>
        <p:nvSpPr>
          <p:cNvPr id="6" name="TextBox 5"/>
          <p:cNvSpPr txBox="1"/>
          <p:nvPr/>
        </p:nvSpPr>
        <p:spPr>
          <a:xfrm>
            <a:off x="1188792" y="980585"/>
            <a:ext cx="2805403" cy="1009669"/>
          </a:xfrm>
          <a:prstGeom prst="rect">
            <a:avLst/>
          </a:prstGeom>
          <a:noFill/>
        </p:spPr>
        <p:txBody>
          <a:bodyPr wrap="square" lIns="179234" tIns="143387" rIns="179234" bIns="143387" rtlCol="0">
            <a:spAutoFit/>
          </a:bodyPr>
          <a:lstStyle/>
          <a:p>
            <a:pPr marL="0" marR="0" lvl="0" indent="0" algn="ctr" defTabSz="913685" rtl="0" eaLnBrk="1" fontAlgn="auto" latinLnBrk="0" hangingPunct="1">
              <a:lnSpc>
                <a:spcPct val="90000"/>
              </a:lnSpc>
              <a:spcBef>
                <a:spcPts val="0"/>
              </a:spcBef>
              <a:spcAft>
                <a:spcPts val="0"/>
              </a:spcAft>
              <a:buClrTx/>
              <a:buSzTx/>
              <a:buFontTx/>
              <a:buNone/>
              <a:tabLst/>
              <a:defRPr/>
            </a:pPr>
            <a:r>
              <a:rPr kumimoji="0" lang="en-US" sz="2745" b="0" i="0" u="none" strike="noStrike" kern="0" cap="none" spc="0" normalizeH="0" baseline="0" noProof="0" dirty="0">
                <a:ln>
                  <a:noFill/>
                </a:ln>
                <a:solidFill>
                  <a:srgbClr val="505050">
                    <a:lumMod val="75000"/>
                  </a:srgbClr>
                </a:solidFill>
                <a:effectLst/>
                <a:uLnTx/>
                <a:uFillTx/>
                <a:latin typeface="Segoe UI"/>
                <a:ea typeface="+mn-ea"/>
                <a:cs typeface="+mn-cs"/>
              </a:rPr>
              <a:t>Which category</a:t>
            </a:r>
          </a:p>
          <a:p>
            <a:pPr marL="0" marR="0" lvl="0" indent="0" algn="ctr" defTabSz="913685" rtl="0" eaLnBrk="1" fontAlgn="auto" latinLnBrk="0" hangingPunct="1">
              <a:lnSpc>
                <a:spcPct val="90000"/>
              </a:lnSpc>
              <a:spcBef>
                <a:spcPts val="0"/>
              </a:spcBef>
              <a:spcAft>
                <a:spcPts val="0"/>
              </a:spcAft>
              <a:buClrTx/>
              <a:buSzTx/>
              <a:buFontTx/>
              <a:buNone/>
              <a:tabLst/>
              <a:defRPr/>
            </a:pPr>
            <a:r>
              <a:rPr kumimoji="0" lang="en-US" sz="2353" b="0" i="1" u="none" strike="noStrike" kern="0" cap="none" spc="0" normalizeH="0" baseline="0" noProof="0" dirty="0">
                <a:ln>
                  <a:noFill/>
                </a:ln>
                <a:solidFill>
                  <a:srgbClr val="7030A0"/>
                </a:solidFill>
                <a:effectLst/>
                <a:uLnTx/>
                <a:uFillTx/>
                <a:latin typeface="Segoe UI"/>
                <a:ea typeface="+mn-ea"/>
                <a:cs typeface="+mn-cs"/>
              </a:rPr>
              <a:t>(Classification)</a:t>
            </a:r>
            <a:endParaRPr kumimoji="0" lang="en-US" sz="2745" b="0" i="1" u="none" strike="noStrike" kern="0" cap="none" spc="0" normalizeH="0" baseline="0" noProof="0" dirty="0">
              <a:ln>
                <a:noFill/>
              </a:ln>
              <a:solidFill>
                <a:srgbClr val="7030A0"/>
              </a:solidFill>
              <a:effectLst/>
              <a:uLnTx/>
              <a:uFillTx/>
              <a:latin typeface="Segoe UI"/>
              <a:ea typeface="+mn-ea"/>
              <a:cs typeface="+mn-cs"/>
            </a:endParaRPr>
          </a:p>
        </p:txBody>
      </p:sp>
      <p:sp>
        <p:nvSpPr>
          <p:cNvPr id="14" name="TextBox 13"/>
          <p:cNvSpPr txBox="1"/>
          <p:nvPr/>
        </p:nvSpPr>
        <p:spPr>
          <a:xfrm>
            <a:off x="5276212" y="1008896"/>
            <a:ext cx="2805403" cy="1397413"/>
          </a:xfrm>
          <a:prstGeom prst="rect">
            <a:avLst/>
          </a:prstGeom>
          <a:noFill/>
        </p:spPr>
        <p:txBody>
          <a:bodyPr wrap="square" lIns="179234" tIns="143387" rIns="179234" bIns="143387" rtlCol="0">
            <a:spAutoFit/>
          </a:bodyPr>
          <a:lstStyle/>
          <a:p>
            <a:pPr marL="0" marR="0" lvl="0" indent="0" algn="ctr" defTabSz="913685" rtl="0" eaLnBrk="1" fontAlgn="auto" latinLnBrk="0" hangingPunct="1">
              <a:lnSpc>
                <a:spcPct val="90000"/>
              </a:lnSpc>
              <a:spcBef>
                <a:spcPts val="0"/>
              </a:spcBef>
              <a:spcAft>
                <a:spcPts val="0"/>
              </a:spcAft>
              <a:buClrTx/>
              <a:buSzTx/>
              <a:buFontTx/>
              <a:buNone/>
              <a:tabLst/>
              <a:defRPr/>
            </a:pPr>
            <a:r>
              <a:rPr kumimoji="0" lang="en-US" sz="2745" b="0" i="0" u="none" strike="noStrike" kern="0" cap="none" spc="0" normalizeH="0" baseline="0" noProof="0" dirty="0">
                <a:ln>
                  <a:noFill/>
                </a:ln>
                <a:solidFill>
                  <a:srgbClr val="505050">
                    <a:lumMod val="75000"/>
                  </a:srgbClr>
                </a:solidFill>
                <a:effectLst/>
                <a:uLnTx/>
                <a:uFillTx/>
                <a:latin typeface="Segoe UI"/>
                <a:ea typeface="+mn-ea"/>
                <a:cs typeface="+mn-cs"/>
              </a:rPr>
              <a:t>How much/many</a:t>
            </a:r>
          </a:p>
          <a:p>
            <a:pPr marL="0" marR="0" lvl="0" indent="0" algn="ctr" defTabSz="913685" rtl="0" eaLnBrk="1" fontAlgn="auto" latinLnBrk="0" hangingPunct="1">
              <a:lnSpc>
                <a:spcPct val="90000"/>
              </a:lnSpc>
              <a:spcBef>
                <a:spcPts val="0"/>
              </a:spcBef>
              <a:spcAft>
                <a:spcPts val="0"/>
              </a:spcAft>
              <a:buClrTx/>
              <a:buSzTx/>
              <a:buFontTx/>
              <a:buNone/>
              <a:tabLst/>
              <a:defRPr/>
            </a:pPr>
            <a:r>
              <a:rPr kumimoji="0" lang="en-US" sz="2353" b="0" i="1" u="none" strike="noStrike" kern="0" cap="none" spc="0" normalizeH="0" baseline="0" noProof="0" dirty="0">
                <a:ln>
                  <a:noFill/>
                </a:ln>
                <a:solidFill>
                  <a:srgbClr val="7030A0"/>
                </a:solidFill>
                <a:effectLst/>
                <a:uLnTx/>
                <a:uFillTx/>
                <a:latin typeface="Segoe UI"/>
                <a:ea typeface="+mn-ea"/>
                <a:cs typeface="+mn-cs"/>
              </a:rPr>
              <a:t>(Regression)</a:t>
            </a:r>
          </a:p>
        </p:txBody>
      </p:sp>
      <p:sp>
        <p:nvSpPr>
          <p:cNvPr id="17" name="TextBox 16"/>
          <p:cNvSpPr txBox="1"/>
          <p:nvPr/>
        </p:nvSpPr>
        <p:spPr>
          <a:xfrm>
            <a:off x="8935247" y="1008896"/>
            <a:ext cx="2788882" cy="1342021"/>
          </a:xfrm>
          <a:prstGeom prst="rect">
            <a:avLst/>
          </a:prstGeom>
          <a:noFill/>
        </p:spPr>
        <p:txBody>
          <a:bodyPr wrap="square" lIns="179234" tIns="143387" rIns="179234" bIns="143387" rtlCol="0">
            <a:spAutoFit/>
          </a:bodyPr>
          <a:lstStyle/>
          <a:p>
            <a:pPr marL="0" marR="0" lvl="0" indent="0" algn="ctr" defTabSz="913685" rtl="0" eaLnBrk="1" fontAlgn="auto" latinLnBrk="0" hangingPunct="1">
              <a:lnSpc>
                <a:spcPct val="90000"/>
              </a:lnSpc>
              <a:spcBef>
                <a:spcPts val="0"/>
              </a:spcBef>
              <a:spcAft>
                <a:spcPts val="0"/>
              </a:spcAft>
              <a:buClrTx/>
              <a:buSzTx/>
              <a:buFontTx/>
              <a:buNone/>
              <a:tabLst/>
              <a:defRPr/>
            </a:pPr>
            <a:r>
              <a:rPr kumimoji="0" lang="en-US" sz="2745" b="0" i="0" u="none" strike="noStrike" kern="0" cap="none" spc="0" normalizeH="0" baseline="0" noProof="0" dirty="0">
                <a:ln>
                  <a:noFill/>
                </a:ln>
                <a:solidFill>
                  <a:srgbClr val="FF0000"/>
                </a:solidFill>
                <a:effectLst/>
                <a:uLnTx/>
                <a:uFillTx/>
                <a:latin typeface="Segoe UI"/>
                <a:ea typeface="+mn-ea"/>
                <a:cs typeface="+mn-cs"/>
              </a:rPr>
              <a:t>Which group</a:t>
            </a:r>
          </a:p>
          <a:p>
            <a:pPr marL="0" marR="0" lvl="0" indent="0" algn="ctr" defTabSz="913685" rtl="0" eaLnBrk="1" fontAlgn="auto" latinLnBrk="0" hangingPunct="1">
              <a:lnSpc>
                <a:spcPct val="90000"/>
              </a:lnSpc>
              <a:spcBef>
                <a:spcPts val="0"/>
              </a:spcBef>
              <a:spcAft>
                <a:spcPts val="0"/>
              </a:spcAft>
              <a:buClrTx/>
              <a:buSzTx/>
              <a:buFontTx/>
              <a:buNone/>
              <a:tabLst/>
              <a:defRPr/>
            </a:pPr>
            <a:r>
              <a:rPr kumimoji="0" lang="en-US" sz="2353" b="0" i="0" u="none" strike="noStrike" kern="0" cap="none" spc="0" normalizeH="0" baseline="0" noProof="0" dirty="0">
                <a:ln>
                  <a:noFill/>
                </a:ln>
                <a:solidFill>
                  <a:srgbClr val="7030A0"/>
                </a:solidFill>
                <a:effectLst/>
                <a:uLnTx/>
                <a:uFillTx/>
                <a:latin typeface="Segoe UI"/>
                <a:ea typeface="+mn-ea"/>
                <a:cs typeface="+mn-cs"/>
              </a:rPr>
              <a:t>(Clustering,</a:t>
            </a:r>
          </a:p>
          <a:p>
            <a:pPr marL="0" marR="0" lvl="0" indent="0" algn="ctr" defTabSz="913685" rtl="0" eaLnBrk="1" fontAlgn="auto" latinLnBrk="0" hangingPunct="1">
              <a:lnSpc>
                <a:spcPct val="90000"/>
              </a:lnSpc>
              <a:spcBef>
                <a:spcPts val="0"/>
              </a:spcBef>
              <a:spcAft>
                <a:spcPts val="0"/>
              </a:spcAft>
              <a:buClrTx/>
              <a:buSzTx/>
              <a:buFontTx/>
              <a:buNone/>
              <a:tabLst/>
              <a:defRPr/>
            </a:pPr>
            <a:r>
              <a:rPr kumimoji="0" lang="en-US" sz="2353" b="0" i="0" u="none" strike="noStrike" kern="0" cap="none" spc="0" normalizeH="0" baseline="0" noProof="0" dirty="0">
                <a:ln>
                  <a:noFill/>
                </a:ln>
                <a:solidFill>
                  <a:srgbClr val="7030A0"/>
                </a:solidFill>
                <a:effectLst/>
                <a:uLnTx/>
                <a:uFillTx/>
                <a:latin typeface="Segoe UI"/>
                <a:ea typeface="+mn-ea"/>
                <a:cs typeface="+mn-cs"/>
              </a:rPr>
              <a:t>Recommender)</a:t>
            </a:r>
          </a:p>
        </p:txBody>
      </p:sp>
      <p:sp>
        <p:nvSpPr>
          <p:cNvPr id="20" name="TextBox 19"/>
          <p:cNvSpPr txBox="1"/>
          <p:nvPr/>
        </p:nvSpPr>
        <p:spPr>
          <a:xfrm>
            <a:off x="5200583" y="3944158"/>
            <a:ext cx="2805403" cy="1009669"/>
          </a:xfrm>
          <a:prstGeom prst="rect">
            <a:avLst/>
          </a:prstGeom>
          <a:noFill/>
        </p:spPr>
        <p:txBody>
          <a:bodyPr wrap="square" lIns="179234" tIns="143387" rIns="179234" bIns="143387" rtlCol="0">
            <a:spAutoFit/>
          </a:bodyPr>
          <a:lstStyle/>
          <a:p>
            <a:pPr marL="0" marR="0" lvl="0" indent="0" algn="ctr" defTabSz="913685" rtl="0" eaLnBrk="1" fontAlgn="auto" latinLnBrk="0" hangingPunct="1">
              <a:lnSpc>
                <a:spcPct val="90000"/>
              </a:lnSpc>
              <a:spcBef>
                <a:spcPts val="0"/>
              </a:spcBef>
              <a:spcAft>
                <a:spcPts val="0"/>
              </a:spcAft>
              <a:buClrTx/>
              <a:buSzTx/>
              <a:buFontTx/>
              <a:buNone/>
              <a:tabLst/>
              <a:defRPr/>
            </a:pPr>
            <a:r>
              <a:rPr kumimoji="0" lang="en-US" sz="2745" b="0" i="0" u="none" strike="noStrike" kern="0" cap="none" spc="0" normalizeH="0" baseline="0" noProof="0" dirty="0">
                <a:ln>
                  <a:noFill/>
                </a:ln>
                <a:solidFill>
                  <a:srgbClr val="505050">
                    <a:lumMod val="75000"/>
                  </a:srgbClr>
                </a:solidFill>
                <a:effectLst/>
                <a:uLnTx/>
                <a:uFillTx/>
                <a:latin typeface="Segoe UI"/>
                <a:ea typeface="+mn-ea"/>
                <a:cs typeface="+mn-cs"/>
              </a:rPr>
              <a:t>Is it odd </a:t>
            </a:r>
          </a:p>
          <a:p>
            <a:pPr marL="0" marR="0" lvl="0" indent="0" algn="ctr" defTabSz="913685" rtl="0" eaLnBrk="1" fontAlgn="auto" latinLnBrk="0" hangingPunct="1">
              <a:lnSpc>
                <a:spcPct val="90000"/>
              </a:lnSpc>
              <a:spcBef>
                <a:spcPts val="0"/>
              </a:spcBef>
              <a:spcAft>
                <a:spcPts val="0"/>
              </a:spcAft>
              <a:buClrTx/>
              <a:buSzTx/>
              <a:buFontTx/>
              <a:buNone/>
              <a:tabLst/>
              <a:defRPr/>
            </a:pPr>
            <a:r>
              <a:rPr kumimoji="0" lang="en-US" sz="2353" b="0" i="1" u="none" strike="noStrike" kern="0" cap="none" spc="0" normalizeH="0" baseline="0" noProof="0" dirty="0">
                <a:ln>
                  <a:noFill/>
                </a:ln>
                <a:solidFill>
                  <a:srgbClr val="7030A0"/>
                </a:solidFill>
                <a:effectLst/>
                <a:uLnTx/>
                <a:uFillTx/>
                <a:latin typeface="Segoe UI"/>
                <a:ea typeface="+mn-ea"/>
                <a:cs typeface="+mn-cs"/>
              </a:rPr>
              <a:t>(Anomaly)</a:t>
            </a:r>
            <a:endParaRPr kumimoji="0" lang="en-US" sz="2745" b="0" i="1" u="none" strike="noStrike" kern="0" cap="none" spc="0" normalizeH="0" baseline="0" noProof="0" dirty="0">
              <a:ln>
                <a:noFill/>
              </a:ln>
              <a:solidFill>
                <a:srgbClr val="7030A0"/>
              </a:solidFill>
              <a:effectLst/>
              <a:uLnTx/>
              <a:uFillTx/>
              <a:latin typeface="Segoe UI"/>
              <a:ea typeface="+mn-ea"/>
              <a:cs typeface="+mn-cs"/>
            </a:endParaRPr>
          </a:p>
        </p:txBody>
      </p:sp>
      <p:sp>
        <p:nvSpPr>
          <p:cNvPr id="21" name="TextBox 20"/>
          <p:cNvSpPr txBox="1"/>
          <p:nvPr/>
        </p:nvSpPr>
        <p:spPr>
          <a:xfrm>
            <a:off x="8918727" y="3928046"/>
            <a:ext cx="2805403" cy="1342021"/>
          </a:xfrm>
          <a:prstGeom prst="rect">
            <a:avLst/>
          </a:prstGeom>
          <a:noFill/>
        </p:spPr>
        <p:txBody>
          <a:bodyPr wrap="square" lIns="179234" tIns="143387" rIns="179234" bIns="143387" rtlCol="0">
            <a:spAutoFit/>
          </a:bodyPr>
          <a:lstStyle/>
          <a:p>
            <a:pPr marL="0" marR="0" lvl="0" indent="0" algn="ctr" defTabSz="913685" rtl="0" eaLnBrk="1" fontAlgn="auto" latinLnBrk="0" hangingPunct="1">
              <a:lnSpc>
                <a:spcPct val="90000"/>
              </a:lnSpc>
              <a:spcBef>
                <a:spcPts val="0"/>
              </a:spcBef>
              <a:spcAft>
                <a:spcPts val="0"/>
              </a:spcAft>
              <a:buClrTx/>
              <a:buSzTx/>
              <a:buFontTx/>
              <a:buNone/>
              <a:tabLst/>
              <a:defRPr/>
            </a:pPr>
            <a:r>
              <a:rPr kumimoji="0" lang="en-US" sz="2745" b="0" i="0" u="none" strike="noStrike" kern="0" cap="none" spc="0" normalizeH="0" baseline="0" noProof="0" dirty="0">
                <a:ln>
                  <a:noFill/>
                </a:ln>
                <a:solidFill>
                  <a:srgbClr val="505050">
                    <a:lumMod val="75000"/>
                  </a:srgbClr>
                </a:solidFill>
                <a:effectLst/>
                <a:uLnTx/>
                <a:uFillTx/>
                <a:latin typeface="Segoe UI"/>
                <a:ea typeface="+mn-ea"/>
                <a:cs typeface="+mn-cs"/>
              </a:rPr>
              <a:t>Which action</a:t>
            </a:r>
          </a:p>
          <a:p>
            <a:pPr marL="0" marR="0" lvl="0" indent="0" algn="ctr" defTabSz="913685" rtl="0" eaLnBrk="1" fontAlgn="auto" latinLnBrk="0" hangingPunct="1">
              <a:lnSpc>
                <a:spcPct val="90000"/>
              </a:lnSpc>
              <a:spcBef>
                <a:spcPts val="0"/>
              </a:spcBef>
              <a:spcAft>
                <a:spcPts val="0"/>
              </a:spcAft>
              <a:buClrTx/>
              <a:buSzTx/>
              <a:buFontTx/>
              <a:buNone/>
              <a:tabLst/>
              <a:defRPr/>
            </a:pPr>
            <a:r>
              <a:rPr kumimoji="0" lang="en-US" sz="2353" b="0" i="0" u="none" strike="noStrike" kern="0" cap="none" spc="0" normalizeH="0" baseline="0" noProof="0" dirty="0">
                <a:ln>
                  <a:noFill/>
                </a:ln>
                <a:solidFill>
                  <a:srgbClr val="7030A0"/>
                </a:solidFill>
                <a:effectLst/>
                <a:uLnTx/>
                <a:uFillTx/>
                <a:latin typeface="Segoe UI"/>
                <a:ea typeface="+mn-ea"/>
                <a:cs typeface="+mn-cs"/>
              </a:rPr>
              <a:t>(Reinforcement Learning)</a:t>
            </a:r>
            <a:endParaRPr kumimoji="0" lang="en-US" sz="2745" b="0" i="0" u="none" strike="noStrike" kern="0" cap="none" spc="0" normalizeH="0" baseline="0" noProof="0" dirty="0">
              <a:ln>
                <a:noFill/>
              </a:ln>
              <a:solidFill>
                <a:srgbClr val="7030A0"/>
              </a:solidFill>
              <a:effectLst/>
              <a:uLnTx/>
              <a:uFillTx/>
              <a:latin typeface="Segoe UI"/>
              <a:ea typeface="+mn-ea"/>
              <a:cs typeface="+mn-cs"/>
            </a:endParaRPr>
          </a:p>
        </p:txBody>
      </p:sp>
      <p:pic>
        <p:nvPicPr>
          <p:cNvPr id="26" name="Picture 25"/>
          <p:cNvPicPr>
            <a:picLocks noChangeAspect="1"/>
          </p:cNvPicPr>
          <p:nvPr/>
        </p:nvPicPr>
        <p:blipFill>
          <a:blip r:embed="rId3"/>
          <a:stretch>
            <a:fillRect/>
          </a:stretch>
        </p:blipFill>
        <p:spPr>
          <a:xfrm>
            <a:off x="9335545" y="2293997"/>
            <a:ext cx="1882969" cy="1169999"/>
          </a:xfrm>
          <a:prstGeom prst="rect">
            <a:avLst/>
          </a:prstGeom>
        </p:spPr>
      </p:pic>
      <p:grpSp>
        <p:nvGrpSpPr>
          <p:cNvPr id="7" name="Group 6"/>
          <p:cNvGrpSpPr/>
          <p:nvPr/>
        </p:nvGrpSpPr>
        <p:grpSpPr>
          <a:xfrm>
            <a:off x="5780560" y="4988606"/>
            <a:ext cx="1435736" cy="1794045"/>
            <a:chOff x="3192511" y="4640128"/>
            <a:chExt cx="1481274" cy="2171250"/>
          </a:xfrm>
        </p:grpSpPr>
        <p:pic>
          <p:nvPicPr>
            <p:cNvPr id="27" name="Picture 26"/>
            <p:cNvPicPr>
              <a:picLocks noChangeAspect="1"/>
            </p:cNvPicPr>
            <p:nvPr/>
          </p:nvPicPr>
          <p:blipFill>
            <a:blip r:embed="rId4"/>
            <a:stretch>
              <a:fillRect/>
            </a:stretch>
          </p:blipFill>
          <p:spPr>
            <a:xfrm>
              <a:off x="3559365" y="4911411"/>
              <a:ext cx="160110" cy="1899967"/>
            </a:xfrm>
            <a:prstGeom prst="rect">
              <a:avLst/>
            </a:prstGeom>
          </p:spPr>
        </p:pic>
        <p:pic>
          <p:nvPicPr>
            <p:cNvPr id="28" name="Picture 27"/>
            <p:cNvPicPr>
              <a:picLocks noChangeAspect="1"/>
            </p:cNvPicPr>
            <p:nvPr/>
          </p:nvPicPr>
          <p:blipFill>
            <a:blip r:embed="rId5"/>
            <a:stretch>
              <a:fillRect/>
            </a:stretch>
          </p:blipFill>
          <p:spPr>
            <a:xfrm>
              <a:off x="3192511" y="4640128"/>
              <a:ext cx="225000" cy="2171250"/>
            </a:xfrm>
            <a:prstGeom prst="rect">
              <a:avLst/>
            </a:prstGeom>
          </p:spPr>
        </p:pic>
        <p:pic>
          <p:nvPicPr>
            <p:cNvPr id="29" name="Picture 28"/>
            <p:cNvPicPr>
              <a:picLocks noChangeAspect="1"/>
            </p:cNvPicPr>
            <p:nvPr/>
          </p:nvPicPr>
          <p:blipFill>
            <a:blip r:embed="rId6"/>
            <a:stretch>
              <a:fillRect/>
            </a:stretch>
          </p:blipFill>
          <p:spPr>
            <a:xfrm>
              <a:off x="3861328" y="5101378"/>
              <a:ext cx="180000" cy="1710000"/>
            </a:xfrm>
            <a:prstGeom prst="rect">
              <a:avLst/>
            </a:prstGeom>
          </p:spPr>
        </p:pic>
        <p:pic>
          <p:nvPicPr>
            <p:cNvPr id="30" name="Picture 29"/>
            <p:cNvPicPr>
              <a:picLocks noChangeAspect="1"/>
            </p:cNvPicPr>
            <p:nvPr/>
          </p:nvPicPr>
          <p:blipFill>
            <a:blip r:embed="rId7"/>
            <a:stretch>
              <a:fillRect/>
            </a:stretch>
          </p:blipFill>
          <p:spPr>
            <a:xfrm>
              <a:off x="4183182" y="6035128"/>
              <a:ext cx="180000" cy="776250"/>
            </a:xfrm>
            <a:prstGeom prst="rect">
              <a:avLst/>
            </a:prstGeom>
          </p:spPr>
        </p:pic>
        <p:pic>
          <p:nvPicPr>
            <p:cNvPr id="31" name="Picture 30"/>
            <p:cNvPicPr>
              <a:picLocks noChangeAspect="1"/>
            </p:cNvPicPr>
            <p:nvPr/>
          </p:nvPicPr>
          <p:blipFill>
            <a:blip r:embed="rId8"/>
            <a:stretch>
              <a:fillRect/>
            </a:stretch>
          </p:blipFill>
          <p:spPr>
            <a:xfrm>
              <a:off x="4505035" y="5585128"/>
              <a:ext cx="168750" cy="1226250"/>
            </a:xfrm>
            <a:prstGeom prst="rect">
              <a:avLst/>
            </a:prstGeom>
          </p:spPr>
        </p:pic>
      </p:grpSp>
      <p:pic>
        <p:nvPicPr>
          <p:cNvPr id="32" name="Picture 31"/>
          <p:cNvPicPr>
            <a:picLocks noChangeAspect="1"/>
          </p:cNvPicPr>
          <p:nvPr/>
        </p:nvPicPr>
        <p:blipFill>
          <a:blip r:embed="rId9"/>
          <a:stretch>
            <a:fillRect/>
          </a:stretch>
        </p:blipFill>
        <p:spPr>
          <a:xfrm>
            <a:off x="10104289" y="5534335"/>
            <a:ext cx="398869" cy="1132269"/>
          </a:xfrm>
          <a:prstGeom prst="rect">
            <a:avLst/>
          </a:prstGeom>
        </p:spPr>
      </p:pic>
      <p:sp>
        <p:nvSpPr>
          <p:cNvPr id="4" name="Freeform 3"/>
          <p:cNvSpPr/>
          <p:nvPr/>
        </p:nvSpPr>
        <p:spPr bwMode="auto">
          <a:xfrm rot="8332671">
            <a:off x="9289092" y="6107860"/>
            <a:ext cx="563313" cy="971279"/>
          </a:xfrm>
          <a:custGeom>
            <a:avLst/>
            <a:gdLst>
              <a:gd name="connsiteX0" fmla="*/ 122383 w 574690"/>
              <a:gd name="connsiteY0" fmla="*/ 0 h 990896"/>
              <a:gd name="connsiteX1" fmla="*/ 574204 w 574690"/>
              <a:gd name="connsiteY1" fmla="*/ 957431 h 990896"/>
              <a:gd name="connsiteX2" fmla="*/ 47079 w 574690"/>
              <a:gd name="connsiteY2" fmla="*/ 742278 h 990896"/>
              <a:gd name="connsiteX3" fmla="*/ 25564 w 574690"/>
              <a:gd name="connsiteY3" fmla="*/ 441064 h 990896"/>
            </a:gdLst>
            <a:ahLst/>
            <a:cxnLst>
              <a:cxn ang="0">
                <a:pos x="connsiteX0" y="connsiteY0"/>
              </a:cxn>
              <a:cxn ang="0">
                <a:pos x="connsiteX1" y="connsiteY1"/>
              </a:cxn>
              <a:cxn ang="0">
                <a:pos x="connsiteX2" y="connsiteY2"/>
              </a:cxn>
              <a:cxn ang="0">
                <a:pos x="connsiteX3" y="connsiteY3"/>
              </a:cxn>
            </a:cxnLst>
            <a:rect l="l" t="t" r="r" b="b"/>
            <a:pathLst>
              <a:path w="574690" h="990896">
                <a:moveTo>
                  <a:pt x="122383" y="0"/>
                </a:moveTo>
                <a:cubicBezTo>
                  <a:pt x="354569" y="416859"/>
                  <a:pt x="586755" y="833718"/>
                  <a:pt x="574204" y="957431"/>
                </a:cubicBezTo>
                <a:cubicBezTo>
                  <a:pt x="561653" y="1081144"/>
                  <a:pt x="138519" y="828339"/>
                  <a:pt x="47079" y="742278"/>
                </a:cubicBezTo>
                <a:cubicBezTo>
                  <a:pt x="-44361" y="656217"/>
                  <a:pt x="25564" y="480509"/>
                  <a:pt x="25564" y="441064"/>
                </a:cubicBezTo>
              </a:path>
            </a:pathLst>
          </a:cu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 name="Freeform 32"/>
          <p:cNvSpPr/>
          <p:nvPr/>
        </p:nvSpPr>
        <p:spPr bwMode="auto">
          <a:xfrm rot="12268142" flipH="1">
            <a:off x="10636144" y="6026216"/>
            <a:ext cx="512518" cy="971279"/>
          </a:xfrm>
          <a:custGeom>
            <a:avLst/>
            <a:gdLst>
              <a:gd name="connsiteX0" fmla="*/ 122383 w 574690"/>
              <a:gd name="connsiteY0" fmla="*/ 0 h 990896"/>
              <a:gd name="connsiteX1" fmla="*/ 574204 w 574690"/>
              <a:gd name="connsiteY1" fmla="*/ 957431 h 990896"/>
              <a:gd name="connsiteX2" fmla="*/ 47079 w 574690"/>
              <a:gd name="connsiteY2" fmla="*/ 742278 h 990896"/>
              <a:gd name="connsiteX3" fmla="*/ 25564 w 574690"/>
              <a:gd name="connsiteY3" fmla="*/ 441064 h 990896"/>
            </a:gdLst>
            <a:ahLst/>
            <a:cxnLst>
              <a:cxn ang="0">
                <a:pos x="connsiteX0" y="connsiteY0"/>
              </a:cxn>
              <a:cxn ang="0">
                <a:pos x="connsiteX1" y="connsiteY1"/>
              </a:cxn>
              <a:cxn ang="0">
                <a:pos x="connsiteX2" y="connsiteY2"/>
              </a:cxn>
              <a:cxn ang="0">
                <a:pos x="connsiteX3" y="connsiteY3"/>
              </a:cxn>
            </a:cxnLst>
            <a:rect l="l" t="t" r="r" b="b"/>
            <a:pathLst>
              <a:path w="574690" h="990896">
                <a:moveTo>
                  <a:pt x="122383" y="0"/>
                </a:moveTo>
                <a:cubicBezTo>
                  <a:pt x="354569" y="416859"/>
                  <a:pt x="586755" y="833718"/>
                  <a:pt x="574204" y="957431"/>
                </a:cubicBezTo>
                <a:cubicBezTo>
                  <a:pt x="561653" y="1081144"/>
                  <a:pt x="138519" y="828339"/>
                  <a:pt x="47079" y="742278"/>
                </a:cubicBezTo>
                <a:cubicBezTo>
                  <a:pt x="-44361" y="656217"/>
                  <a:pt x="25564" y="480509"/>
                  <a:pt x="25564" y="441064"/>
                </a:cubicBezTo>
              </a:path>
            </a:pathLst>
          </a:custGeom>
          <a:noFill/>
          <a:ln w="41275">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34" name="Picture 33"/>
          <p:cNvPicPr>
            <a:picLocks noChangeAspect="1"/>
          </p:cNvPicPr>
          <p:nvPr/>
        </p:nvPicPr>
        <p:blipFill>
          <a:blip r:embed="rId10"/>
          <a:stretch>
            <a:fillRect/>
          </a:stretch>
        </p:blipFill>
        <p:spPr>
          <a:xfrm>
            <a:off x="5377406" y="1728819"/>
            <a:ext cx="2930875" cy="1955610"/>
          </a:xfrm>
          <a:prstGeom prst="rect">
            <a:avLst/>
          </a:prstGeom>
        </p:spPr>
      </p:pic>
      <p:pic>
        <p:nvPicPr>
          <p:cNvPr id="35" name="Picture 34"/>
          <p:cNvPicPr>
            <a:picLocks noChangeAspect="1"/>
          </p:cNvPicPr>
          <p:nvPr/>
        </p:nvPicPr>
        <p:blipFill>
          <a:blip r:embed="rId11"/>
          <a:stretch>
            <a:fillRect/>
          </a:stretch>
        </p:blipFill>
        <p:spPr>
          <a:xfrm>
            <a:off x="412354" y="3928046"/>
            <a:ext cx="1447425" cy="804125"/>
          </a:xfrm>
          <a:prstGeom prst="rect">
            <a:avLst/>
          </a:prstGeom>
        </p:spPr>
      </p:pic>
      <p:pic>
        <p:nvPicPr>
          <p:cNvPr id="36" name="Picture 35"/>
          <p:cNvPicPr>
            <a:picLocks noChangeAspect="1"/>
          </p:cNvPicPr>
          <p:nvPr/>
        </p:nvPicPr>
        <p:blipFill>
          <a:blip r:embed="rId11"/>
          <a:stretch>
            <a:fillRect/>
          </a:stretch>
        </p:blipFill>
        <p:spPr>
          <a:xfrm>
            <a:off x="1900529" y="3928046"/>
            <a:ext cx="1447425" cy="804125"/>
          </a:xfrm>
          <a:prstGeom prst="rect">
            <a:avLst/>
          </a:prstGeom>
        </p:spPr>
      </p:pic>
      <p:pic>
        <p:nvPicPr>
          <p:cNvPr id="37" name="Picture 36"/>
          <p:cNvPicPr>
            <a:picLocks noChangeAspect="1"/>
          </p:cNvPicPr>
          <p:nvPr/>
        </p:nvPicPr>
        <p:blipFill>
          <a:blip r:embed="rId11"/>
          <a:stretch>
            <a:fillRect/>
          </a:stretch>
        </p:blipFill>
        <p:spPr>
          <a:xfrm>
            <a:off x="3476375" y="3928046"/>
            <a:ext cx="1447425" cy="804125"/>
          </a:xfrm>
          <a:prstGeom prst="rect">
            <a:avLst/>
          </a:prstGeom>
        </p:spPr>
      </p:pic>
      <p:grpSp>
        <p:nvGrpSpPr>
          <p:cNvPr id="8" name="Group 7"/>
          <p:cNvGrpSpPr/>
          <p:nvPr/>
        </p:nvGrpSpPr>
        <p:grpSpPr>
          <a:xfrm>
            <a:off x="4037046" y="2013827"/>
            <a:ext cx="509905" cy="727071"/>
            <a:chOff x="588624" y="4368127"/>
            <a:chExt cx="1156032" cy="1654525"/>
          </a:xfrm>
        </p:grpSpPr>
        <p:pic>
          <p:nvPicPr>
            <p:cNvPr id="38" name="Picture 37"/>
            <p:cNvPicPr>
              <a:picLocks noChangeAspect="1"/>
            </p:cNvPicPr>
            <p:nvPr/>
          </p:nvPicPr>
          <p:blipFill>
            <a:blip r:embed="rId12"/>
            <a:stretch>
              <a:fillRect/>
            </a:stretch>
          </p:blipFill>
          <p:spPr>
            <a:xfrm>
              <a:off x="588624" y="4368127"/>
              <a:ext cx="494456" cy="1635508"/>
            </a:xfrm>
            <a:prstGeom prst="rect">
              <a:avLst/>
            </a:prstGeom>
          </p:spPr>
        </p:pic>
        <p:pic>
          <p:nvPicPr>
            <p:cNvPr id="39" name="Picture 38"/>
            <p:cNvPicPr>
              <a:picLocks noChangeAspect="1"/>
            </p:cNvPicPr>
            <p:nvPr/>
          </p:nvPicPr>
          <p:blipFill>
            <a:blip r:embed="rId13"/>
            <a:stretch>
              <a:fillRect/>
            </a:stretch>
          </p:blipFill>
          <p:spPr>
            <a:xfrm>
              <a:off x="1269217" y="4368127"/>
              <a:ext cx="475439" cy="1654525"/>
            </a:xfrm>
            <a:prstGeom prst="rect">
              <a:avLst/>
            </a:prstGeom>
          </p:spPr>
        </p:pic>
      </p:grpSp>
      <p:grpSp>
        <p:nvGrpSpPr>
          <p:cNvPr id="9" name="Group 8"/>
          <p:cNvGrpSpPr/>
          <p:nvPr/>
        </p:nvGrpSpPr>
        <p:grpSpPr>
          <a:xfrm>
            <a:off x="3854074" y="2799361"/>
            <a:ext cx="692027" cy="1079690"/>
            <a:chOff x="4024153" y="4543621"/>
            <a:chExt cx="1005604" cy="1605804"/>
          </a:xfrm>
        </p:grpSpPr>
        <p:pic>
          <p:nvPicPr>
            <p:cNvPr id="40" name="Picture 39"/>
            <p:cNvPicPr>
              <a:picLocks noChangeAspect="1"/>
            </p:cNvPicPr>
            <p:nvPr/>
          </p:nvPicPr>
          <p:blipFill>
            <a:blip r:embed="rId14"/>
            <a:stretch>
              <a:fillRect/>
            </a:stretch>
          </p:blipFill>
          <p:spPr>
            <a:xfrm>
              <a:off x="4024153" y="4543621"/>
              <a:ext cx="169032" cy="1605804"/>
            </a:xfrm>
            <a:prstGeom prst="rect">
              <a:avLst/>
            </a:prstGeom>
          </p:spPr>
        </p:pic>
        <p:pic>
          <p:nvPicPr>
            <p:cNvPr id="41" name="Picture 40"/>
            <p:cNvPicPr>
              <a:picLocks noChangeAspect="1"/>
            </p:cNvPicPr>
            <p:nvPr/>
          </p:nvPicPr>
          <p:blipFill>
            <a:blip r:embed="rId15"/>
            <a:stretch>
              <a:fillRect/>
            </a:stretch>
          </p:blipFill>
          <p:spPr>
            <a:xfrm>
              <a:off x="4290475" y="4543621"/>
              <a:ext cx="183119" cy="1591720"/>
            </a:xfrm>
            <a:prstGeom prst="rect">
              <a:avLst/>
            </a:prstGeom>
          </p:spPr>
        </p:pic>
        <p:pic>
          <p:nvPicPr>
            <p:cNvPr id="42" name="Picture 41"/>
            <p:cNvPicPr>
              <a:picLocks noChangeAspect="1"/>
            </p:cNvPicPr>
            <p:nvPr/>
          </p:nvPicPr>
          <p:blipFill>
            <a:blip r:embed="rId16"/>
            <a:stretch>
              <a:fillRect/>
            </a:stretch>
          </p:blipFill>
          <p:spPr>
            <a:xfrm>
              <a:off x="4569066" y="4543621"/>
              <a:ext cx="169032" cy="1479031"/>
            </a:xfrm>
            <a:prstGeom prst="rect">
              <a:avLst/>
            </a:prstGeom>
          </p:spPr>
        </p:pic>
        <p:pic>
          <p:nvPicPr>
            <p:cNvPr id="43" name="Picture 42"/>
            <p:cNvPicPr>
              <a:picLocks noChangeAspect="1"/>
            </p:cNvPicPr>
            <p:nvPr/>
          </p:nvPicPr>
          <p:blipFill>
            <a:blip r:embed="rId17"/>
            <a:stretch>
              <a:fillRect/>
            </a:stretch>
          </p:blipFill>
          <p:spPr>
            <a:xfrm>
              <a:off x="4846638" y="4543621"/>
              <a:ext cx="183119" cy="1338172"/>
            </a:xfrm>
            <a:prstGeom prst="rect">
              <a:avLst/>
            </a:prstGeom>
          </p:spPr>
        </p:pic>
      </p:grpSp>
      <p:pic>
        <p:nvPicPr>
          <p:cNvPr id="44" name="Picture 43"/>
          <p:cNvPicPr>
            <a:picLocks noChangeAspect="1"/>
          </p:cNvPicPr>
          <p:nvPr/>
        </p:nvPicPr>
        <p:blipFill>
          <a:blip r:embed="rId18"/>
          <a:stretch>
            <a:fillRect/>
          </a:stretch>
        </p:blipFill>
        <p:spPr>
          <a:xfrm>
            <a:off x="2419943" y="2914571"/>
            <a:ext cx="440764" cy="797125"/>
          </a:xfrm>
          <a:prstGeom prst="rect">
            <a:avLst/>
          </a:prstGeom>
        </p:spPr>
      </p:pic>
      <p:grpSp>
        <p:nvGrpSpPr>
          <p:cNvPr id="12" name="Group 11"/>
          <p:cNvGrpSpPr/>
          <p:nvPr/>
        </p:nvGrpSpPr>
        <p:grpSpPr>
          <a:xfrm>
            <a:off x="609444" y="2544950"/>
            <a:ext cx="1053244" cy="1154155"/>
            <a:chOff x="317225" y="1677441"/>
            <a:chExt cx="2115319" cy="2272079"/>
          </a:xfrm>
        </p:grpSpPr>
        <p:pic>
          <p:nvPicPr>
            <p:cNvPr id="45" name="Picture 44"/>
            <p:cNvPicPr>
              <a:picLocks noChangeAspect="1"/>
            </p:cNvPicPr>
            <p:nvPr/>
          </p:nvPicPr>
          <p:blipFill>
            <a:blip r:embed="rId19"/>
            <a:stretch>
              <a:fillRect/>
            </a:stretch>
          </p:blipFill>
          <p:spPr>
            <a:xfrm>
              <a:off x="960437" y="1880438"/>
              <a:ext cx="1472107" cy="1232461"/>
            </a:xfrm>
            <a:prstGeom prst="rect">
              <a:avLst/>
            </a:prstGeom>
          </p:spPr>
        </p:pic>
        <p:pic>
          <p:nvPicPr>
            <p:cNvPr id="46" name="Picture 45"/>
            <p:cNvPicPr>
              <a:picLocks noChangeAspect="1"/>
            </p:cNvPicPr>
            <p:nvPr/>
          </p:nvPicPr>
          <p:blipFill>
            <a:blip r:embed="rId20"/>
            <a:stretch>
              <a:fillRect/>
            </a:stretch>
          </p:blipFill>
          <p:spPr>
            <a:xfrm>
              <a:off x="317225" y="1677441"/>
              <a:ext cx="1083142" cy="1097394"/>
            </a:xfrm>
            <a:prstGeom prst="rect">
              <a:avLst/>
            </a:prstGeom>
          </p:spPr>
        </p:pic>
        <p:pic>
          <p:nvPicPr>
            <p:cNvPr id="47" name="Picture 46"/>
            <p:cNvPicPr>
              <a:picLocks noChangeAspect="1"/>
            </p:cNvPicPr>
            <p:nvPr/>
          </p:nvPicPr>
          <p:blipFill>
            <a:blip r:embed="rId21"/>
            <a:stretch>
              <a:fillRect/>
            </a:stretch>
          </p:blipFill>
          <p:spPr>
            <a:xfrm>
              <a:off x="324951" y="2852126"/>
              <a:ext cx="1083142" cy="1097394"/>
            </a:xfrm>
            <a:prstGeom prst="rect">
              <a:avLst/>
            </a:prstGeom>
          </p:spPr>
        </p:pic>
      </p:grpSp>
      <p:pic>
        <p:nvPicPr>
          <p:cNvPr id="48" name="Picture 47"/>
          <p:cNvPicPr>
            <a:picLocks noChangeAspect="1"/>
          </p:cNvPicPr>
          <p:nvPr/>
        </p:nvPicPr>
        <p:blipFill>
          <a:blip r:embed="rId22"/>
          <a:stretch>
            <a:fillRect/>
          </a:stretch>
        </p:blipFill>
        <p:spPr>
          <a:xfrm>
            <a:off x="2109331" y="2082575"/>
            <a:ext cx="1073960" cy="615645"/>
          </a:xfrm>
          <a:prstGeom prst="rect">
            <a:avLst/>
          </a:prstGeom>
        </p:spPr>
      </p:pic>
    </p:spTree>
    <p:extLst>
      <p:ext uri="{BB962C8B-B14F-4D97-AF65-F5344CB8AC3E}">
        <p14:creationId xmlns:p14="http://schemas.microsoft.com/office/powerpoint/2010/main" val="3659965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500"/>
                                        <p:tgtEl>
                                          <p:spTgt spid="37"/>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par>
                                <p:cTn id="26" presetID="10" presetClass="entr" presetSubtype="0"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10" presetClass="entr" presetSubtype="0" fill="hold" nodeType="with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500"/>
                                        <p:tgtEl>
                                          <p:spTgt spid="4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500"/>
                                        <p:tgtEl>
                                          <p:spTgt spid="14"/>
                                        </p:tgtEl>
                                      </p:cBhvr>
                                    </p:animEffect>
                                  </p:childTnLst>
                                </p:cTn>
                              </p:par>
                              <p:par>
                                <p:cTn id="37" presetID="10" presetClass="entr" presetSubtype="0" fill="hold" nodeType="with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500"/>
                                        <p:tgtEl>
                                          <p:spTgt spid="3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par>
                                <p:cTn id="45" presetID="10" presetClass="entr" presetSubtype="0" fill="hold" nodeType="with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500"/>
                                        <p:tgtEl>
                                          <p:spTgt spid="2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500"/>
                                        <p:tgtEl>
                                          <p:spTgt spid="20"/>
                                        </p:tgtEl>
                                      </p:cBhvr>
                                    </p:animEffect>
                                  </p:childTnLst>
                                </p:cTn>
                              </p:par>
                              <p:par>
                                <p:cTn id="53" presetID="10" presetClass="entr" presetSubtype="0" fill="hold" nodeType="withEffect">
                                  <p:stCondLst>
                                    <p:cond delay="0"/>
                                  </p:stCondLst>
                                  <p:childTnLst>
                                    <p:set>
                                      <p:cBhvr>
                                        <p:cTn id="54" dur="1" fill="hold">
                                          <p:stCondLst>
                                            <p:cond delay="0"/>
                                          </p:stCondLst>
                                        </p:cTn>
                                        <p:tgtEl>
                                          <p:spTgt spid="7"/>
                                        </p:tgtEl>
                                        <p:attrNameLst>
                                          <p:attrName>style.visibility</p:attrName>
                                        </p:attrNameLst>
                                      </p:cBhvr>
                                      <p:to>
                                        <p:strVal val="visible"/>
                                      </p:to>
                                    </p:set>
                                    <p:animEffect transition="in" filter="fade">
                                      <p:cBhvr>
                                        <p:cTn id="55" dur="500"/>
                                        <p:tgtEl>
                                          <p:spTgt spid="7"/>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500"/>
                                        <p:tgtEl>
                                          <p:spTgt spid="21"/>
                                        </p:tgtEl>
                                      </p:cBhvr>
                                    </p:animEffect>
                                  </p:childTnLst>
                                </p:cTn>
                              </p:par>
                              <p:par>
                                <p:cTn id="61" presetID="10" presetClass="entr" presetSubtype="0" fill="hold"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4"/>
                                        </p:tgtEl>
                                        <p:attrNameLst>
                                          <p:attrName>style.visibility</p:attrName>
                                        </p:attrNameLst>
                                      </p:cBhvr>
                                      <p:to>
                                        <p:strVal val="visible"/>
                                      </p:to>
                                    </p:set>
                                    <p:animEffect transition="in" filter="fade">
                                      <p:cBhvr>
                                        <p:cTn id="66" dur="500"/>
                                        <p:tgtEl>
                                          <p:spTgt spid="4"/>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33"/>
                                        </p:tgtEl>
                                        <p:attrNameLst>
                                          <p:attrName>style.visibility</p:attrName>
                                        </p:attrNameLst>
                                      </p:cBhvr>
                                      <p:to>
                                        <p:strVal val="visible"/>
                                      </p:to>
                                    </p:set>
                                    <p:animEffect transition="in" filter="fade">
                                      <p:cBhvr>
                                        <p:cTn id="6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4" grpId="0"/>
      <p:bldP spid="17" grpId="0"/>
      <p:bldP spid="20" grpId="0"/>
      <p:bldP spid="21" grpId="0"/>
      <p:bldP spid="4" grpId="0" animBg="1"/>
      <p:bldP spid="3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__MICROSOFT_TRANSLATOR_CLM_SLIDEINFO" val="{&quot;Guid&quot;:&quot;847f32f9-c629-488b-b481-4e65949f1b17&quot;,&quot;TimeStamp&quot;:&quot;2019-05-02T11:35:05.9570156-07:00&quot;}"/>
</p:tagLst>
</file>

<file path=ppt/tags/tag10.xml><?xml version="1.0" encoding="utf-8"?>
<p:tagLst xmlns:a="http://schemas.openxmlformats.org/drawingml/2006/main" xmlns:r="http://schemas.openxmlformats.org/officeDocument/2006/relationships" xmlns:p="http://schemas.openxmlformats.org/presentationml/2006/main">
  <p:tag name="__MICROSOFT_TRANSLATOR_CLM_SLIDEINFO" val="{&quot;Guid&quot;:&quot;5912a088-d510-4c63-b33e-a0e619964300&quot;,&quot;TimeStamp&quot;:&quot;2019-05-02T11:35:05.9850188-07:00&quot;}"/>
</p:tagLst>
</file>

<file path=ppt/tags/tag11.xml><?xml version="1.0" encoding="utf-8"?>
<p:tagLst xmlns:a="http://schemas.openxmlformats.org/drawingml/2006/main" xmlns:r="http://schemas.openxmlformats.org/officeDocument/2006/relationships" xmlns:p="http://schemas.openxmlformats.org/presentationml/2006/main">
  <p:tag name="__MICROSOFT_TRANSLATOR_CLM_SLIDEINFO" val="{&quot;Guid&quot;:&quot;078e899b-54e5-4ebf-83da-c2fcc261be6b&quot;,&quot;TimeStamp&quot;:&quot;2019-05-02T11:35:06.0000532-07:00&quot;}"/>
</p:tagLst>
</file>

<file path=ppt/tags/tag12.xml><?xml version="1.0" encoding="utf-8"?>
<p:tagLst xmlns:a="http://schemas.openxmlformats.org/drawingml/2006/main" xmlns:r="http://schemas.openxmlformats.org/officeDocument/2006/relationships" xmlns:p="http://schemas.openxmlformats.org/presentationml/2006/main">
  <p:tag name="__MICROSOFT_TRANSLATOR_CLM_SLIDEINFO" val="{&quot;Guid&quot;:&quot;34f36dc9-8b02-40a7-85c9-f59569b41235&quot;,&quot;TimeStamp&quot;:&quot;2019-05-02T11:35:06.0020514-07:00&quot;}"/>
</p:tagLst>
</file>

<file path=ppt/tags/tag13.xml><?xml version="1.0" encoding="utf-8"?>
<p:tagLst xmlns:a="http://schemas.openxmlformats.org/drawingml/2006/main" xmlns:r="http://schemas.openxmlformats.org/officeDocument/2006/relationships" xmlns:p="http://schemas.openxmlformats.org/presentationml/2006/main">
  <p:tag name="__MICROSOFT_TRANSLATOR_CLM_SLIDEINFO" val="{&quot;Guid&quot;:&quot;39f4187e-c4b0-4320-8d76-16081940117b&quot;,&quot;TimeStamp&quot;:&quot;2019-05-02T11:35:06.0120134-07:00&quot;}"/>
</p:tagLst>
</file>

<file path=ppt/tags/tag14.xml><?xml version="1.0" encoding="utf-8"?>
<p:tagLst xmlns:a="http://schemas.openxmlformats.org/drawingml/2006/main" xmlns:r="http://schemas.openxmlformats.org/officeDocument/2006/relationships" xmlns:p="http://schemas.openxmlformats.org/presentationml/2006/main">
  <p:tag name="__MICROSOFT_TRANSLATOR_CLM_SLIDEINFO" val="{&quot;Guid&quot;:&quot;755bd0ef-75d9-4ad4-83f2-f629a2be4d2d&quot;,&quot;TimeStamp&quot;:&quot;2019-05-02T11:35:06.0720179-07:00&quot;}"/>
</p:tagLst>
</file>

<file path=ppt/tags/tag15.xml><?xml version="1.0" encoding="utf-8"?>
<p:tagLst xmlns:a="http://schemas.openxmlformats.org/drawingml/2006/main" xmlns:r="http://schemas.openxmlformats.org/officeDocument/2006/relationships" xmlns:p="http://schemas.openxmlformats.org/presentationml/2006/main">
  <p:tag name="__MICROSOFT_TRANSLATOR_CLM_SLIDEINFO" val="{&quot;Guid&quot;:&quot;755bd0ef-75d9-4ad4-83f2-f629a2be4d2d&quot;,&quot;TimeStamp&quot;:&quot;2019-05-02T11:35:06.0720179-07:00&quot;}"/>
</p:tagLst>
</file>

<file path=ppt/tags/tag16.xml><?xml version="1.0" encoding="utf-8"?>
<p:tagLst xmlns:a="http://schemas.openxmlformats.org/drawingml/2006/main" xmlns:r="http://schemas.openxmlformats.org/officeDocument/2006/relationships" xmlns:p="http://schemas.openxmlformats.org/presentationml/2006/main">
  <p:tag name="__MICROSOFT_TRANSLATOR_CLM_SLIDEINFO" val="{&quot;Guid&quot;:&quot;847f32f9-c629-488b-b481-4e65949f1b17&quot;,&quot;TimeStamp&quot;:&quot;2019-05-02T11:35:05.9570156-07:00&quot;}"/>
</p:tagLst>
</file>

<file path=ppt/tags/tag2.xml><?xml version="1.0" encoding="utf-8"?>
<p:tagLst xmlns:a="http://schemas.openxmlformats.org/drawingml/2006/main" xmlns:r="http://schemas.openxmlformats.org/officeDocument/2006/relationships" xmlns:p="http://schemas.openxmlformats.org/presentationml/2006/main">
  <p:tag name="__MICROSOFT_TRANSLATOR_CLM_SLIDEINFO" val="{&quot;Guid&quot;:&quot;847f32f9-c629-488b-b481-4e65949f1b17&quot;,&quot;TimeStamp&quot;:&quot;2019-05-02T11:35:05.9570156-07:00&quot;}"/>
</p:tagLst>
</file>

<file path=ppt/tags/tag3.xml><?xml version="1.0" encoding="utf-8"?>
<p:tagLst xmlns:a="http://schemas.openxmlformats.org/drawingml/2006/main" xmlns:r="http://schemas.openxmlformats.org/officeDocument/2006/relationships" xmlns:p="http://schemas.openxmlformats.org/presentationml/2006/main">
  <p:tag name="__MICROSOFT_TRANSLATOR_CLM_SLIDEINFO" val="{&quot;Guid&quot;:&quot;8202607d-0741-48ae-9d53-085263ad11dc&quot;,&quot;TimeStamp&quot;:&quot;2019-05-02T11:35:05.9800477-07:00&quo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jt.GJKZ0gEK3IGHKgaod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H.1sGai3UOC4ptG_lG1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L5gH9kVU0kuHdBfCqVWh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H.1sGai3UOC4ptG_lG1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H.1sGai3UOC4ptG_lG1kA"/>
</p:tagLst>
</file>

<file path=ppt/tags/tag9.xml><?xml version="1.0" encoding="utf-8"?>
<p:tagLst xmlns:a="http://schemas.openxmlformats.org/drawingml/2006/main" xmlns:r="http://schemas.openxmlformats.org/officeDocument/2006/relationships" xmlns:p="http://schemas.openxmlformats.org/presentationml/2006/main">
  <p:tag name="__MICROSOFT_TRANSLATOR_CLM_SLIDEINFO" val="{&quot;Guid&quot;:&quot;7932312a-2cd6-492e-8b0c-0eecd8fd00f1&quot;,&quot;TimeStamp&quot;:&quot;2019-05-02T11:35:05.9830174-07:00&quot;}"/>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3.xml><?xml version="1.0" encoding="utf-8"?>
<a:theme xmlns:a="http://schemas.openxmlformats.org/drawingml/2006/main" name="MSFT Azure ">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6" id="{6EB113CA-C652-4EDE-851B-7E09446BD8F3}" vid="{F42B78DA-A33F-4A43-9CCD-5B4ACB75A407}"/>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6.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7.xml><?xml version="1.0" encoding="utf-8"?>
<a:theme xmlns:a="http://schemas.openxmlformats.org/drawingml/2006/main" name="White Template">
  <a:themeElements>
    <a:clrScheme name="ST_Blue on White/Lt Gray">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mplate Starter Blue - April 2019.potx" id="{E0B8D684-B527-4878-B904-C1EC5025E6F1}" vid="{2ADA5319-A5E8-46E4-9069-6102E6C77820}"/>
    </a:ext>
  </a:extLst>
</a:theme>
</file>

<file path=ppt/theme/theme8.xml><?xml version="1.0" encoding="utf-8"?>
<a:theme xmlns:a="http://schemas.openxmlformats.org/drawingml/2006/main" name="1_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Template_v03.potx" id="{A8C9C9A9-11B1-4C73-BA79-69A0546BBCA9}" vid="{06F86665-2B33-4F57-ADC6-2B737BC67347}"/>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56E032D9A797442991B78620DD9E801" ma:contentTypeVersion="11" ma:contentTypeDescription="Create a new document." ma:contentTypeScope="" ma:versionID="3fa5b19baf2f34aa2795d9314317d4a0">
  <xsd:schema xmlns:xsd="http://www.w3.org/2001/XMLSchema" xmlns:xs="http://www.w3.org/2001/XMLSchema" xmlns:p="http://schemas.microsoft.com/office/2006/metadata/properties" xmlns:ns2="e7bbd3b9-a267-4983-bb7f-f5a1bce1ef33" xmlns:ns3="6c1f7248-2c39-4fa6-918c-cd0eba53a27b" targetNamespace="http://schemas.microsoft.com/office/2006/metadata/properties" ma:root="true" ma:fieldsID="b648d00162e9e5f7d0f05d49a0e26224" ns2:_="" ns3:_="">
    <xsd:import namespace="e7bbd3b9-a267-4983-bb7f-f5a1bce1ef33"/>
    <xsd:import namespace="6c1f7248-2c39-4fa6-918c-cd0eba53a27b"/>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3:SharedWithUsers" minOccurs="0"/>
                <xsd:element ref="ns3:SharedWithDetails" minOccurs="0"/>
                <xsd:element ref="ns2:MediaServiceDateTaken" minOccurs="0"/>
                <xsd:element ref="ns2:MediaServiceAutoKeyPoints" minOccurs="0"/>
                <xsd:element ref="ns2:MediaServiceKeyPoints"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bbd3b9-a267-4983-bb7f-f5a1bce1ef3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fals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c1f7248-2c39-4fa6-918c-cd0eba53a27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e7bbd3b9-a267-4983-bb7f-f5a1bce1ef33" xsi:nil="true"/>
  </documentManagement>
</p:properties>
</file>

<file path=customXml/itemProps1.xml><?xml version="1.0" encoding="utf-8"?>
<ds:datastoreItem xmlns:ds="http://schemas.openxmlformats.org/officeDocument/2006/customXml" ds:itemID="{4001B301-365F-432E-839B-04671F4E5A6A}">
  <ds:schemaRefs>
    <ds:schemaRef ds:uri="http://schemas.microsoft.com/sharepoint/v3/contenttype/forms"/>
  </ds:schemaRefs>
</ds:datastoreItem>
</file>

<file path=customXml/itemProps2.xml><?xml version="1.0" encoding="utf-8"?>
<ds:datastoreItem xmlns:ds="http://schemas.openxmlformats.org/officeDocument/2006/customXml" ds:itemID="{896E7C43-1C87-4DE1-BF7C-7BDE31598A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7bbd3b9-a267-4983-bb7f-f5a1bce1ef33"/>
    <ds:schemaRef ds:uri="6c1f7248-2c39-4fa6-918c-cd0eba53a27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F8EB0AE-F068-471B-AAEF-FCC24B70FCB2}">
  <ds:schemaRefs>
    <ds:schemaRef ds:uri="http://purl.org/dc/terms/"/>
    <ds:schemaRef ds:uri="http://www.w3.org/XML/1998/namespace"/>
    <ds:schemaRef ds:uri="http://purl.org/dc/dcmitype/"/>
    <ds:schemaRef ds:uri="http://purl.org/dc/elements/1.1/"/>
    <ds:schemaRef ds:uri="6c1f7248-2c39-4fa6-918c-cd0eba53a27b"/>
    <ds:schemaRef ds:uri="http://schemas.microsoft.com/office/2006/documentManagement/types"/>
    <ds:schemaRef ds:uri="e7bbd3b9-a267-4983-bb7f-f5a1bce1ef33"/>
    <ds:schemaRef ds:uri="http://schemas.openxmlformats.org/package/2006/metadata/core-properties"/>
    <ds:schemaRef ds:uri="http://schemas.microsoft.com/office/infopath/2007/PartnerControls"/>
    <ds:schemaRef ds:uri="http://schemas.microsoft.com/office/2006/metadata/propertie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57</TotalTime>
  <Words>4437</Words>
  <Application>Microsoft Office PowerPoint</Application>
  <PresentationFormat>Widescreen</PresentationFormat>
  <Paragraphs>629</Paragraphs>
  <Slides>48</Slides>
  <Notes>39</Notes>
  <HiddenSlides>0</HiddenSlides>
  <MMClips>0</MMClips>
  <ScaleCrop>false</ScaleCrop>
  <HeadingPairs>
    <vt:vector size="6" baseType="variant">
      <vt:variant>
        <vt:lpstr>Fonts Used</vt:lpstr>
      </vt:variant>
      <vt:variant>
        <vt:i4>16</vt:i4>
      </vt:variant>
      <vt:variant>
        <vt:lpstr>Theme</vt:lpstr>
      </vt:variant>
      <vt:variant>
        <vt:i4>8</vt:i4>
      </vt:variant>
      <vt:variant>
        <vt:lpstr>Slide Titles</vt:lpstr>
      </vt:variant>
      <vt:variant>
        <vt:i4>48</vt:i4>
      </vt:variant>
    </vt:vector>
  </HeadingPairs>
  <TitlesOfParts>
    <vt:vector size="72" baseType="lpstr">
      <vt:lpstr>Arial</vt:lpstr>
      <vt:lpstr>Calibri</vt:lpstr>
      <vt:lpstr>Calibri Light</vt:lpstr>
      <vt:lpstr>Consolas</vt:lpstr>
      <vt:lpstr>Google Sans</vt:lpstr>
      <vt:lpstr>NexusSerif</vt:lpstr>
      <vt:lpstr>NexusSerifWebPro</vt:lpstr>
      <vt:lpstr>OCR A Extended</vt:lpstr>
      <vt:lpstr>Quattrocento Sans</vt:lpstr>
      <vt:lpstr>Segoe UI</vt:lpstr>
      <vt:lpstr>Segoe UI Bold</vt:lpstr>
      <vt:lpstr>Segoe UI Light</vt:lpstr>
      <vt:lpstr>Segoe UI Semibold</vt:lpstr>
      <vt:lpstr>Segoe UI Semilight</vt:lpstr>
      <vt:lpstr>Trebuchet MS</vt:lpstr>
      <vt:lpstr>Wingdings</vt:lpstr>
      <vt:lpstr>Office Theme</vt:lpstr>
      <vt:lpstr>Dynamics 365</vt:lpstr>
      <vt:lpstr>MSFT Azure </vt:lpstr>
      <vt:lpstr>1_Office Theme</vt:lpstr>
      <vt:lpstr>1_WHITE TEMPLATE</vt:lpstr>
      <vt:lpstr>2_WHITE TEMPLATE</vt:lpstr>
      <vt:lpstr>White Template</vt:lpstr>
      <vt:lpstr>1_6-51096_Microsoft_Inspire_Black_Template</vt:lpstr>
      <vt:lpstr>Art of Machine Learning for Beginners: Azure Machine Learning Automated ML</vt:lpstr>
      <vt:lpstr>Thank You</vt:lpstr>
      <vt:lpstr>Agenda</vt:lpstr>
      <vt:lpstr>Welcome Video</vt:lpstr>
      <vt:lpstr>Machine Learning / Predictive Analytics</vt:lpstr>
      <vt:lpstr>Machine Learning Overview</vt:lpstr>
      <vt:lpstr>Machine Learning</vt:lpstr>
      <vt:lpstr>PowerPoint Presentation</vt:lpstr>
      <vt:lpstr>Machine Learning Capabilities</vt:lpstr>
      <vt:lpstr>Supervised Learning</vt:lpstr>
      <vt:lpstr>Supervised Learning</vt:lpstr>
      <vt:lpstr>Unsupervised Learning</vt:lpstr>
      <vt:lpstr>Unsupervised Learning</vt:lpstr>
      <vt:lpstr>PowerPoint Presentation</vt:lpstr>
      <vt:lpstr>PowerPoint Presentation</vt:lpstr>
      <vt:lpstr>Azure AI</vt:lpstr>
      <vt:lpstr>Common AI Patterns</vt:lpstr>
      <vt:lpstr>What are AI-powered apps?</vt:lpstr>
      <vt:lpstr>AI-powered apps</vt:lpstr>
      <vt:lpstr>Building AI-powered apps</vt:lpstr>
      <vt:lpstr>AI in Action: AI for Good – Workplace Safety</vt:lpstr>
      <vt:lpstr>Workplace Safety</vt:lpstr>
      <vt:lpstr>PowerPoint Presentation</vt:lpstr>
      <vt:lpstr>PowerPoint Presentation</vt:lpstr>
      <vt:lpstr>Building blocks for a Data Science Project</vt:lpstr>
      <vt:lpstr>PowerPoint Presentation</vt:lpstr>
      <vt:lpstr>MLOps = ML + DEV + OPS</vt:lpstr>
      <vt:lpstr>Machine Learning on Azure</vt:lpstr>
      <vt:lpstr>What is automated machine learning?</vt:lpstr>
      <vt:lpstr>Automated ML Mission</vt:lpstr>
      <vt:lpstr>Machine Learning Problem Example </vt:lpstr>
      <vt:lpstr>Model Creation Is Typically Time-Consuming</vt:lpstr>
      <vt:lpstr>Model Creation Is Typically Time-Consuming</vt:lpstr>
      <vt:lpstr>Model Creation Is Typically Time-Consuming</vt:lpstr>
      <vt:lpstr>Automated ML Accelerates Model Development </vt:lpstr>
      <vt:lpstr>Automated Machine Learning Under the Hood</vt:lpstr>
      <vt:lpstr>Automated Machine Learning Capabilities</vt:lpstr>
      <vt:lpstr>Automated ML Capabilities </vt:lpstr>
      <vt:lpstr>Guardrails: Detection and auto-correction of data issues</vt:lpstr>
      <vt:lpstr>Machine Learning for Everyone</vt:lpstr>
      <vt:lpstr>PowerPoint Presentation</vt:lpstr>
      <vt:lpstr>What’s new?</vt:lpstr>
      <vt:lpstr>Latest announcements (Blog post with all the announcements)</vt:lpstr>
      <vt:lpstr>Workshop</vt:lpstr>
      <vt:lpstr>1. Go to Medium location: OpenHack 2. Git hub link   Agenda:  Introduction Azure Machine learning Intro — 1 hour OpenHack use case introduction — 15 mins OpenHack – 4 Hours Take Break when experimentation starts Deploy model — 1 hour Clean up — 15 minutes   Note: When experiment is submitted will take a long time to run since automated machine learning runs about 50 or more algorithm to provide us results. Deploying to REST API as ACI or AKS will also take about 15 to 30 minutes. Some time delete and recreate will be needed but as the instructor for details        </vt:lpstr>
      <vt:lpstr>Resources http://aka.ms/amlfree </vt:lpstr>
      <vt:lpstr>Resources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mocratizing &amp; Accelerating AI Through Automated Machine Learning</dc:title>
  <dc:creator>Balamurugan Balakreshnan</dc:creator>
  <cp:lastModifiedBy>Balamurugan Balakreshnan</cp:lastModifiedBy>
  <cp:revision>2</cp:revision>
  <dcterms:created xsi:type="dcterms:W3CDTF">2019-11-13T15:28:49Z</dcterms:created>
  <dcterms:modified xsi:type="dcterms:W3CDTF">2021-06-19T22:39: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babal@microsoft.com</vt:lpwstr>
  </property>
  <property fmtid="{D5CDD505-2E9C-101B-9397-08002B2CF9AE}" pid="5" name="MSIP_Label_f42aa342-8706-4288-bd11-ebb85995028c_SetDate">
    <vt:lpwstr>2019-11-13T15:31:42.2420867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f851be06-9bae-457c-be6b-cfebd9029f87</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